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3.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4.xml" ContentType="application/vnd.openxmlformats-officedocument.them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4337" r:id="rId4"/>
    <p:sldMasterId id="2147484328" r:id="rId5"/>
    <p:sldMasterId id="2147484358" r:id="rId6"/>
    <p:sldMasterId id="2147484428" r:id="rId7"/>
  </p:sldMasterIdLst>
  <p:notesMasterIdLst>
    <p:notesMasterId r:id="rId22"/>
  </p:notesMasterIdLst>
  <p:handoutMasterIdLst>
    <p:handoutMasterId r:id="rId23"/>
  </p:handoutMasterIdLst>
  <p:sldIdLst>
    <p:sldId id="1110" r:id="rId8"/>
    <p:sldId id="2147330272" r:id="rId9"/>
    <p:sldId id="2147483099" r:id="rId10"/>
    <p:sldId id="2147483113" r:id="rId11"/>
    <p:sldId id="2147483125" r:id="rId12"/>
    <p:sldId id="2147483116" r:id="rId13"/>
    <p:sldId id="2147483118" r:id="rId14"/>
    <p:sldId id="2147483126" r:id="rId15"/>
    <p:sldId id="2147483124" r:id="rId16"/>
    <p:sldId id="2147483108" r:id="rId17"/>
    <p:sldId id="2147483122" r:id="rId18"/>
    <p:sldId id="2147483112" r:id="rId19"/>
    <p:sldId id="2147483123" r:id="rId20"/>
    <p:sldId id="2147483043" r:id="rId21"/>
  </p:sldIdLst>
  <p:sldSz cx="13439775" cy="7559675"/>
  <p:notesSz cx="6797675" cy="9926638"/>
  <p:custDataLst>
    <p:tags r:id="rId24"/>
  </p:custDataLst>
  <p:defaultTextStyle>
    <a:defPPr>
      <a:defRPr lang="en-US"/>
    </a:defPPr>
    <a:lvl1pPr marL="0" algn="l" defTabSz="995478" rtl="0" eaLnBrk="1" latinLnBrk="0" hangingPunct="1">
      <a:defRPr sz="1960" kern="1200">
        <a:solidFill>
          <a:schemeClr val="tx1"/>
        </a:solidFill>
        <a:latin typeface="+mn-lt"/>
        <a:ea typeface="+mn-ea"/>
        <a:cs typeface="+mn-cs"/>
      </a:defRPr>
    </a:lvl1pPr>
    <a:lvl2pPr marL="497739" algn="l" defTabSz="995478" rtl="0" eaLnBrk="1" latinLnBrk="0" hangingPunct="1">
      <a:defRPr sz="1960" kern="1200">
        <a:solidFill>
          <a:schemeClr val="tx1"/>
        </a:solidFill>
        <a:latin typeface="+mn-lt"/>
        <a:ea typeface="+mn-ea"/>
        <a:cs typeface="+mn-cs"/>
      </a:defRPr>
    </a:lvl2pPr>
    <a:lvl3pPr marL="995478" algn="l" defTabSz="995478" rtl="0" eaLnBrk="1" latinLnBrk="0" hangingPunct="1">
      <a:defRPr sz="1960" kern="1200">
        <a:solidFill>
          <a:schemeClr val="tx1"/>
        </a:solidFill>
        <a:latin typeface="+mn-lt"/>
        <a:ea typeface="+mn-ea"/>
        <a:cs typeface="+mn-cs"/>
      </a:defRPr>
    </a:lvl3pPr>
    <a:lvl4pPr marL="1493217" algn="l" defTabSz="995478" rtl="0" eaLnBrk="1" latinLnBrk="0" hangingPunct="1">
      <a:defRPr sz="1960" kern="1200">
        <a:solidFill>
          <a:schemeClr val="tx1"/>
        </a:solidFill>
        <a:latin typeface="+mn-lt"/>
        <a:ea typeface="+mn-ea"/>
        <a:cs typeface="+mn-cs"/>
      </a:defRPr>
    </a:lvl4pPr>
    <a:lvl5pPr marL="1990957" algn="l" defTabSz="995478" rtl="0" eaLnBrk="1" latinLnBrk="0" hangingPunct="1">
      <a:defRPr sz="1960" kern="1200">
        <a:solidFill>
          <a:schemeClr val="tx1"/>
        </a:solidFill>
        <a:latin typeface="+mn-lt"/>
        <a:ea typeface="+mn-ea"/>
        <a:cs typeface="+mn-cs"/>
      </a:defRPr>
    </a:lvl5pPr>
    <a:lvl6pPr marL="2488695" algn="l" defTabSz="995478" rtl="0" eaLnBrk="1" latinLnBrk="0" hangingPunct="1">
      <a:defRPr sz="1960" kern="1200">
        <a:solidFill>
          <a:schemeClr val="tx1"/>
        </a:solidFill>
        <a:latin typeface="+mn-lt"/>
        <a:ea typeface="+mn-ea"/>
        <a:cs typeface="+mn-cs"/>
      </a:defRPr>
    </a:lvl6pPr>
    <a:lvl7pPr marL="2986435" algn="l" defTabSz="995478" rtl="0" eaLnBrk="1" latinLnBrk="0" hangingPunct="1">
      <a:defRPr sz="1960" kern="1200">
        <a:solidFill>
          <a:schemeClr val="tx1"/>
        </a:solidFill>
        <a:latin typeface="+mn-lt"/>
        <a:ea typeface="+mn-ea"/>
        <a:cs typeface="+mn-cs"/>
      </a:defRPr>
    </a:lvl7pPr>
    <a:lvl8pPr marL="3484174" algn="l" defTabSz="995478" rtl="0" eaLnBrk="1" latinLnBrk="0" hangingPunct="1">
      <a:defRPr sz="1960" kern="1200">
        <a:solidFill>
          <a:schemeClr val="tx1"/>
        </a:solidFill>
        <a:latin typeface="+mn-lt"/>
        <a:ea typeface="+mn-ea"/>
        <a:cs typeface="+mn-cs"/>
      </a:defRPr>
    </a:lvl8pPr>
    <a:lvl9pPr marL="3981914" algn="l" defTabSz="995478" rtl="0" eaLnBrk="1" latinLnBrk="0" hangingPunct="1">
      <a:defRPr sz="196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558" userDrawn="1">
          <p15:clr>
            <a:srgbClr val="A4A3A4"/>
          </p15:clr>
        </p15:guide>
        <p15:guide id="2" pos="241" userDrawn="1">
          <p15:clr>
            <a:srgbClr val="A4A3A4"/>
          </p15:clr>
        </p15:guide>
        <p15:guide id="3" orient="horz" pos="4468" userDrawn="1">
          <p15:clr>
            <a:srgbClr val="A4A3A4"/>
          </p15:clr>
        </p15:guide>
        <p15:guide id="5" pos="4234" userDrawn="1">
          <p15:clr>
            <a:srgbClr val="A4A3A4"/>
          </p15:clr>
        </p15:guide>
        <p15:guide id="6" pos="8025" userDrawn="1">
          <p15:clr>
            <a:srgbClr val="A4A3A4"/>
          </p15:clr>
        </p15:guide>
        <p15:guide id="7" pos="4232" userDrawn="1">
          <p15:clr>
            <a:srgbClr val="A4A3A4"/>
          </p15:clr>
        </p15:guide>
        <p15:guide id="8" orient="horz" pos="567"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8852B2F-617C-A590-7687-5FED5BA408DB}" name="Konanets Iryna" initials="KI" userId="S::konanetsim@dtek.com::02305f8f-9beb-48b4-bf5b-4b119fabfaff" providerId="AD"/>
  <p188:author id="{AD09E157-28D7-7938-7704-12ECB88BEA5C}" name="Konanets Iryna" initials="IK" userId="S::KonanetsIM@dtek.com::02305f8f-9beb-48b4-bf5b-4b119fabfaff" providerId="AD"/>
  <p188:author id="{1792808D-9C66-A63A-B301-98F3655D29CA}" name="Serdiukov Maksym" initials="MS" userId="S::SerdyukovMV@dtek.com::b561aea7-c752-4d7a-9e7f-65db21c3c3e0" providerId="AD"/>
  <p188:author id="{B3149499-41F6-BAA0-2B8D-A2F82E0D03F2}" name="Sheretova Lidiia" initials="LS" userId="S::SheretovaLV@dtek.com::1906779a-4cf3-4da0-a497-5d626db645f7" providerId="AD"/>
  <p188:author id="{92DBA9D5-275F-9EB6-C3AA-235683AC3FB3}" name="Dudka Oleksandr V." initials="OD" userId="S::DudkaOV@dtek.com::7ea3e230-d659-44b4-8a1b-f8ebfae2f475" providerId="AD"/>
  <p188:author id="{32B65AFC-EE83-A203-8F75-7838D360EC4F}" name="Hryshakina Tetiana" initials="HT" userId="S::hryshakinatv@dtek.com::24e09e81-059c-4b8e-a2d0-44a1f0e1c262"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Shilina Yuliya" initials="SY" lastIdx="1" clrIdx="0">
    <p:extLst>
      <p:ext uri="{19B8F6BF-5375-455C-9EA6-DF929625EA0E}">
        <p15:presenceInfo xmlns:p15="http://schemas.microsoft.com/office/powerpoint/2012/main" userId="S-1-5-21-2366370871-3915562376-38366309-50833" providerId="AD"/>
      </p:ext>
    </p:extLst>
  </p:cmAuthor>
  <p:cmAuthor id="2" name="Moiseenko Anastasiya" initials="MA" lastIdx="12" clrIdx="1">
    <p:extLst>
      <p:ext uri="{19B8F6BF-5375-455C-9EA6-DF929625EA0E}">
        <p15:presenceInfo xmlns:p15="http://schemas.microsoft.com/office/powerpoint/2012/main" userId="S-1-5-21-2366370871-3915562376-38366309-131830" providerId="AD"/>
      </p:ext>
    </p:extLst>
  </p:cmAuthor>
  <p:cmAuthor id="3" name="Bogush Oleg" initials="BO" lastIdx="11" clrIdx="2">
    <p:extLst>
      <p:ext uri="{19B8F6BF-5375-455C-9EA6-DF929625EA0E}">
        <p15:presenceInfo xmlns:p15="http://schemas.microsoft.com/office/powerpoint/2012/main" userId="S-1-5-21-2366370871-3915562376-38366309-319282" providerId="AD"/>
      </p:ext>
    </p:extLst>
  </p:cmAuthor>
  <p:cmAuthor id="4" name="Borisenko Evgeniya" initials="BE" lastIdx="14" clrIdx="3">
    <p:extLst>
      <p:ext uri="{19B8F6BF-5375-455C-9EA6-DF929625EA0E}">
        <p15:presenceInfo xmlns:p15="http://schemas.microsoft.com/office/powerpoint/2012/main" userId="S-1-5-21-2366370871-3915562376-38366309-5120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ED100"/>
    <a:srgbClr val="545454"/>
    <a:srgbClr val="8F8F8F"/>
    <a:srgbClr val="FFE500"/>
    <a:srgbClr val="FFDD00"/>
    <a:srgbClr val="E9EDF2"/>
    <a:srgbClr val="7F7F7F"/>
    <a:srgbClr val="FEE500"/>
    <a:srgbClr val="FFFFFF"/>
    <a:srgbClr val="FFFAD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D5ABB26-0587-4C30-8999-92F81FD0307C}" styleName="Нет стиля, нет сетки">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D7B26C5-4107-4FEC-AEDC-1716B250A1EF}" styleName="Светлый стиль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073A0DAA-6AF3-43AB-8588-CEC1D06C72B9}" styleName="Средний стиль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C083E6E3-FA7D-4D7B-A595-EF9225AFEA82}" styleName="Светлый стиль 1 - акцент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F5AB1C69-6EDB-4FF4-983F-18BD219EF322}" styleName="Средний стиль 2 — акцент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5A111915-BE36-4E01-A7E5-04B1672EAD32}" styleName="Светлый стиль 2 — акцент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69012ECD-51FC-41F1-AA8D-1B2483CD663E}" styleName="Светлый стиль 2 — акцент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191" autoAdjust="0"/>
  </p:normalViewPr>
  <p:slideViewPr>
    <p:cSldViewPr snapToGrid="0">
      <p:cViewPr>
        <p:scale>
          <a:sx n="70" d="100"/>
          <a:sy n="70" d="100"/>
        </p:scale>
        <p:origin x="787" y="134"/>
      </p:cViewPr>
      <p:guideLst>
        <p:guide orient="horz" pos="4558"/>
        <p:guide pos="241"/>
        <p:guide orient="horz" pos="4468"/>
        <p:guide pos="4234"/>
        <p:guide pos="8025"/>
        <p:guide pos="4232"/>
        <p:guide orient="horz" pos="567"/>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4.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tags" Target="tags/tag1.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handoutMaster" Target="handoutMasters/handoutMaster1.xml"/><Relationship Id="rId28" Type="http://schemas.openxmlformats.org/officeDocument/2006/relationships/theme" Target="theme/theme1.xml"/><Relationship Id="rId10" Type="http://schemas.openxmlformats.org/officeDocument/2006/relationships/slide" Target="slides/slide3.xml"/><Relationship Id="rId19" Type="http://schemas.openxmlformats.org/officeDocument/2006/relationships/slide" Target="slides/slide12.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notesMaster" Target="notesMasters/notesMaster1.xml"/><Relationship Id="rId27" Type="http://schemas.openxmlformats.org/officeDocument/2006/relationships/viewProps" Target="viewProps.xml"/><Relationship Id="rId30" Type="http://schemas.microsoft.com/office/2018/10/relationships/authors" Targe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ru-RU"/>
          </a:p>
        </p:txBody>
      </p:sp>
      <p:sp>
        <p:nvSpPr>
          <p:cNvPr id="3" name="Дата 2"/>
          <p:cNvSpPr>
            <a:spLocks noGrp="1"/>
          </p:cNvSpPr>
          <p:nvPr>
            <p:ph type="dt" sz="quarter" idx="1"/>
          </p:nvPr>
        </p:nvSpPr>
        <p:spPr>
          <a:xfrm>
            <a:off x="3849688" y="0"/>
            <a:ext cx="2946400" cy="496888"/>
          </a:xfrm>
          <a:prstGeom prst="rect">
            <a:avLst/>
          </a:prstGeom>
        </p:spPr>
        <p:txBody>
          <a:bodyPr vert="horz" lIns="91440" tIns="45720" rIns="91440" bIns="45720" rtlCol="0"/>
          <a:lstStyle>
            <a:lvl1pPr algn="r">
              <a:defRPr sz="1200"/>
            </a:lvl1pPr>
          </a:lstStyle>
          <a:p>
            <a:fld id="{3897AFDA-191E-4A47-97A7-61F53F026BC0}" type="datetimeFigureOut">
              <a:rPr lang="ru-RU" smtClean="0"/>
              <a:t>22.05.2025</a:t>
            </a:fld>
            <a:endParaRPr lang="ru-RU"/>
          </a:p>
        </p:txBody>
      </p:sp>
      <p:sp>
        <p:nvSpPr>
          <p:cNvPr id="4" name="Нижний колонтитул 3"/>
          <p:cNvSpPr>
            <a:spLocks noGrp="1"/>
          </p:cNvSpPr>
          <p:nvPr>
            <p:ph type="ftr" sz="quarter" idx="2"/>
          </p:nvPr>
        </p:nvSpPr>
        <p:spPr>
          <a:xfrm>
            <a:off x="0" y="9429750"/>
            <a:ext cx="2946400" cy="496888"/>
          </a:xfrm>
          <a:prstGeom prst="rect">
            <a:avLst/>
          </a:prstGeom>
        </p:spPr>
        <p:txBody>
          <a:bodyPr vert="horz" lIns="91440" tIns="45720" rIns="91440" bIns="45720" rtlCol="0" anchor="b"/>
          <a:lstStyle>
            <a:lvl1pPr algn="l">
              <a:defRPr sz="1200"/>
            </a:lvl1pPr>
          </a:lstStyle>
          <a:p>
            <a:r>
              <a:rPr lang="ru-RU"/>
              <a:t>3</a:t>
            </a:r>
          </a:p>
        </p:txBody>
      </p:sp>
      <p:sp>
        <p:nvSpPr>
          <p:cNvPr id="5" name="Номер слайда 4"/>
          <p:cNvSpPr>
            <a:spLocks noGrp="1"/>
          </p:cNvSpPr>
          <p:nvPr>
            <p:ph type="sldNum" sz="quarter" idx="3"/>
          </p:nvPr>
        </p:nvSpPr>
        <p:spPr>
          <a:xfrm>
            <a:off x="3849688" y="9429750"/>
            <a:ext cx="2946400" cy="496888"/>
          </a:xfrm>
          <a:prstGeom prst="rect">
            <a:avLst/>
          </a:prstGeom>
        </p:spPr>
        <p:txBody>
          <a:bodyPr vert="horz" lIns="91440" tIns="45720" rIns="91440" bIns="45720" rtlCol="0" anchor="b"/>
          <a:lstStyle>
            <a:lvl1pPr algn="r">
              <a:defRPr sz="1200"/>
            </a:lvl1pPr>
          </a:lstStyle>
          <a:p>
            <a:fld id="{1F422D56-FF5B-408F-8F33-815186913F85}" type="slidenum">
              <a:rPr lang="ru-RU" smtClean="0"/>
              <a:t>‹№›</a:t>
            </a:fld>
            <a:endParaRPr lang="ru-RU"/>
          </a:p>
        </p:txBody>
      </p:sp>
    </p:spTree>
    <p:extLst>
      <p:ext uri="{BB962C8B-B14F-4D97-AF65-F5344CB8AC3E}">
        <p14:creationId xmlns:p14="http://schemas.microsoft.com/office/powerpoint/2010/main" val="214912154"/>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3" y="1"/>
            <a:ext cx="2945659" cy="498057"/>
          </a:xfrm>
          <a:prstGeom prst="rect">
            <a:avLst/>
          </a:prstGeom>
        </p:spPr>
        <p:txBody>
          <a:bodyPr vert="horz" lIns="91421" tIns="45711" rIns="91421" bIns="45711" rtlCol="0"/>
          <a:lstStyle>
            <a:lvl1pPr algn="l">
              <a:defRPr sz="1200"/>
            </a:lvl1pPr>
          </a:lstStyle>
          <a:p>
            <a:endParaRPr lang="en-US"/>
          </a:p>
        </p:txBody>
      </p:sp>
      <p:sp>
        <p:nvSpPr>
          <p:cNvPr id="3" name="Дата 2"/>
          <p:cNvSpPr>
            <a:spLocks noGrp="1"/>
          </p:cNvSpPr>
          <p:nvPr>
            <p:ph type="dt" idx="1"/>
          </p:nvPr>
        </p:nvSpPr>
        <p:spPr>
          <a:xfrm>
            <a:off x="3850447" y="1"/>
            <a:ext cx="2945659" cy="498057"/>
          </a:xfrm>
          <a:prstGeom prst="rect">
            <a:avLst/>
          </a:prstGeom>
        </p:spPr>
        <p:txBody>
          <a:bodyPr vert="horz" lIns="91421" tIns="45711" rIns="91421" bIns="45711" rtlCol="0"/>
          <a:lstStyle>
            <a:lvl1pPr algn="r">
              <a:defRPr sz="1200"/>
            </a:lvl1pPr>
          </a:lstStyle>
          <a:p>
            <a:fld id="{12F201A4-C2C6-4566-9E32-F1F384CF1EE9}" type="datetimeFigureOut">
              <a:rPr lang="en-US" smtClean="0"/>
              <a:t>5/22/2025</a:t>
            </a:fld>
            <a:endParaRPr lang="en-US"/>
          </a:p>
        </p:txBody>
      </p:sp>
      <p:sp>
        <p:nvSpPr>
          <p:cNvPr id="4" name="Образ слайда 3"/>
          <p:cNvSpPr>
            <a:spLocks noGrp="1" noRot="1" noChangeAspect="1"/>
          </p:cNvSpPr>
          <p:nvPr>
            <p:ph type="sldImg" idx="2"/>
          </p:nvPr>
        </p:nvSpPr>
        <p:spPr>
          <a:xfrm>
            <a:off x="423863" y="1241425"/>
            <a:ext cx="5949950" cy="3348038"/>
          </a:xfrm>
          <a:prstGeom prst="rect">
            <a:avLst/>
          </a:prstGeom>
          <a:noFill/>
          <a:ln w="12700">
            <a:solidFill>
              <a:prstClr val="black"/>
            </a:solidFill>
          </a:ln>
        </p:spPr>
        <p:txBody>
          <a:bodyPr vert="horz" lIns="91421" tIns="45711" rIns="91421" bIns="45711" rtlCol="0" anchor="ctr"/>
          <a:lstStyle/>
          <a:p>
            <a:endParaRPr lang="en-US"/>
          </a:p>
        </p:txBody>
      </p:sp>
      <p:sp>
        <p:nvSpPr>
          <p:cNvPr id="5" name="Заметки 4"/>
          <p:cNvSpPr>
            <a:spLocks noGrp="1"/>
          </p:cNvSpPr>
          <p:nvPr>
            <p:ph type="body" sz="quarter" idx="3"/>
          </p:nvPr>
        </p:nvSpPr>
        <p:spPr>
          <a:xfrm>
            <a:off x="679768" y="4777197"/>
            <a:ext cx="5438140" cy="3908614"/>
          </a:xfrm>
          <a:prstGeom prst="rect">
            <a:avLst/>
          </a:prstGeom>
        </p:spPr>
        <p:txBody>
          <a:bodyPr vert="horz" lIns="91421" tIns="45711" rIns="91421" bIns="45711" rtlCol="0"/>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a:p>
        </p:txBody>
      </p:sp>
      <p:sp>
        <p:nvSpPr>
          <p:cNvPr id="6" name="Нижний колонтитул 5"/>
          <p:cNvSpPr>
            <a:spLocks noGrp="1"/>
          </p:cNvSpPr>
          <p:nvPr>
            <p:ph type="ftr" sz="quarter" idx="4"/>
          </p:nvPr>
        </p:nvSpPr>
        <p:spPr>
          <a:xfrm>
            <a:off x="3" y="9428585"/>
            <a:ext cx="2945659" cy="498056"/>
          </a:xfrm>
          <a:prstGeom prst="rect">
            <a:avLst/>
          </a:prstGeom>
        </p:spPr>
        <p:txBody>
          <a:bodyPr vert="horz" lIns="91421" tIns="45711" rIns="91421" bIns="45711" rtlCol="0" anchor="b"/>
          <a:lstStyle>
            <a:lvl1pPr algn="l">
              <a:defRPr sz="1200"/>
            </a:lvl1pPr>
          </a:lstStyle>
          <a:p>
            <a:r>
              <a:rPr lang="en-US"/>
              <a:t>3</a:t>
            </a:r>
          </a:p>
        </p:txBody>
      </p:sp>
      <p:sp>
        <p:nvSpPr>
          <p:cNvPr id="7" name="Номер слайда 6"/>
          <p:cNvSpPr>
            <a:spLocks noGrp="1"/>
          </p:cNvSpPr>
          <p:nvPr>
            <p:ph type="sldNum" sz="quarter" idx="5"/>
          </p:nvPr>
        </p:nvSpPr>
        <p:spPr>
          <a:xfrm>
            <a:off x="3850447" y="9428585"/>
            <a:ext cx="2945659" cy="498056"/>
          </a:xfrm>
          <a:prstGeom prst="rect">
            <a:avLst/>
          </a:prstGeom>
        </p:spPr>
        <p:txBody>
          <a:bodyPr vert="horz" lIns="91421" tIns="45711" rIns="91421" bIns="45711" rtlCol="0" anchor="b"/>
          <a:lstStyle>
            <a:lvl1pPr algn="r">
              <a:defRPr sz="1200"/>
            </a:lvl1pPr>
          </a:lstStyle>
          <a:p>
            <a:fld id="{D4FCB278-02CA-48D9-8768-59684A0470B1}" type="slidenum">
              <a:rPr lang="en-US" smtClean="0"/>
              <a:t>‹№›</a:t>
            </a:fld>
            <a:endParaRPr lang="en-US"/>
          </a:p>
        </p:txBody>
      </p:sp>
    </p:spTree>
    <p:extLst>
      <p:ext uri="{BB962C8B-B14F-4D97-AF65-F5344CB8AC3E}">
        <p14:creationId xmlns:p14="http://schemas.microsoft.com/office/powerpoint/2010/main" val="1260839468"/>
      </p:ext>
    </p:extLst>
  </p:cSld>
  <p:clrMap bg1="lt1" tx1="dk1" bg2="lt2" tx2="dk2" accent1="accent1" accent2="accent2" accent3="accent3" accent4="accent4" accent5="accent5" accent6="accent6" hlink="hlink" folHlink="folHlink"/>
  <p:hf hdr="0" ftr="0" dt="0"/>
  <p:notesStyle>
    <a:lvl1pPr marL="0" algn="l" defTabSz="995478" rtl="0" eaLnBrk="1" latinLnBrk="0" hangingPunct="1">
      <a:defRPr sz="1306" kern="1200">
        <a:solidFill>
          <a:schemeClr val="tx1"/>
        </a:solidFill>
        <a:latin typeface="+mn-lt"/>
        <a:ea typeface="+mn-ea"/>
        <a:cs typeface="+mn-cs"/>
      </a:defRPr>
    </a:lvl1pPr>
    <a:lvl2pPr marL="497739" algn="l" defTabSz="995478" rtl="0" eaLnBrk="1" latinLnBrk="0" hangingPunct="1">
      <a:defRPr sz="1306" kern="1200">
        <a:solidFill>
          <a:schemeClr val="tx1"/>
        </a:solidFill>
        <a:latin typeface="+mn-lt"/>
        <a:ea typeface="+mn-ea"/>
        <a:cs typeface="+mn-cs"/>
      </a:defRPr>
    </a:lvl2pPr>
    <a:lvl3pPr marL="995478" algn="l" defTabSz="995478" rtl="0" eaLnBrk="1" latinLnBrk="0" hangingPunct="1">
      <a:defRPr sz="1306" kern="1200">
        <a:solidFill>
          <a:schemeClr val="tx1"/>
        </a:solidFill>
        <a:latin typeface="+mn-lt"/>
        <a:ea typeface="+mn-ea"/>
        <a:cs typeface="+mn-cs"/>
      </a:defRPr>
    </a:lvl3pPr>
    <a:lvl4pPr marL="1493217" algn="l" defTabSz="995478" rtl="0" eaLnBrk="1" latinLnBrk="0" hangingPunct="1">
      <a:defRPr sz="1306" kern="1200">
        <a:solidFill>
          <a:schemeClr val="tx1"/>
        </a:solidFill>
        <a:latin typeface="+mn-lt"/>
        <a:ea typeface="+mn-ea"/>
        <a:cs typeface="+mn-cs"/>
      </a:defRPr>
    </a:lvl4pPr>
    <a:lvl5pPr marL="1990957" algn="l" defTabSz="995478" rtl="0" eaLnBrk="1" latinLnBrk="0" hangingPunct="1">
      <a:defRPr sz="1306" kern="1200">
        <a:solidFill>
          <a:schemeClr val="tx1"/>
        </a:solidFill>
        <a:latin typeface="+mn-lt"/>
        <a:ea typeface="+mn-ea"/>
        <a:cs typeface="+mn-cs"/>
      </a:defRPr>
    </a:lvl5pPr>
    <a:lvl6pPr marL="2488695" algn="l" defTabSz="995478" rtl="0" eaLnBrk="1" latinLnBrk="0" hangingPunct="1">
      <a:defRPr sz="1306" kern="1200">
        <a:solidFill>
          <a:schemeClr val="tx1"/>
        </a:solidFill>
        <a:latin typeface="+mn-lt"/>
        <a:ea typeface="+mn-ea"/>
        <a:cs typeface="+mn-cs"/>
      </a:defRPr>
    </a:lvl6pPr>
    <a:lvl7pPr marL="2986435" algn="l" defTabSz="995478" rtl="0" eaLnBrk="1" latinLnBrk="0" hangingPunct="1">
      <a:defRPr sz="1306" kern="1200">
        <a:solidFill>
          <a:schemeClr val="tx1"/>
        </a:solidFill>
        <a:latin typeface="+mn-lt"/>
        <a:ea typeface="+mn-ea"/>
        <a:cs typeface="+mn-cs"/>
      </a:defRPr>
    </a:lvl7pPr>
    <a:lvl8pPr marL="3484174" algn="l" defTabSz="995478" rtl="0" eaLnBrk="1" latinLnBrk="0" hangingPunct="1">
      <a:defRPr sz="1306" kern="1200">
        <a:solidFill>
          <a:schemeClr val="tx1"/>
        </a:solidFill>
        <a:latin typeface="+mn-lt"/>
        <a:ea typeface="+mn-ea"/>
        <a:cs typeface="+mn-cs"/>
      </a:defRPr>
    </a:lvl8pPr>
    <a:lvl9pPr marL="3981914" algn="l" defTabSz="995478" rtl="0" eaLnBrk="1" latinLnBrk="0" hangingPunct="1">
      <a:defRPr sz="130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B8313D-329B-C615-2936-D6535301E6EF}"/>
            </a:ext>
          </a:extLst>
        </p:cNvPr>
        <p:cNvGrpSpPr/>
        <p:nvPr/>
      </p:nvGrpSpPr>
      <p:grpSpPr>
        <a:xfrm>
          <a:off x="0" y="0"/>
          <a:ext cx="0" cy="0"/>
          <a:chOff x="0" y="0"/>
          <a:chExt cx="0" cy="0"/>
        </a:xfrm>
      </p:grpSpPr>
      <p:sp>
        <p:nvSpPr>
          <p:cNvPr id="2" name="Образ слайда 1">
            <a:extLst>
              <a:ext uri="{FF2B5EF4-FFF2-40B4-BE49-F238E27FC236}">
                <a16:creationId xmlns:a16="http://schemas.microsoft.com/office/drawing/2014/main" id="{A1A470C8-9AF3-956B-4955-E82C636F2326}"/>
              </a:ext>
            </a:extLst>
          </p:cNvPr>
          <p:cNvSpPr>
            <a:spLocks noGrp="1" noRot="1" noChangeAspect="1"/>
          </p:cNvSpPr>
          <p:nvPr>
            <p:ph type="sldImg"/>
          </p:nvPr>
        </p:nvSpPr>
        <p:spPr/>
      </p:sp>
      <p:sp>
        <p:nvSpPr>
          <p:cNvPr id="3" name="Заметки 2">
            <a:extLst>
              <a:ext uri="{FF2B5EF4-FFF2-40B4-BE49-F238E27FC236}">
                <a16:creationId xmlns:a16="http://schemas.microsoft.com/office/drawing/2014/main" id="{BEA43F49-F0B7-1658-FFE5-EA1F7E2BDF83}"/>
              </a:ext>
            </a:extLst>
          </p:cNvPr>
          <p:cNvSpPr>
            <a:spLocks noGrp="1"/>
          </p:cNvSpPr>
          <p:nvPr>
            <p:ph type="body" idx="1"/>
          </p:nvPr>
        </p:nvSpPr>
        <p:spPr/>
        <p:txBody>
          <a:bodyPr/>
          <a:lstStyle/>
          <a:p>
            <a:endParaRPr lang="uk-UA"/>
          </a:p>
        </p:txBody>
      </p:sp>
      <p:sp>
        <p:nvSpPr>
          <p:cNvPr id="4" name="Номер слайда 3">
            <a:extLst>
              <a:ext uri="{FF2B5EF4-FFF2-40B4-BE49-F238E27FC236}">
                <a16:creationId xmlns:a16="http://schemas.microsoft.com/office/drawing/2014/main" id="{B2B11606-FED4-618A-3CE8-7184BDB6B4F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990660-4B7D-4C11-96DB-B19FFA8CA93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8340417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7B4C92-F3D5-6760-A7C5-8B0376447EEC}"/>
            </a:ext>
          </a:extLst>
        </p:cNvPr>
        <p:cNvGrpSpPr/>
        <p:nvPr/>
      </p:nvGrpSpPr>
      <p:grpSpPr>
        <a:xfrm>
          <a:off x="0" y="0"/>
          <a:ext cx="0" cy="0"/>
          <a:chOff x="0" y="0"/>
          <a:chExt cx="0" cy="0"/>
        </a:xfrm>
      </p:grpSpPr>
      <p:sp>
        <p:nvSpPr>
          <p:cNvPr id="2" name="Образ слайда 1">
            <a:extLst>
              <a:ext uri="{FF2B5EF4-FFF2-40B4-BE49-F238E27FC236}">
                <a16:creationId xmlns:a16="http://schemas.microsoft.com/office/drawing/2014/main" id="{9BDF1EEA-C33F-E4D0-56D0-D088BF82D28C}"/>
              </a:ext>
            </a:extLst>
          </p:cNvPr>
          <p:cNvSpPr>
            <a:spLocks noGrp="1" noRot="1" noChangeAspect="1"/>
          </p:cNvSpPr>
          <p:nvPr>
            <p:ph type="sldImg"/>
          </p:nvPr>
        </p:nvSpPr>
        <p:spPr/>
      </p:sp>
      <p:sp>
        <p:nvSpPr>
          <p:cNvPr id="3" name="Заметки 2">
            <a:extLst>
              <a:ext uri="{FF2B5EF4-FFF2-40B4-BE49-F238E27FC236}">
                <a16:creationId xmlns:a16="http://schemas.microsoft.com/office/drawing/2014/main" id="{C9169EEC-7484-2185-BFDB-424EC39667B7}"/>
              </a:ext>
            </a:extLst>
          </p:cNvPr>
          <p:cNvSpPr>
            <a:spLocks noGrp="1"/>
          </p:cNvSpPr>
          <p:nvPr>
            <p:ph type="body" idx="1"/>
          </p:nvPr>
        </p:nvSpPr>
        <p:spPr/>
        <p:txBody>
          <a:bodyPr/>
          <a:lstStyle/>
          <a:p>
            <a:endParaRPr lang="uk-UA"/>
          </a:p>
        </p:txBody>
      </p:sp>
      <p:sp>
        <p:nvSpPr>
          <p:cNvPr id="4" name="Номер слайда 3">
            <a:extLst>
              <a:ext uri="{FF2B5EF4-FFF2-40B4-BE49-F238E27FC236}">
                <a16:creationId xmlns:a16="http://schemas.microsoft.com/office/drawing/2014/main" id="{E9F1DE14-3B17-E11B-C1E7-EB2ACFD851B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990660-4B7D-4C11-96DB-B19FFA8CA93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132882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649CC0-CADF-E73C-D401-77B89435A27C}"/>
            </a:ext>
          </a:extLst>
        </p:cNvPr>
        <p:cNvGrpSpPr/>
        <p:nvPr/>
      </p:nvGrpSpPr>
      <p:grpSpPr>
        <a:xfrm>
          <a:off x="0" y="0"/>
          <a:ext cx="0" cy="0"/>
          <a:chOff x="0" y="0"/>
          <a:chExt cx="0" cy="0"/>
        </a:xfrm>
      </p:grpSpPr>
      <p:sp>
        <p:nvSpPr>
          <p:cNvPr id="2" name="Образ слайда 1">
            <a:extLst>
              <a:ext uri="{FF2B5EF4-FFF2-40B4-BE49-F238E27FC236}">
                <a16:creationId xmlns:a16="http://schemas.microsoft.com/office/drawing/2014/main" id="{6C4ED3F1-724E-8EB8-91EF-A0346A2F7542}"/>
              </a:ext>
            </a:extLst>
          </p:cNvPr>
          <p:cNvSpPr>
            <a:spLocks noGrp="1" noRot="1" noChangeAspect="1"/>
          </p:cNvSpPr>
          <p:nvPr>
            <p:ph type="sldImg"/>
          </p:nvPr>
        </p:nvSpPr>
        <p:spPr/>
      </p:sp>
      <p:sp>
        <p:nvSpPr>
          <p:cNvPr id="3" name="Заметки 2">
            <a:extLst>
              <a:ext uri="{FF2B5EF4-FFF2-40B4-BE49-F238E27FC236}">
                <a16:creationId xmlns:a16="http://schemas.microsoft.com/office/drawing/2014/main" id="{D5FC6CBF-3267-1A37-0BEB-46BC8C7035DF}"/>
              </a:ext>
            </a:extLst>
          </p:cNvPr>
          <p:cNvSpPr>
            <a:spLocks noGrp="1"/>
          </p:cNvSpPr>
          <p:nvPr>
            <p:ph type="body" idx="1"/>
          </p:nvPr>
        </p:nvSpPr>
        <p:spPr/>
        <p:txBody>
          <a:bodyPr/>
          <a:lstStyle/>
          <a:p>
            <a:endParaRPr lang="uk-UA"/>
          </a:p>
        </p:txBody>
      </p:sp>
      <p:sp>
        <p:nvSpPr>
          <p:cNvPr id="4" name="Номер слайда 3">
            <a:extLst>
              <a:ext uri="{FF2B5EF4-FFF2-40B4-BE49-F238E27FC236}">
                <a16:creationId xmlns:a16="http://schemas.microsoft.com/office/drawing/2014/main" id="{FD519C30-1B48-E816-9301-FCADCC3F0DD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990660-4B7D-4C11-96DB-B19FFA8CA93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6789666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72">
          <a:extLst>
            <a:ext uri="{FF2B5EF4-FFF2-40B4-BE49-F238E27FC236}">
              <a16:creationId xmlns:a16="http://schemas.microsoft.com/office/drawing/2014/main" id="{1ABA3CD2-B71A-C09C-8A00-EE64B7DC272E}"/>
            </a:ext>
          </a:extLst>
        </p:cNvPr>
        <p:cNvGrpSpPr/>
        <p:nvPr/>
      </p:nvGrpSpPr>
      <p:grpSpPr>
        <a:xfrm>
          <a:off x="0" y="0"/>
          <a:ext cx="0" cy="0"/>
          <a:chOff x="0" y="0"/>
          <a:chExt cx="0" cy="0"/>
        </a:xfrm>
      </p:grpSpPr>
      <p:sp>
        <p:nvSpPr>
          <p:cNvPr id="573" name="Google Shape;573;g5465e7bc0b_1_49:notes">
            <a:extLst>
              <a:ext uri="{FF2B5EF4-FFF2-40B4-BE49-F238E27FC236}">
                <a16:creationId xmlns:a16="http://schemas.microsoft.com/office/drawing/2014/main" id="{9F3C9EC4-B5A4-D994-0850-6B9E6714BE57}"/>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74" name="Google Shape;574;g5465e7bc0b_1_49:notes">
            <a:extLst>
              <a:ext uri="{FF2B5EF4-FFF2-40B4-BE49-F238E27FC236}">
                <a16:creationId xmlns:a16="http://schemas.microsoft.com/office/drawing/2014/main" id="{757DC49D-95E1-4801-B1CF-60F81C6DD885}"/>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4" name="Місце для номера слайда 3">
            <a:extLst>
              <a:ext uri="{FF2B5EF4-FFF2-40B4-BE49-F238E27FC236}">
                <a16:creationId xmlns:a16="http://schemas.microsoft.com/office/drawing/2014/main" id="{F6B3E3A1-312A-2591-8AAF-D91F8F7D1E76}"/>
              </a:ext>
            </a:extLst>
          </p:cNvPr>
          <p:cNvSpPr>
            <a:spLocks noGrp="1"/>
          </p:cNvSpPr>
          <p:nvPr>
            <p:ph type="sldNum" sz="quarter" idx="5"/>
          </p:nvPr>
        </p:nvSpPr>
        <p:spPr/>
        <p:txBody>
          <a:bodyPr/>
          <a:lstStyle/>
          <a:p>
            <a:fld id="{D4FCB278-02CA-48D9-8768-59684A0470B1}" type="slidenum">
              <a:rPr lang="en-US" smtClean="0"/>
              <a:t>13</a:t>
            </a:fld>
            <a:endParaRPr lang="en-US"/>
          </a:p>
        </p:txBody>
      </p:sp>
    </p:spTree>
    <p:extLst>
      <p:ext uri="{BB962C8B-B14F-4D97-AF65-F5344CB8AC3E}">
        <p14:creationId xmlns:p14="http://schemas.microsoft.com/office/powerpoint/2010/main" val="28747685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9D5C5F-FD67-3CE1-4B32-0AAD42DE558D}"/>
            </a:ext>
          </a:extLst>
        </p:cNvPr>
        <p:cNvGrpSpPr/>
        <p:nvPr/>
      </p:nvGrpSpPr>
      <p:grpSpPr>
        <a:xfrm>
          <a:off x="0" y="0"/>
          <a:ext cx="0" cy="0"/>
          <a:chOff x="0" y="0"/>
          <a:chExt cx="0" cy="0"/>
        </a:xfrm>
      </p:grpSpPr>
      <p:sp>
        <p:nvSpPr>
          <p:cNvPr id="2" name="Образ слайда 1">
            <a:extLst>
              <a:ext uri="{FF2B5EF4-FFF2-40B4-BE49-F238E27FC236}">
                <a16:creationId xmlns:a16="http://schemas.microsoft.com/office/drawing/2014/main" id="{8DEEDBF3-A155-56DF-9C1F-38FDAEEB4246}"/>
              </a:ext>
            </a:extLst>
          </p:cNvPr>
          <p:cNvSpPr>
            <a:spLocks noGrp="1" noRot="1" noChangeAspect="1"/>
          </p:cNvSpPr>
          <p:nvPr>
            <p:ph type="sldImg"/>
          </p:nvPr>
        </p:nvSpPr>
        <p:spPr/>
      </p:sp>
      <p:sp>
        <p:nvSpPr>
          <p:cNvPr id="3" name="Заметки 2">
            <a:extLst>
              <a:ext uri="{FF2B5EF4-FFF2-40B4-BE49-F238E27FC236}">
                <a16:creationId xmlns:a16="http://schemas.microsoft.com/office/drawing/2014/main" id="{ED643E96-73EA-9F63-83C3-8DB2B30605A4}"/>
              </a:ext>
            </a:extLst>
          </p:cNvPr>
          <p:cNvSpPr>
            <a:spLocks noGrp="1"/>
          </p:cNvSpPr>
          <p:nvPr>
            <p:ph type="body" idx="1"/>
          </p:nvPr>
        </p:nvSpPr>
        <p:spPr/>
        <p:txBody>
          <a:bodyPr/>
          <a:lstStyle/>
          <a:p>
            <a:endParaRPr lang="uk-UA"/>
          </a:p>
        </p:txBody>
      </p:sp>
      <p:sp>
        <p:nvSpPr>
          <p:cNvPr id="4" name="Номер слайда 3">
            <a:extLst>
              <a:ext uri="{FF2B5EF4-FFF2-40B4-BE49-F238E27FC236}">
                <a16:creationId xmlns:a16="http://schemas.microsoft.com/office/drawing/2014/main" id="{804EF59B-38A2-C488-2C91-3A4B9D5FF04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990660-4B7D-4C11-96DB-B19FFA8CA93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96582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E7CC2E-6F84-CF45-0A33-C0CC62848C16}"/>
            </a:ext>
          </a:extLst>
        </p:cNvPr>
        <p:cNvGrpSpPr/>
        <p:nvPr/>
      </p:nvGrpSpPr>
      <p:grpSpPr>
        <a:xfrm>
          <a:off x="0" y="0"/>
          <a:ext cx="0" cy="0"/>
          <a:chOff x="0" y="0"/>
          <a:chExt cx="0" cy="0"/>
        </a:xfrm>
      </p:grpSpPr>
      <p:sp>
        <p:nvSpPr>
          <p:cNvPr id="2" name="Образ слайда 1">
            <a:extLst>
              <a:ext uri="{FF2B5EF4-FFF2-40B4-BE49-F238E27FC236}">
                <a16:creationId xmlns:a16="http://schemas.microsoft.com/office/drawing/2014/main" id="{18107033-E71E-3A2E-B8CD-3E3E66537E9D}"/>
              </a:ext>
            </a:extLst>
          </p:cNvPr>
          <p:cNvSpPr>
            <a:spLocks noGrp="1" noRot="1" noChangeAspect="1"/>
          </p:cNvSpPr>
          <p:nvPr>
            <p:ph type="sldImg"/>
          </p:nvPr>
        </p:nvSpPr>
        <p:spPr/>
      </p:sp>
      <p:sp>
        <p:nvSpPr>
          <p:cNvPr id="3" name="Заметки 2">
            <a:extLst>
              <a:ext uri="{FF2B5EF4-FFF2-40B4-BE49-F238E27FC236}">
                <a16:creationId xmlns:a16="http://schemas.microsoft.com/office/drawing/2014/main" id="{677EE75B-3144-0932-3D7C-F47618A91108}"/>
              </a:ext>
            </a:extLst>
          </p:cNvPr>
          <p:cNvSpPr>
            <a:spLocks noGrp="1"/>
          </p:cNvSpPr>
          <p:nvPr>
            <p:ph type="body" idx="1"/>
          </p:nvPr>
        </p:nvSpPr>
        <p:spPr/>
        <p:txBody>
          <a:bodyPr/>
          <a:lstStyle/>
          <a:p>
            <a:endParaRPr lang="uk-UA" dirty="0"/>
          </a:p>
        </p:txBody>
      </p:sp>
      <p:sp>
        <p:nvSpPr>
          <p:cNvPr id="4" name="Номер слайда 3">
            <a:extLst>
              <a:ext uri="{FF2B5EF4-FFF2-40B4-BE49-F238E27FC236}">
                <a16:creationId xmlns:a16="http://schemas.microsoft.com/office/drawing/2014/main" id="{23AA8157-9444-EC3D-5617-DDD8F808D73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990660-4B7D-4C11-96DB-B19FFA8CA93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694494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538914-B199-5556-3832-D73E9C42BEB9}"/>
            </a:ext>
          </a:extLst>
        </p:cNvPr>
        <p:cNvGrpSpPr/>
        <p:nvPr/>
      </p:nvGrpSpPr>
      <p:grpSpPr>
        <a:xfrm>
          <a:off x="0" y="0"/>
          <a:ext cx="0" cy="0"/>
          <a:chOff x="0" y="0"/>
          <a:chExt cx="0" cy="0"/>
        </a:xfrm>
      </p:grpSpPr>
      <p:sp>
        <p:nvSpPr>
          <p:cNvPr id="2" name="Образ слайда 1">
            <a:extLst>
              <a:ext uri="{FF2B5EF4-FFF2-40B4-BE49-F238E27FC236}">
                <a16:creationId xmlns:a16="http://schemas.microsoft.com/office/drawing/2014/main" id="{3CF1CE68-4837-05DE-5097-E30BA0FCF11E}"/>
              </a:ext>
            </a:extLst>
          </p:cNvPr>
          <p:cNvSpPr>
            <a:spLocks noGrp="1" noRot="1" noChangeAspect="1"/>
          </p:cNvSpPr>
          <p:nvPr>
            <p:ph type="sldImg"/>
          </p:nvPr>
        </p:nvSpPr>
        <p:spPr/>
      </p:sp>
      <p:sp>
        <p:nvSpPr>
          <p:cNvPr id="3" name="Заметки 2">
            <a:extLst>
              <a:ext uri="{FF2B5EF4-FFF2-40B4-BE49-F238E27FC236}">
                <a16:creationId xmlns:a16="http://schemas.microsoft.com/office/drawing/2014/main" id="{18B8A705-B83D-6899-621D-9FD172629CF8}"/>
              </a:ext>
            </a:extLst>
          </p:cNvPr>
          <p:cNvSpPr>
            <a:spLocks noGrp="1"/>
          </p:cNvSpPr>
          <p:nvPr>
            <p:ph type="body" idx="1"/>
          </p:nvPr>
        </p:nvSpPr>
        <p:spPr/>
        <p:txBody>
          <a:bodyPr/>
          <a:lstStyle/>
          <a:p>
            <a:endParaRPr lang="uk-UA" dirty="0"/>
          </a:p>
        </p:txBody>
      </p:sp>
      <p:sp>
        <p:nvSpPr>
          <p:cNvPr id="4" name="Номер слайда 3">
            <a:extLst>
              <a:ext uri="{FF2B5EF4-FFF2-40B4-BE49-F238E27FC236}">
                <a16:creationId xmlns:a16="http://schemas.microsoft.com/office/drawing/2014/main" id="{CFD23CFA-990B-41AF-4DC4-2B0DFDCA0AB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990660-4B7D-4C11-96DB-B19FFA8CA93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2690104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A936C5-F830-FE43-1136-06BC2327D35A}"/>
            </a:ext>
          </a:extLst>
        </p:cNvPr>
        <p:cNvGrpSpPr/>
        <p:nvPr/>
      </p:nvGrpSpPr>
      <p:grpSpPr>
        <a:xfrm>
          <a:off x="0" y="0"/>
          <a:ext cx="0" cy="0"/>
          <a:chOff x="0" y="0"/>
          <a:chExt cx="0" cy="0"/>
        </a:xfrm>
      </p:grpSpPr>
      <p:sp>
        <p:nvSpPr>
          <p:cNvPr id="2" name="Образ слайда 1">
            <a:extLst>
              <a:ext uri="{FF2B5EF4-FFF2-40B4-BE49-F238E27FC236}">
                <a16:creationId xmlns:a16="http://schemas.microsoft.com/office/drawing/2014/main" id="{930EF50C-0E01-EA7F-932D-D732A37B7ED8}"/>
              </a:ext>
            </a:extLst>
          </p:cNvPr>
          <p:cNvSpPr>
            <a:spLocks noGrp="1" noRot="1" noChangeAspect="1"/>
          </p:cNvSpPr>
          <p:nvPr>
            <p:ph type="sldImg"/>
          </p:nvPr>
        </p:nvSpPr>
        <p:spPr/>
      </p:sp>
      <p:sp>
        <p:nvSpPr>
          <p:cNvPr id="3" name="Заметки 2">
            <a:extLst>
              <a:ext uri="{FF2B5EF4-FFF2-40B4-BE49-F238E27FC236}">
                <a16:creationId xmlns:a16="http://schemas.microsoft.com/office/drawing/2014/main" id="{640A320F-C35D-0012-1713-BA6A6913F3F9}"/>
              </a:ext>
            </a:extLst>
          </p:cNvPr>
          <p:cNvSpPr>
            <a:spLocks noGrp="1"/>
          </p:cNvSpPr>
          <p:nvPr>
            <p:ph type="body" idx="1"/>
          </p:nvPr>
        </p:nvSpPr>
        <p:spPr/>
        <p:txBody>
          <a:bodyPr/>
          <a:lstStyle/>
          <a:p>
            <a:endParaRPr lang="uk-UA" dirty="0"/>
          </a:p>
        </p:txBody>
      </p:sp>
      <p:sp>
        <p:nvSpPr>
          <p:cNvPr id="4" name="Номер слайда 3">
            <a:extLst>
              <a:ext uri="{FF2B5EF4-FFF2-40B4-BE49-F238E27FC236}">
                <a16:creationId xmlns:a16="http://schemas.microsoft.com/office/drawing/2014/main" id="{8B800308-F614-939B-DDD2-9CA8CF564B0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990660-4B7D-4C11-96DB-B19FFA8CA93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166959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70B462-FAC4-E17C-A77B-B3BF9EAF0F1A}"/>
            </a:ext>
          </a:extLst>
        </p:cNvPr>
        <p:cNvGrpSpPr/>
        <p:nvPr/>
      </p:nvGrpSpPr>
      <p:grpSpPr>
        <a:xfrm>
          <a:off x="0" y="0"/>
          <a:ext cx="0" cy="0"/>
          <a:chOff x="0" y="0"/>
          <a:chExt cx="0" cy="0"/>
        </a:xfrm>
      </p:grpSpPr>
      <p:sp>
        <p:nvSpPr>
          <p:cNvPr id="2" name="Образ слайда 1">
            <a:extLst>
              <a:ext uri="{FF2B5EF4-FFF2-40B4-BE49-F238E27FC236}">
                <a16:creationId xmlns:a16="http://schemas.microsoft.com/office/drawing/2014/main" id="{12C8BD4D-EA64-37DD-4BE9-B5316A70AB04}"/>
              </a:ext>
            </a:extLst>
          </p:cNvPr>
          <p:cNvSpPr>
            <a:spLocks noGrp="1" noRot="1" noChangeAspect="1"/>
          </p:cNvSpPr>
          <p:nvPr>
            <p:ph type="sldImg"/>
          </p:nvPr>
        </p:nvSpPr>
        <p:spPr/>
      </p:sp>
      <p:sp>
        <p:nvSpPr>
          <p:cNvPr id="3" name="Заметки 2">
            <a:extLst>
              <a:ext uri="{FF2B5EF4-FFF2-40B4-BE49-F238E27FC236}">
                <a16:creationId xmlns:a16="http://schemas.microsoft.com/office/drawing/2014/main" id="{3B925101-F1D3-6B31-3D16-AB4B660609CA}"/>
              </a:ext>
            </a:extLst>
          </p:cNvPr>
          <p:cNvSpPr>
            <a:spLocks noGrp="1"/>
          </p:cNvSpPr>
          <p:nvPr>
            <p:ph type="body" idx="1"/>
          </p:nvPr>
        </p:nvSpPr>
        <p:spPr/>
        <p:txBody>
          <a:bodyPr/>
          <a:lstStyle/>
          <a:p>
            <a:endParaRPr lang="uk-UA" dirty="0"/>
          </a:p>
        </p:txBody>
      </p:sp>
      <p:sp>
        <p:nvSpPr>
          <p:cNvPr id="4" name="Номер слайда 3">
            <a:extLst>
              <a:ext uri="{FF2B5EF4-FFF2-40B4-BE49-F238E27FC236}">
                <a16:creationId xmlns:a16="http://schemas.microsoft.com/office/drawing/2014/main" id="{B32CDD6B-46B8-0B9C-2604-93EE5C983CF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990660-4B7D-4C11-96DB-B19FFA8CA93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7121095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B8313D-329B-C615-2936-D6535301E6EF}"/>
            </a:ext>
          </a:extLst>
        </p:cNvPr>
        <p:cNvGrpSpPr/>
        <p:nvPr/>
      </p:nvGrpSpPr>
      <p:grpSpPr>
        <a:xfrm>
          <a:off x="0" y="0"/>
          <a:ext cx="0" cy="0"/>
          <a:chOff x="0" y="0"/>
          <a:chExt cx="0" cy="0"/>
        </a:xfrm>
      </p:grpSpPr>
      <p:sp>
        <p:nvSpPr>
          <p:cNvPr id="2" name="Образ слайда 1">
            <a:extLst>
              <a:ext uri="{FF2B5EF4-FFF2-40B4-BE49-F238E27FC236}">
                <a16:creationId xmlns:a16="http://schemas.microsoft.com/office/drawing/2014/main" id="{A1A470C8-9AF3-956B-4955-E82C636F2326}"/>
              </a:ext>
            </a:extLst>
          </p:cNvPr>
          <p:cNvSpPr>
            <a:spLocks noGrp="1" noRot="1" noChangeAspect="1"/>
          </p:cNvSpPr>
          <p:nvPr>
            <p:ph type="sldImg"/>
          </p:nvPr>
        </p:nvSpPr>
        <p:spPr/>
      </p:sp>
      <p:sp>
        <p:nvSpPr>
          <p:cNvPr id="3" name="Заметки 2">
            <a:extLst>
              <a:ext uri="{FF2B5EF4-FFF2-40B4-BE49-F238E27FC236}">
                <a16:creationId xmlns:a16="http://schemas.microsoft.com/office/drawing/2014/main" id="{BEA43F49-F0B7-1658-FFE5-EA1F7E2BDF83}"/>
              </a:ext>
            </a:extLst>
          </p:cNvPr>
          <p:cNvSpPr>
            <a:spLocks noGrp="1"/>
          </p:cNvSpPr>
          <p:nvPr>
            <p:ph type="body" idx="1"/>
          </p:nvPr>
        </p:nvSpPr>
        <p:spPr/>
        <p:txBody>
          <a:bodyPr/>
          <a:lstStyle/>
          <a:p>
            <a:endParaRPr lang="uk-UA"/>
          </a:p>
        </p:txBody>
      </p:sp>
      <p:sp>
        <p:nvSpPr>
          <p:cNvPr id="4" name="Номер слайда 3">
            <a:extLst>
              <a:ext uri="{FF2B5EF4-FFF2-40B4-BE49-F238E27FC236}">
                <a16:creationId xmlns:a16="http://schemas.microsoft.com/office/drawing/2014/main" id="{B2B11606-FED4-618A-3CE8-7184BDB6B4F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990660-4B7D-4C11-96DB-B19FFA8CA93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8340417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8CE4EF-CDE9-5239-8613-5D99B234A81A}"/>
            </a:ext>
          </a:extLst>
        </p:cNvPr>
        <p:cNvGrpSpPr/>
        <p:nvPr/>
      </p:nvGrpSpPr>
      <p:grpSpPr>
        <a:xfrm>
          <a:off x="0" y="0"/>
          <a:ext cx="0" cy="0"/>
          <a:chOff x="0" y="0"/>
          <a:chExt cx="0" cy="0"/>
        </a:xfrm>
      </p:grpSpPr>
      <p:sp>
        <p:nvSpPr>
          <p:cNvPr id="2" name="Образ слайда 1">
            <a:extLst>
              <a:ext uri="{FF2B5EF4-FFF2-40B4-BE49-F238E27FC236}">
                <a16:creationId xmlns:a16="http://schemas.microsoft.com/office/drawing/2014/main" id="{522E7E09-CF22-F3CC-1F9E-D9D1DBF8C127}"/>
              </a:ext>
            </a:extLst>
          </p:cNvPr>
          <p:cNvSpPr>
            <a:spLocks noGrp="1" noRot="1" noChangeAspect="1"/>
          </p:cNvSpPr>
          <p:nvPr>
            <p:ph type="sldImg"/>
          </p:nvPr>
        </p:nvSpPr>
        <p:spPr/>
      </p:sp>
      <p:sp>
        <p:nvSpPr>
          <p:cNvPr id="3" name="Заметки 2">
            <a:extLst>
              <a:ext uri="{FF2B5EF4-FFF2-40B4-BE49-F238E27FC236}">
                <a16:creationId xmlns:a16="http://schemas.microsoft.com/office/drawing/2014/main" id="{F4AFA93B-77DF-E9A6-83FB-F23719D0A47E}"/>
              </a:ext>
            </a:extLst>
          </p:cNvPr>
          <p:cNvSpPr>
            <a:spLocks noGrp="1"/>
          </p:cNvSpPr>
          <p:nvPr>
            <p:ph type="body" idx="1"/>
          </p:nvPr>
        </p:nvSpPr>
        <p:spPr/>
        <p:txBody>
          <a:bodyPr/>
          <a:lstStyle/>
          <a:p>
            <a:endParaRPr lang="uk-UA"/>
          </a:p>
        </p:txBody>
      </p:sp>
      <p:sp>
        <p:nvSpPr>
          <p:cNvPr id="4" name="Номер слайда 3">
            <a:extLst>
              <a:ext uri="{FF2B5EF4-FFF2-40B4-BE49-F238E27FC236}">
                <a16:creationId xmlns:a16="http://schemas.microsoft.com/office/drawing/2014/main" id="{AC2B60AA-F55F-2B4A-4392-EF0543F250A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990660-4B7D-4C11-96DB-B19FFA8CA93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0591187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A15221-0FDC-81A0-11E1-9B25D89E80B8}"/>
            </a:ext>
          </a:extLst>
        </p:cNvPr>
        <p:cNvGrpSpPr/>
        <p:nvPr/>
      </p:nvGrpSpPr>
      <p:grpSpPr>
        <a:xfrm>
          <a:off x="0" y="0"/>
          <a:ext cx="0" cy="0"/>
          <a:chOff x="0" y="0"/>
          <a:chExt cx="0" cy="0"/>
        </a:xfrm>
      </p:grpSpPr>
      <p:sp>
        <p:nvSpPr>
          <p:cNvPr id="2" name="Образ слайда 1">
            <a:extLst>
              <a:ext uri="{FF2B5EF4-FFF2-40B4-BE49-F238E27FC236}">
                <a16:creationId xmlns:a16="http://schemas.microsoft.com/office/drawing/2014/main" id="{190D219A-14B8-A5C9-A335-84D0A577F46B}"/>
              </a:ext>
            </a:extLst>
          </p:cNvPr>
          <p:cNvSpPr>
            <a:spLocks noGrp="1" noRot="1" noChangeAspect="1"/>
          </p:cNvSpPr>
          <p:nvPr>
            <p:ph type="sldImg"/>
          </p:nvPr>
        </p:nvSpPr>
        <p:spPr/>
      </p:sp>
      <p:sp>
        <p:nvSpPr>
          <p:cNvPr id="3" name="Заметки 2">
            <a:extLst>
              <a:ext uri="{FF2B5EF4-FFF2-40B4-BE49-F238E27FC236}">
                <a16:creationId xmlns:a16="http://schemas.microsoft.com/office/drawing/2014/main" id="{51F8AF47-ACF9-1CC3-7E63-B754E02DEE00}"/>
              </a:ext>
            </a:extLst>
          </p:cNvPr>
          <p:cNvSpPr>
            <a:spLocks noGrp="1"/>
          </p:cNvSpPr>
          <p:nvPr>
            <p:ph type="body" idx="1"/>
          </p:nvPr>
        </p:nvSpPr>
        <p:spPr/>
        <p:txBody>
          <a:bodyPr/>
          <a:lstStyle/>
          <a:p>
            <a:endParaRPr lang="uk-UA" dirty="0"/>
          </a:p>
        </p:txBody>
      </p:sp>
      <p:sp>
        <p:nvSpPr>
          <p:cNvPr id="4" name="Номер слайда 3">
            <a:extLst>
              <a:ext uri="{FF2B5EF4-FFF2-40B4-BE49-F238E27FC236}">
                <a16:creationId xmlns:a16="http://schemas.microsoft.com/office/drawing/2014/main" id="{46670AC2-1096-E8D0-AC54-ECA3D3D6918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990660-4B7D-4C11-96DB-B19FFA8CA93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0062605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3.emf"/><Relationship Id="rId5" Type="http://schemas.openxmlformats.org/officeDocument/2006/relationships/oleObject" Target="../embeddings/oleObject1.bin"/><Relationship Id="rId4"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image" Target="../media/image9.emf"/><Relationship Id="rId4" Type="http://schemas.openxmlformats.org/officeDocument/2006/relationships/oleObject" Target="../embeddings/oleObject4.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11.jpeg"/><Relationship Id="rId5" Type="http://schemas.openxmlformats.org/officeDocument/2006/relationships/image" Target="../media/image3.emf"/><Relationship Id="rId4" Type="http://schemas.openxmlformats.org/officeDocument/2006/relationships/oleObject" Target="../embeddings/oleObject1.bin"/></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3.emf"/><Relationship Id="rId5" Type="http://schemas.openxmlformats.org/officeDocument/2006/relationships/oleObject" Target="../embeddings/oleObject1.bin"/><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xml"/><Relationship Id="rId1" Type="http://schemas.openxmlformats.org/officeDocument/2006/relationships/tags" Target="../tags/tag13.xml"/><Relationship Id="rId5" Type="http://schemas.openxmlformats.org/officeDocument/2006/relationships/image" Target="../media/image9.emf"/><Relationship Id="rId4" Type="http://schemas.openxmlformats.org/officeDocument/2006/relationships/oleObject" Target="../embeddings/oleObject4.bin"/></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11.jpeg"/><Relationship Id="rId5" Type="http://schemas.openxmlformats.org/officeDocument/2006/relationships/image" Target="../media/image3.emf"/><Relationship Id="rId4" Type="http://schemas.openxmlformats.org/officeDocument/2006/relationships/oleObject" Target="../embeddings/oleObject1.bin"/></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4.png"/><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10.png"/><Relationship Id="rId5" Type="http://schemas.openxmlformats.org/officeDocument/2006/relationships/image" Target="../media/image13.emf"/><Relationship Id="rId4" Type="http://schemas.openxmlformats.org/officeDocument/2006/relationships/oleObject" Target="../embeddings/oleObject5.bin"/></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slideMaster" Target="../slideMasters/slideMaster4.xml"/><Relationship Id="rId7" Type="http://schemas.openxmlformats.org/officeDocument/2006/relationships/image" Target="../media/image15.png"/><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3.emf"/><Relationship Id="rId5" Type="http://schemas.openxmlformats.org/officeDocument/2006/relationships/oleObject" Target="../embeddings/oleObject2.bin"/><Relationship Id="rId10" Type="http://schemas.openxmlformats.org/officeDocument/2006/relationships/image" Target="../media/image18.jpeg"/><Relationship Id="rId4" Type="http://schemas.openxmlformats.org/officeDocument/2006/relationships/image" Target="../media/image6.png"/><Relationship Id="rId9" Type="http://schemas.openxmlformats.org/officeDocument/2006/relationships/image" Target="../media/image17.png"/></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3.emf"/><Relationship Id="rId5" Type="http://schemas.openxmlformats.org/officeDocument/2006/relationships/oleObject" Target="../embeddings/oleObject6.bin"/><Relationship Id="rId4" Type="http://schemas.openxmlformats.org/officeDocument/2006/relationships/image" Target="../media/image6.png"/></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11.jpeg"/><Relationship Id="rId5" Type="http://schemas.openxmlformats.org/officeDocument/2006/relationships/image" Target="../media/image3.emf"/><Relationship Id="rId4" Type="http://schemas.openxmlformats.org/officeDocument/2006/relationships/oleObject" Target="../embeddings/oleObject1.bin"/></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7.pn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image" Target="../media/image6.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6_Пользовательский макет">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3" name="Объект 2" hidden="1"/>
          <p:cNvGraphicFramePr>
            <a:graphicFrameLocks noChangeAspect="1"/>
          </p:cNvGraphicFramePr>
          <p:nvPr userDrawn="1">
            <p:custDataLst>
              <p:tags r:id="rId1"/>
            </p:custDataLst>
          </p:nvPr>
        </p:nvGraphicFramePr>
        <p:xfrm>
          <a:off x="1996" y="1588"/>
          <a:ext cx="1996" cy="1588"/>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3" name="Объект 2" hidden="1"/>
                      <p:cNvPicPr/>
                      <p:nvPr/>
                    </p:nvPicPr>
                    <p:blipFill>
                      <a:blip r:embed="rId6"/>
                      <a:stretch>
                        <a:fillRect/>
                      </a:stretch>
                    </p:blipFill>
                    <p:spPr>
                      <a:xfrm>
                        <a:off x="1996" y="1588"/>
                        <a:ext cx="1996" cy="1588"/>
                      </a:xfrm>
                      <a:prstGeom prst="rect">
                        <a:avLst/>
                      </a:prstGeom>
                    </p:spPr>
                  </p:pic>
                </p:oleObj>
              </mc:Fallback>
            </mc:AlternateContent>
          </a:graphicData>
        </a:graphic>
      </p:graphicFrame>
      <p:sp>
        <p:nvSpPr>
          <p:cNvPr id="2" name="Прямоугольник 1" hidden="1"/>
          <p:cNvSpPr/>
          <p:nvPr userDrawn="1">
            <p:custDataLst>
              <p:tags r:id="rId2"/>
            </p:custDataLst>
          </p:nvPr>
        </p:nvSpPr>
        <p:spPr>
          <a:xfrm>
            <a:off x="0" y="0"/>
            <a:ext cx="1995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ru-RU" sz="4704" b="1" i="0" baseline="0">
              <a:latin typeface="Calibri" panose="020F0502020204030204" pitchFamily="34" charset="0"/>
              <a:ea typeface="+mj-ea"/>
              <a:cs typeface="+mj-cs"/>
              <a:sym typeface="Calibri" panose="020F0502020204030204" pitchFamily="34" charset="0"/>
            </a:endParaRPr>
          </a:p>
        </p:txBody>
      </p:sp>
      <p:sp>
        <p:nvSpPr>
          <p:cNvPr id="10" name="Текст 12"/>
          <p:cNvSpPr>
            <a:spLocks noGrp="1"/>
          </p:cNvSpPr>
          <p:nvPr>
            <p:ph type="body" sz="quarter" idx="11" hasCustomPrompt="1"/>
          </p:nvPr>
        </p:nvSpPr>
        <p:spPr>
          <a:xfrm>
            <a:off x="697813" y="373615"/>
            <a:ext cx="5394326" cy="4904555"/>
          </a:xfrm>
          <a:prstGeom prst="rect">
            <a:avLst/>
          </a:prstGeom>
        </p:spPr>
        <p:txBody>
          <a:bodyPr/>
          <a:lstStyle>
            <a:lvl1pPr>
              <a:defRPr sz="3000">
                <a:solidFill>
                  <a:srgbClr val="000000"/>
                </a:solidFill>
              </a:defRPr>
            </a:lvl1pPr>
            <a:lvl2pPr>
              <a:defRPr sz="2600">
                <a:solidFill>
                  <a:srgbClr val="000000"/>
                </a:solidFill>
              </a:defRPr>
            </a:lvl2pPr>
            <a:lvl3pPr>
              <a:defRPr sz="2000">
                <a:solidFill>
                  <a:srgbClr val="000000"/>
                </a:solidFill>
              </a:defRPr>
            </a:lvl3pPr>
            <a:lvl4pPr>
              <a:defRPr sz="1800">
                <a:solidFill>
                  <a:srgbClr val="000000"/>
                </a:solidFill>
              </a:defRPr>
            </a:lvl4pPr>
            <a:lvl5pPr>
              <a:defRPr sz="1800">
                <a:solidFill>
                  <a:srgbClr val="000000"/>
                </a:solidFill>
              </a:defRPr>
            </a:lvl5pPr>
          </a:lstStyle>
          <a:p>
            <a:pPr lvl="0"/>
            <a:r>
              <a:rPr lang="en-US"/>
              <a:t>Table of Contents</a:t>
            </a:r>
            <a:r>
              <a:rPr lang="ru-RU"/>
              <a:t>:</a:t>
            </a:r>
          </a:p>
          <a:p>
            <a:pPr lvl="1"/>
            <a:r>
              <a:rPr lang="en-US"/>
              <a:t>Second level</a:t>
            </a:r>
            <a:endParaRPr lang="ru-RU"/>
          </a:p>
          <a:p>
            <a:pPr lvl="2"/>
            <a:r>
              <a:rPr lang="en-US"/>
              <a:t>Third level</a:t>
            </a:r>
            <a:endParaRPr lang="ru-RU"/>
          </a:p>
          <a:p>
            <a:pPr lvl="3"/>
            <a:r>
              <a:rPr lang="en-US"/>
              <a:t>Fourth level</a:t>
            </a:r>
            <a:endParaRPr lang="ru-RU"/>
          </a:p>
          <a:p>
            <a:pPr lvl="4"/>
            <a:r>
              <a:rPr lang="en-US"/>
              <a:t>Fifth level</a:t>
            </a:r>
            <a:endParaRPr lang="ru-RU"/>
          </a:p>
        </p:txBody>
      </p:sp>
    </p:spTree>
    <p:extLst>
      <p:ext uri="{BB962C8B-B14F-4D97-AF65-F5344CB8AC3E}">
        <p14:creationId xmlns:p14="http://schemas.microsoft.com/office/powerpoint/2010/main" val="168088656"/>
      </p:ext>
    </p:extLst>
  </p:cSld>
  <p:clrMapOvr>
    <a:masterClrMapping/>
  </p:clrMapOvr>
  <p:extLst>
    <p:ext uri="{DCECCB84-F9BA-43D5-87BE-67443E8EF086}">
      <p15:sldGuideLst xmlns:p15="http://schemas.microsoft.com/office/powerpoint/2012/main">
        <p15:guide id="1" orient="horz" pos="2381" userDrawn="1">
          <p15:clr>
            <a:srgbClr val="FBAE40"/>
          </p15:clr>
        </p15:guide>
        <p15:guide id="2" pos="4233"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Заголовок и объект">
    <p:spTree>
      <p:nvGrpSpPr>
        <p:cNvPr id="1" name=""/>
        <p:cNvGrpSpPr/>
        <p:nvPr/>
      </p:nvGrpSpPr>
      <p:grpSpPr>
        <a:xfrm>
          <a:off x="0" y="0"/>
          <a:ext cx="0" cy="0"/>
          <a:chOff x="0" y="0"/>
          <a:chExt cx="0" cy="0"/>
        </a:xfrm>
      </p:grpSpPr>
      <p:sp>
        <p:nvSpPr>
          <p:cNvPr id="3" name="Содержимое 2"/>
          <p:cNvSpPr>
            <a:spLocks noGrp="1"/>
          </p:cNvSpPr>
          <p:nvPr>
            <p:ph idx="1"/>
          </p:nvPr>
        </p:nvSpPr>
        <p:spPr>
          <a:xfrm>
            <a:off x="898322" y="1557325"/>
            <a:ext cx="11869466" cy="5225504"/>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ru-RU"/>
          </a:p>
        </p:txBody>
      </p:sp>
      <p:sp>
        <p:nvSpPr>
          <p:cNvPr id="7" name="Title Placeholder 1"/>
          <p:cNvSpPr>
            <a:spLocks noGrp="1"/>
          </p:cNvSpPr>
          <p:nvPr>
            <p:ph type="title"/>
          </p:nvPr>
        </p:nvSpPr>
        <p:spPr>
          <a:xfrm>
            <a:off x="898870" y="45345"/>
            <a:ext cx="10901188" cy="816486"/>
          </a:xfrm>
          <a:prstGeom prst="rect">
            <a:avLst/>
          </a:prstGeom>
        </p:spPr>
        <p:txBody>
          <a:bodyPr vert="horz" lIns="91440" tIns="45720" rIns="91440" bIns="45720" rtlCol="0" anchor="ctr">
            <a:normAutofit/>
          </a:bodyPr>
          <a:lstStyle/>
          <a:p>
            <a:pPr lvl="0"/>
            <a:r>
              <a:rPr lang="en-US"/>
              <a:t>Click to edit Master title style</a:t>
            </a:r>
            <a:endParaRPr lang="uk-UA"/>
          </a:p>
        </p:txBody>
      </p:sp>
      <p:sp>
        <p:nvSpPr>
          <p:cNvPr id="9" name="Slide Number Placeholder 2"/>
          <p:cNvSpPr>
            <a:spLocks noGrp="1"/>
          </p:cNvSpPr>
          <p:nvPr>
            <p:ph type="sldNum" sz="quarter" idx="4"/>
          </p:nvPr>
        </p:nvSpPr>
        <p:spPr>
          <a:xfrm>
            <a:off x="10232081" y="7060693"/>
            <a:ext cx="3135949" cy="402484"/>
          </a:xfrm>
          <a:prstGeom prst="rect">
            <a:avLst/>
          </a:prstGeom>
        </p:spPr>
        <p:txBody>
          <a:bodyPr/>
          <a:lstStyle>
            <a:lvl1pPr>
              <a:defRPr sz="2062"/>
            </a:lvl1pPr>
          </a:lstStyle>
          <a:p>
            <a:pPr algn="r"/>
            <a:fld id="{680CDED1-8D9D-45E0-8506-504F9114EB93}" type="slidenum">
              <a:rPr lang="uk-UA" smtClean="0"/>
              <a:pPr algn="r"/>
              <a:t>‹№›</a:t>
            </a:fld>
            <a:endParaRPr lang="uk-UA"/>
          </a:p>
        </p:txBody>
      </p:sp>
    </p:spTree>
    <p:extLst>
      <p:ext uri="{BB962C8B-B14F-4D97-AF65-F5344CB8AC3E}">
        <p14:creationId xmlns:p14="http://schemas.microsoft.com/office/powerpoint/2010/main" val="7916214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4_Заголовок и объект">
    <p:spTree>
      <p:nvGrpSpPr>
        <p:cNvPr id="1" name=""/>
        <p:cNvGrpSpPr/>
        <p:nvPr/>
      </p:nvGrpSpPr>
      <p:grpSpPr>
        <a:xfrm>
          <a:off x="0" y="0"/>
          <a:ext cx="0" cy="0"/>
          <a:chOff x="0" y="0"/>
          <a:chExt cx="0" cy="0"/>
        </a:xfrm>
      </p:grpSpPr>
      <p:sp>
        <p:nvSpPr>
          <p:cNvPr id="4" name="Title 9"/>
          <p:cNvSpPr>
            <a:spLocks noGrp="1"/>
          </p:cNvSpPr>
          <p:nvPr>
            <p:ph type="title" hasCustomPrompt="1"/>
          </p:nvPr>
        </p:nvSpPr>
        <p:spPr>
          <a:xfrm>
            <a:off x="562554" y="441550"/>
            <a:ext cx="11053043" cy="415146"/>
          </a:xfrm>
          <a:prstGeom prst="rect">
            <a:avLst/>
          </a:prstGeom>
        </p:spPr>
        <p:txBody>
          <a:bodyPr>
            <a:noAutofit/>
          </a:bodyPr>
          <a:lstStyle>
            <a:lvl1pPr>
              <a:defRPr sz="2600" b="1" baseline="0">
                <a:solidFill>
                  <a:srgbClr val="000000"/>
                </a:solidFill>
                <a:latin typeface="+mj-lt"/>
              </a:defRPr>
            </a:lvl1pPr>
          </a:lstStyle>
          <a:p>
            <a:r>
              <a:rPr lang="uk-UA"/>
              <a:t>Заголовок слайда</a:t>
            </a:r>
            <a:endParaRPr lang="ru-RU"/>
          </a:p>
        </p:txBody>
      </p:sp>
      <p:sp>
        <p:nvSpPr>
          <p:cNvPr id="6" name="Содержимое 2"/>
          <p:cNvSpPr>
            <a:spLocks noGrp="1"/>
          </p:cNvSpPr>
          <p:nvPr>
            <p:ph idx="1"/>
          </p:nvPr>
        </p:nvSpPr>
        <p:spPr>
          <a:xfrm>
            <a:off x="552697" y="952187"/>
            <a:ext cx="12411865" cy="5830641"/>
          </a:xfrm>
          <a:prstGeom prst="rect">
            <a:avLst/>
          </a:prstGeom>
        </p:spPr>
        <p:txBody>
          <a:bodyPr/>
          <a:lstStyle>
            <a:lvl1pPr>
              <a:defRPr sz="2400">
                <a:solidFill>
                  <a:srgbClr val="000000"/>
                </a:solidFill>
                <a:latin typeface="+mn-lt"/>
              </a:defRPr>
            </a:lvl1pPr>
            <a:lvl2pPr>
              <a:defRPr sz="2001">
                <a:solidFill>
                  <a:srgbClr val="000000"/>
                </a:solidFill>
                <a:latin typeface="+mn-lt"/>
              </a:defRPr>
            </a:lvl2pPr>
            <a:lvl3pPr>
              <a:defRPr sz="1601">
                <a:solidFill>
                  <a:srgbClr val="000000"/>
                </a:solidFill>
                <a:latin typeface="+mn-lt"/>
              </a:defRPr>
            </a:lvl3pPr>
            <a:lvl4pPr>
              <a:defRPr sz="1401">
                <a:solidFill>
                  <a:srgbClr val="000000"/>
                </a:solidFill>
                <a:latin typeface="+mn-lt"/>
              </a:defRPr>
            </a:lvl4pPr>
            <a:lvl5pPr>
              <a:defRPr sz="1199">
                <a:solidFill>
                  <a:srgbClr val="000000"/>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ru-RU"/>
          </a:p>
        </p:txBody>
      </p:sp>
    </p:spTree>
    <p:extLst>
      <p:ext uri="{BB962C8B-B14F-4D97-AF65-F5344CB8AC3E}">
        <p14:creationId xmlns:p14="http://schemas.microsoft.com/office/powerpoint/2010/main" val="126139157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3_Титульный слайд">
    <p:spTree>
      <p:nvGrpSpPr>
        <p:cNvPr id="1" name=""/>
        <p:cNvGrpSpPr/>
        <p:nvPr/>
      </p:nvGrpSpPr>
      <p:grpSpPr>
        <a:xfrm>
          <a:off x="0" y="0"/>
          <a:ext cx="0" cy="0"/>
          <a:chOff x="0" y="0"/>
          <a:chExt cx="0" cy="0"/>
        </a:xfrm>
      </p:grpSpPr>
      <p:graphicFrame>
        <p:nvGraphicFramePr>
          <p:cNvPr id="2" name="Объект 1" hidden="1">
            <a:extLst>
              <a:ext uri="{FF2B5EF4-FFF2-40B4-BE49-F238E27FC236}">
                <a16:creationId xmlns:a16="http://schemas.microsoft.com/office/drawing/2014/main" id="{4BF15483-6E74-4AEF-BA59-6721AB1A53D3}"/>
              </a:ext>
            </a:extLst>
          </p:cNvPr>
          <p:cNvGraphicFramePr>
            <a:graphicFrameLocks noChangeAspect="1"/>
          </p:cNvGraphicFramePr>
          <p:nvPr>
            <p:custDataLst>
              <p:tags r:id="rId1"/>
            </p:custDataLst>
          </p:nvPr>
        </p:nvGraphicFramePr>
        <p:xfrm>
          <a:off x="3114" y="2335"/>
          <a:ext cx="3112" cy="2334"/>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2" name="Объект 1" hidden="1">
                        <a:extLst>
                          <a:ext uri="{FF2B5EF4-FFF2-40B4-BE49-F238E27FC236}">
                            <a16:creationId xmlns:a16="http://schemas.microsoft.com/office/drawing/2014/main" id="{4BF15483-6E74-4AEF-BA59-6721AB1A53D3}"/>
                          </a:ext>
                        </a:extLst>
                      </p:cNvPr>
                      <p:cNvPicPr/>
                      <p:nvPr/>
                    </p:nvPicPr>
                    <p:blipFill>
                      <a:blip r:embed="rId5"/>
                      <a:stretch>
                        <a:fillRect/>
                      </a:stretch>
                    </p:blipFill>
                    <p:spPr>
                      <a:xfrm>
                        <a:off x="3114" y="2335"/>
                        <a:ext cx="3112" cy="2334"/>
                      </a:xfrm>
                      <a:prstGeom prst="rect">
                        <a:avLst/>
                      </a:prstGeom>
                    </p:spPr>
                  </p:pic>
                </p:oleObj>
              </mc:Fallback>
            </mc:AlternateContent>
          </a:graphicData>
        </a:graphic>
      </p:graphicFrame>
      <p:sp>
        <p:nvSpPr>
          <p:cNvPr id="4" name="Rectangle 3" hidden="1"/>
          <p:cNvSpPr/>
          <p:nvPr>
            <p:custDataLst>
              <p:tags r:id="rId2"/>
            </p:custDataLst>
          </p:nvPr>
        </p:nvSpPr>
        <p:spPr>
          <a:xfrm>
            <a:off x="0" y="1"/>
            <a:ext cx="311107" cy="23332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772" b="0" i="0" baseline="0">
              <a:latin typeface="Calibri Light (Heading)"/>
              <a:ea typeface="+mj-ea"/>
              <a:cs typeface="+mj-cs"/>
              <a:sym typeface="Calibri Light (Heading)"/>
            </a:endParaRPr>
          </a:p>
        </p:txBody>
      </p:sp>
      <p:sp>
        <p:nvSpPr>
          <p:cNvPr id="9" name="Title Placeholder 1"/>
          <p:cNvSpPr txBox="1">
            <a:spLocks/>
          </p:cNvSpPr>
          <p:nvPr/>
        </p:nvSpPr>
        <p:spPr>
          <a:xfrm>
            <a:off x="813059" y="739040"/>
            <a:ext cx="10485423" cy="559141"/>
          </a:xfrm>
          <a:prstGeom prst="rect">
            <a:avLst/>
          </a:prstGeom>
        </p:spPr>
        <p:txBody>
          <a:bodyPr vert="horz" lIns="81267" tIns="40634" rIns="81267" bIns="40634" rtlCol="0" anchor="ctr">
            <a:normAutofit/>
          </a:bodyPr>
          <a:lstStyle>
            <a:lvl1pPr algn="l" defTabSz="1007943" rtl="0" eaLnBrk="1" latinLnBrk="0" hangingPunct="1">
              <a:lnSpc>
                <a:spcPct val="90000"/>
              </a:lnSpc>
              <a:spcBef>
                <a:spcPct val="0"/>
              </a:spcBef>
              <a:buNone/>
              <a:defRPr sz="2800" kern="1200">
                <a:solidFill>
                  <a:schemeClr val="tx1"/>
                </a:solidFill>
                <a:latin typeface="+mj-lt"/>
                <a:ea typeface="+mj-ea"/>
                <a:cs typeface="+mj-cs"/>
              </a:defRPr>
            </a:lvl1pPr>
          </a:lstStyle>
          <a:p>
            <a:endParaRPr lang="en-US" sz="2133">
              <a:solidFill>
                <a:schemeClr val="tx1">
                  <a:lumMod val="75000"/>
                  <a:lumOff val="25000"/>
                </a:schemeClr>
              </a:solidFill>
              <a:latin typeface="Calibri" panose="020F0502020204030204" pitchFamily="34" charset="0"/>
              <a:cs typeface="Calibri" panose="020F0502020204030204" pitchFamily="34" charset="0"/>
            </a:endParaRPr>
          </a:p>
        </p:txBody>
      </p:sp>
      <p:sp>
        <p:nvSpPr>
          <p:cNvPr id="7" name="Прямоугольник 6"/>
          <p:cNvSpPr/>
          <p:nvPr/>
        </p:nvSpPr>
        <p:spPr>
          <a:xfrm>
            <a:off x="585660" y="1"/>
            <a:ext cx="952371" cy="888275"/>
          </a:xfrm>
          <a:prstGeom prst="rect">
            <a:avLst/>
          </a:prstGeom>
          <a:solidFill>
            <a:srgbClr val="FED1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ru-RU" sz="1601"/>
          </a:p>
        </p:txBody>
      </p:sp>
    </p:spTree>
    <p:extLst>
      <p:ext uri="{BB962C8B-B14F-4D97-AF65-F5344CB8AC3E}">
        <p14:creationId xmlns:p14="http://schemas.microsoft.com/office/powerpoint/2010/main" val="145699162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nd SmartA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4CF0B1-5FBF-6F99-DA2D-C2AE165C78B8}"/>
              </a:ext>
            </a:extLst>
          </p:cNvPr>
          <p:cNvSpPr>
            <a:spLocks noGrp="1"/>
          </p:cNvSpPr>
          <p:nvPr>
            <p:ph type="title" hasCustomPrompt="1"/>
          </p:nvPr>
        </p:nvSpPr>
        <p:spPr>
          <a:xfrm>
            <a:off x="861616" y="310146"/>
            <a:ext cx="11732924" cy="1007957"/>
          </a:xfrm>
        </p:spPr>
        <p:txBody>
          <a:bodyPr/>
          <a:lstStyle>
            <a:lvl1pPr>
              <a:defRPr cap="all" baseline="0"/>
            </a:lvl1pPr>
          </a:lstStyle>
          <a:p>
            <a:r>
              <a:rPr lang="en-US" b="0">
                <a:solidFill>
                  <a:schemeClr val="bg1"/>
                </a:solidFill>
              </a:rPr>
              <a:t>CLICK TO ADD TITLE</a:t>
            </a:r>
            <a:endParaRPr lang="en-US">
              <a:solidFill>
                <a:schemeClr val="bg1"/>
              </a:solidFill>
            </a:endParaRPr>
          </a:p>
        </p:txBody>
      </p:sp>
      <p:sp>
        <p:nvSpPr>
          <p:cNvPr id="6" name="SmartArt Placeholder 5">
            <a:extLst>
              <a:ext uri="{FF2B5EF4-FFF2-40B4-BE49-F238E27FC236}">
                <a16:creationId xmlns:a16="http://schemas.microsoft.com/office/drawing/2014/main" id="{88D67B3A-7763-7946-C85A-D14F3AC99EFB}"/>
              </a:ext>
            </a:extLst>
          </p:cNvPr>
          <p:cNvSpPr>
            <a:spLocks noGrp="1"/>
          </p:cNvSpPr>
          <p:nvPr>
            <p:ph type="dgm" sz="quarter" idx="10"/>
          </p:nvPr>
        </p:nvSpPr>
        <p:spPr>
          <a:xfrm>
            <a:off x="881985" y="1317696"/>
            <a:ext cx="11675805" cy="5603259"/>
          </a:xfrm>
          <a:ln w="19050">
            <a:noFill/>
          </a:ln>
        </p:spPr>
        <p:txBody>
          <a:bodyPr/>
          <a:lstStyle>
            <a:lvl1pPr marL="0" indent="0" algn="ctr">
              <a:buNone/>
              <a:defRPr/>
            </a:lvl1pPr>
          </a:lstStyle>
          <a:p>
            <a:r>
              <a:rPr lang="en-US"/>
              <a:t>Click icon to add SmartArt graphic</a:t>
            </a:r>
          </a:p>
        </p:txBody>
      </p:sp>
      <p:sp>
        <p:nvSpPr>
          <p:cNvPr id="7" name="Text Placeholder 6">
            <a:extLst>
              <a:ext uri="{FF2B5EF4-FFF2-40B4-BE49-F238E27FC236}">
                <a16:creationId xmlns:a16="http://schemas.microsoft.com/office/drawing/2014/main" id="{11E0B3DD-01F4-FA08-2C93-4F4AC2329837}"/>
              </a:ext>
            </a:extLst>
          </p:cNvPr>
          <p:cNvSpPr>
            <a:spLocks noGrp="1"/>
          </p:cNvSpPr>
          <p:nvPr>
            <p:ph type="body" sz="quarter" idx="15" hasCustomPrompt="1"/>
          </p:nvPr>
        </p:nvSpPr>
        <p:spPr>
          <a:xfrm>
            <a:off x="3158041" y="1906075"/>
            <a:ext cx="755987" cy="755968"/>
          </a:xfrm>
          <a:prstGeom prst="ellipse">
            <a:avLst/>
          </a:prstGeom>
          <a:solidFill>
            <a:schemeClr val="tx1">
              <a:lumMod val="75000"/>
              <a:lumOff val="25000"/>
            </a:schemeClr>
          </a:solidFill>
          <a:ln w="25400">
            <a:solidFill>
              <a:schemeClr val="tx1">
                <a:lumMod val="75000"/>
                <a:lumOff val="25000"/>
              </a:schemeClr>
            </a:solidFill>
          </a:ln>
        </p:spPr>
        <p:txBody>
          <a:bodyPr lIns="0" tIns="0" rIns="0" bIns="0" anchor="ctr">
            <a:noAutofit/>
          </a:bodyPr>
          <a:lstStyle>
            <a:lvl1pPr marL="0" indent="0" algn="ctr">
              <a:lnSpc>
                <a:spcPct val="100000"/>
              </a:lnSpc>
              <a:spcBef>
                <a:spcPts val="0"/>
              </a:spcBef>
              <a:buNone/>
              <a:defRPr sz="4189" b="0">
                <a:solidFill>
                  <a:schemeClr val="accent1"/>
                </a:solidFill>
                <a:latin typeface="+mn-lt"/>
              </a:defRPr>
            </a:lvl1pPr>
            <a:lvl2pPr marL="503975" indent="0">
              <a:buNone/>
              <a:defRPr b="1">
                <a:latin typeface="+mj-lt"/>
              </a:defRPr>
            </a:lvl2pPr>
            <a:lvl3pPr marL="1007950" indent="0">
              <a:buNone/>
              <a:defRPr b="1">
                <a:latin typeface="+mj-lt"/>
              </a:defRPr>
            </a:lvl3pPr>
            <a:lvl4pPr marL="1511925" indent="0">
              <a:buNone/>
              <a:defRPr b="1">
                <a:latin typeface="+mj-lt"/>
              </a:defRPr>
            </a:lvl4pPr>
            <a:lvl5pPr marL="2015899" indent="0">
              <a:buNone/>
              <a:defRPr b="1">
                <a:latin typeface="+mj-lt"/>
              </a:defRPr>
            </a:lvl5pPr>
          </a:lstStyle>
          <a:p>
            <a:pPr lvl="0"/>
            <a:r>
              <a:rPr lang="en-US"/>
              <a:t>0</a:t>
            </a:r>
          </a:p>
        </p:txBody>
      </p:sp>
      <p:sp>
        <p:nvSpPr>
          <p:cNvPr id="11" name="Text Placeholder 6">
            <a:extLst>
              <a:ext uri="{FF2B5EF4-FFF2-40B4-BE49-F238E27FC236}">
                <a16:creationId xmlns:a16="http://schemas.microsoft.com/office/drawing/2014/main" id="{BF56F623-4FDE-B4E0-5A66-17B29BEA109E}"/>
              </a:ext>
            </a:extLst>
          </p:cNvPr>
          <p:cNvSpPr>
            <a:spLocks noGrp="1"/>
          </p:cNvSpPr>
          <p:nvPr>
            <p:ph type="body" sz="quarter" idx="16" hasCustomPrompt="1"/>
          </p:nvPr>
        </p:nvSpPr>
        <p:spPr>
          <a:xfrm>
            <a:off x="3182040" y="3791837"/>
            <a:ext cx="755987" cy="755968"/>
          </a:xfrm>
          <a:prstGeom prst="ellipse">
            <a:avLst/>
          </a:prstGeom>
          <a:solidFill>
            <a:schemeClr val="tx1">
              <a:lumMod val="75000"/>
              <a:lumOff val="25000"/>
            </a:schemeClr>
          </a:solidFill>
          <a:ln w="25400">
            <a:solidFill>
              <a:schemeClr val="tx1">
                <a:lumMod val="75000"/>
                <a:lumOff val="25000"/>
              </a:schemeClr>
            </a:solidFill>
          </a:ln>
        </p:spPr>
        <p:txBody>
          <a:bodyPr lIns="0" tIns="0" rIns="0" bIns="0" anchor="ctr">
            <a:noAutofit/>
          </a:bodyPr>
          <a:lstStyle>
            <a:lvl1pPr marL="0" indent="0" algn="ctr">
              <a:lnSpc>
                <a:spcPct val="100000"/>
              </a:lnSpc>
              <a:spcBef>
                <a:spcPts val="0"/>
              </a:spcBef>
              <a:buNone/>
              <a:defRPr sz="4189" b="0">
                <a:solidFill>
                  <a:schemeClr val="accent2"/>
                </a:solidFill>
                <a:latin typeface="+mn-lt"/>
              </a:defRPr>
            </a:lvl1pPr>
            <a:lvl2pPr marL="503975" indent="0">
              <a:buNone/>
              <a:defRPr b="1">
                <a:latin typeface="+mj-lt"/>
              </a:defRPr>
            </a:lvl2pPr>
            <a:lvl3pPr marL="1007950" indent="0">
              <a:buNone/>
              <a:defRPr b="1">
                <a:latin typeface="+mj-lt"/>
              </a:defRPr>
            </a:lvl3pPr>
            <a:lvl4pPr marL="1511925" indent="0">
              <a:buNone/>
              <a:defRPr b="1">
                <a:latin typeface="+mj-lt"/>
              </a:defRPr>
            </a:lvl4pPr>
            <a:lvl5pPr marL="2015899" indent="0">
              <a:buNone/>
              <a:defRPr b="1">
                <a:latin typeface="+mj-lt"/>
              </a:defRPr>
            </a:lvl5pPr>
          </a:lstStyle>
          <a:p>
            <a:pPr lvl="0"/>
            <a:r>
              <a:rPr lang="en-US"/>
              <a:t>0</a:t>
            </a:r>
          </a:p>
        </p:txBody>
      </p:sp>
      <p:sp>
        <p:nvSpPr>
          <p:cNvPr id="16" name="Text Placeholder 6">
            <a:extLst>
              <a:ext uri="{FF2B5EF4-FFF2-40B4-BE49-F238E27FC236}">
                <a16:creationId xmlns:a16="http://schemas.microsoft.com/office/drawing/2014/main" id="{C94380A0-C940-A82F-E9C8-F63EF03D8914}"/>
              </a:ext>
            </a:extLst>
          </p:cNvPr>
          <p:cNvSpPr>
            <a:spLocks noGrp="1"/>
          </p:cNvSpPr>
          <p:nvPr>
            <p:ph type="body" sz="quarter" idx="17" hasCustomPrompt="1"/>
          </p:nvPr>
        </p:nvSpPr>
        <p:spPr>
          <a:xfrm>
            <a:off x="3160983" y="5653599"/>
            <a:ext cx="755987" cy="755968"/>
          </a:xfrm>
          <a:prstGeom prst="ellipse">
            <a:avLst/>
          </a:prstGeom>
          <a:solidFill>
            <a:schemeClr val="tx1">
              <a:lumMod val="75000"/>
              <a:lumOff val="25000"/>
            </a:schemeClr>
          </a:solidFill>
          <a:ln w="25400">
            <a:solidFill>
              <a:schemeClr val="tx1">
                <a:lumMod val="75000"/>
                <a:lumOff val="25000"/>
              </a:schemeClr>
            </a:solidFill>
          </a:ln>
        </p:spPr>
        <p:txBody>
          <a:bodyPr lIns="0" tIns="0" rIns="0" bIns="0" anchor="ctr">
            <a:noAutofit/>
          </a:bodyPr>
          <a:lstStyle>
            <a:lvl1pPr marL="0" indent="0" algn="ctr">
              <a:lnSpc>
                <a:spcPct val="100000"/>
              </a:lnSpc>
              <a:spcBef>
                <a:spcPts val="0"/>
              </a:spcBef>
              <a:buNone/>
              <a:defRPr sz="4189" b="0">
                <a:solidFill>
                  <a:schemeClr val="accent4"/>
                </a:solidFill>
                <a:latin typeface="+mn-lt"/>
              </a:defRPr>
            </a:lvl1pPr>
            <a:lvl2pPr marL="503975" indent="0">
              <a:buNone/>
              <a:defRPr b="1">
                <a:latin typeface="+mj-lt"/>
              </a:defRPr>
            </a:lvl2pPr>
            <a:lvl3pPr marL="1007950" indent="0">
              <a:buNone/>
              <a:defRPr b="1">
                <a:latin typeface="+mj-lt"/>
              </a:defRPr>
            </a:lvl3pPr>
            <a:lvl4pPr marL="1511925" indent="0">
              <a:buNone/>
              <a:defRPr b="1">
                <a:latin typeface="+mj-lt"/>
              </a:defRPr>
            </a:lvl4pPr>
            <a:lvl5pPr marL="2015899" indent="0">
              <a:buNone/>
              <a:defRPr b="1">
                <a:latin typeface="+mj-lt"/>
              </a:defRPr>
            </a:lvl5pPr>
          </a:lstStyle>
          <a:p>
            <a:pPr lvl="0"/>
            <a:r>
              <a:rPr lang="en-US"/>
              <a:t>0</a:t>
            </a:r>
          </a:p>
        </p:txBody>
      </p:sp>
    </p:spTree>
    <p:extLst>
      <p:ext uri="{BB962C8B-B14F-4D97-AF65-F5344CB8AC3E}">
        <p14:creationId xmlns:p14="http://schemas.microsoft.com/office/powerpoint/2010/main" val="136080719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ileston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4CF0B1-5FBF-6F99-DA2D-C2AE165C78B8}"/>
              </a:ext>
            </a:extLst>
          </p:cNvPr>
          <p:cNvSpPr>
            <a:spLocks noGrp="1"/>
          </p:cNvSpPr>
          <p:nvPr>
            <p:ph type="title" hasCustomPrompt="1"/>
          </p:nvPr>
        </p:nvSpPr>
        <p:spPr>
          <a:xfrm>
            <a:off x="861616" y="310146"/>
            <a:ext cx="11732924" cy="1007957"/>
          </a:xfrm>
        </p:spPr>
        <p:txBody>
          <a:bodyPr/>
          <a:lstStyle>
            <a:lvl1pPr>
              <a:defRPr cap="all" baseline="0"/>
            </a:lvl1pPr>
          </a:lstStyle>
          <a:p>
            <a:r>
              <a:rPr lang="en-US" b="0">
                <a:solidFill>
                  <a:schemeClr val="bg1"/>
                </a:solidFill>
              </a:rPr>
              <a:t>CLICK TO ADD TITLE</a:t>
            </a:r>
            <a:endParaRPr lang="en-US">
              <a:solidFill>
                <a:schemeClr val="bg1"/>
              </a:solidFill>
            </a:endParaRPr>
          </a:p>
        </p:txBody>
      </p:sp>
      <p:cxnSp>
        <p:nvCxnSpPr>
          <p:cNvPr id="3" name="Straight Connector 2">
            <a:extLst>
              <a:ext uri="{FF2B5EF4-FFF2-40B4-BE49-F238E27FC236}">
                <a16:creationId xmlns:a16="http://schemas.microsoft.com/office/drawing/2014/main" id="{2FFF060A-09C6-5B83-D598-922FBC00B35B}"/>
              </a:ext>
              <a:ext uri="{C183D7F6-B498-43B3-948B-1728B52AA6E4}">
                <adec:decorative xmlns:adec="http://schemas.microsoft.com/office/drawing/2017/decorative" val="1"/>
              </a:ext>
            </a:extLst>
          </p:cNvPr>
          <p:cNvCxnSpPr>
            <a:cxnSpLocks/>
          </p:cNvCxnSpPr>
          <p:nvPr/>
        </p:nvCxnSpPr>
        <p:spPr>
          <a:xfrm>
            <a:off x="3538846" y="3625231"/>
            <a:ext cx="451548"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967118EA-0679-56DB-30AA-15366D841B28}"/>
              </a:ext>
              <a:ext uri="{C183D7F6-B498-43B3-948B-1728B52AA6E4}">
                <adec:decorative xmlns:adec="http://schemas.microsoft.com/office/drawing/2017/decorative" val="1"/>
              </a:ext>
            </a:extLst>
          </p:cNvPr>
          <p:cNvCxnSpPr>
            <a:cxnSpLocks/>
          </p:cNvCxnSpPr>
          <p:nvPr/>
        </p:nvCxnSpPr>
        <p:spPr>
          <a:xfrm>
            <a:off x="6427827" y="3625231"/>
            <a:ext cx="451548"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757D4C26-298D-B369-3923-22B4E0751783}"/>
              </a:ext>
              <a:ext uri="{C183D7F6-B498-43B3-948B-1728B52AA6E4}">
                <adec:decorative xmlns:adec="http://schemas.microsoft.com/office/drawing/2017/decorative" val="1"/>
              </a:ext>
            </a:extLst>
          </p:cNvPr>
          <p:cNvCxnSpPr>
            <a:cxnSpLocks/>
          </p:cNvCxnSpPr>
          <p:nvPr/>
        </p:nvCxnSpPr>
        <p:spPr>
          <a:xfrm>
            <a:off x="9300392" y="3625231"/>
            <a:ext cx="451548"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F1524A62-C119-A675-F4F4-B43997BF7414}"/>
              </a:ext>
              <a:ext uri="{C183D7F6-B498-43B3-948B-1728B52AA6E4}">
                <adec:decorative xmlns:adec="http://schemas.microsoft.com/office/drawing/2017/decorative" val="1"/>
              </a:ext>
            </a:extLst>
          </p:cNvPr>
          <p:cNvCxnSpPr>
            <a:cxnSpLocks/>
          </p:cNvCxnSpPr>
          <p:nvPr/>
        </p:nvCxnSpPr>
        <p:spPr>
          <a:xfrm>
            <a:off x="658793" y="3625231"/>
            <a:ext cx="451548"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
        <p:nvSpPr>
          <p:cNvPr id="16" name="Text Placeholder 6">
            <a:extLst>
              <a:ext uri="{FF2B5EF4-FFF2-40B4-BE49-F238E27FC236}">
                <a16:creationId xmlns:a16="http://schemas.microsoft.com/office/drawing/2014/main" id="{43F9D051-5615-6520-C9FE-2194E5F47661}"/>
              </a:ext>
            </a:extLst>
          </p:cNvPr>
          <p:cNvSpPr>
            <a:spLocks noGrp="1"/>
          </p:cNvSpPr>
          <p:nvPr>
            <p:ph type="body" sz="quarter" idx="10" hasCustomPrompt="1"/>
          </p:nvPr>
        </p:nvSpPr>
        <p:spPr>
          <a:xfrm>
            <a:off x="1250935" y="2799799"/>
            <a:ext cx="1585694" cy="491602"/>
          </a:xfrm>
        </p:spPr>
        <p:txBody>
          <a:bodyPr anchor="b">
            <a:normAutofit/>
          </a:bodyPr>
          <a:lstStyle>
            <a:lvl1pPr marL="0" indent="0">
              <a:buNone/>
              <a:defRPr sz="1543" b="1" cap="all" baseline="0">
                <a:latin typeface="+mn-lt"/>
              </a:defRPr>
            </a:lvl1pPr>
            <a:lvl2pPr marL="503975" indent="0">
              <a:buNone/>
              <a:defRPr b="1">
                <a:latin typeface="+mj-lt"/>
              </a:defRPr>
            </a:lvl2pPr>
            <a:lvl3pPr marL="1007950" indent="0">
              <a:buNone/>
              <a:defRPr b="1">
                <a:latin typeface="+mj-lt"/>
              </a:defRPr>
            </a:lvl3pPr>
            <a:lvl4pPr marL="1511925" indent="0">
              <a:buNone/>
              <a:defRPr b="1">
                <a:latin typeface="+mj-lt"/>
              </a:defRPr>
            </a:lvl4pPr>
            <a:lvl5pPr marL="2015899" indent="0">
              <a:buNone/>
              <a:defRPr b="1">
                <a:latin typeface="+mj-lt"/>
              </a:defRPr>
            </a:lvl5pPr>
          </a:lstStyle>
          <a:p>
            <a:pPr lvl="0"/>
            <a:r>
              <a:rPr lang="en-US"/>
              <a:t>ADD TEXT</a:t>
            </a:r>
          </a:p>
        </p:txBody>
      </p:sp>
      <p:sp>
        <p:nvSpPr>
          <p:cNvPr id="24" name="Text Placeholder 6">
            <a:extLst>
              <a:ext uri="{FF2B5EF4-FFF2-40B4-BE49-F238E27FC236}">
                <a16:creationId xmlns:a16="http://schemas.microsoft.com/office/drawing/2014/main" id="{2D33364F-212C-47CD-61DB-B968966244FA}"/>
              </a:ext>
            </a:extLst>
          </p:cNvPr>
          <p:cNvSpPr>
            <a:spLocks noGrp="1"/>
          </p:cNvSpPr>
          <p:nvPr>
            <p:ph type="body" sz="quarter" idx="15" hasCustomPrompt="1"/>
          </p:nvPr>
        </p:nvSpPr>
        <p:spPr>
          <a:xfrm>
            <a:off x="1250935" y="3254983"/>
            <a:ext cx="1585694" cy="722512"/>
          </a:xfrm>
        </p:spPr>
        <p:txBody>
          <a:bodyPr lIns="91440" tIns="0" rIns="91440" bIns="0" anchor="t">
            <a:noAutofit/>
          </a:bodyPr>
          <a:lstStyle>
            <a:lvl1pPr marL="0" indent="0">
              <a:buNone/>
              <a:defRPr sz="5952" b="1" cap="all" baseline="0">
                <a:latin typeface="+mn-lt"/>
              </a:defRPr>
            </a:lvl1pPr>
            <a:lvl2pPr marL="503975" indent="0">
              <a:buNone/>
              <a:defRPr b="1">
                <a:latin typeface="+mj-lt"/>
              </a:defRPr>
            </a:lvl2pPr>
            <a:lvl3pPr marL="1007950" indent="0">
              <a:buNone/>
              <a:defRPr b="1">
                <a:latin typeface="+mj-lt"/>
              </a:defRPr>
            </a:lvl3pPr>
            <a:lvl4pPr marL="1511925" indent="0">
              <a:buNone/>
              <a:defRPr b="1">
                <a:latin typeface="+mj-lt"/>
              </a:defRPr>
            </a:lvl4pPr>
            <a:lvl5pPr marL="2015899" indent="0">
              <a:buNone/>
              <a:defRPr b="1">
                <a:latin typeface="+mj-lt"/>
              </a:defRPr>
            </a:lvl5pPr>
          </a:lstStyle>
          <a:p>
            <a:pPr lvl="0"/>
            <a:r>
              <a:rPr lang="en-US"/>
              <a:t>00</a:t>
            </a:r>
          </a:p>
        </p:txBody>
      </p:sp>
      <p:sp>
        <p:nvSpPr>
          <p:cNvPr id="19" name="Text Placeholder 18">
            <a:extLst>
              <a:ext uri="{FF2B5EF4-FFF2-40B4-BE49-F238E27FC236}">
                <a16:creationId xmlns:a16="http://schemas.microsoft.com/office/drawing/2014/main" id="{B1A2BC30-6C99-2F27-33C0-75369E2DB4B6}"/>
              </a:ext>
            </a:extLst>
          </p:cNvPr>
          <p:cNvSpPr>
            <a:spLocks noGrp="1"/>
          </p:cNvSpPr>
          <p:nvPr>
            <p:ph type="body" sz="quarter" idx="30" hasCustomPrompt="1"/>
          </p:nvPr>
        </p:nvSpPr>
        <p:spPr>
          <a:xfrm>
            <a:off x="908170" y="3820156"/>
            <a:ext cx="2812273" cy="2337802"/>
          </a:xfrm>
          <a:custGeom>
            <a:avLst/>
            <a:gdLst>
              <a:gd name="connsiteX0" fmla="*/ 0 w 2066101"/>
              <a:gd name="connsiteY0" fmla="*/ 0 h 2704392"/>
              <a:gd name="connsiteX1" fmla="*/ 2066101 w 2066101"/>
              <a:gd name="connsiteY1" fmla="*/ 0 h 2704392"/>
              <a:gd name="connsiteX2" fmla="*/ 2066101 w 2066101"/>
              <a:gd name="connsiteY2" fmla="*/ 2704392 h 2704392"/>
              <a:gd name="connsiteX3" fmla="*/ 0 w 2066101"/>
              <a:gd name="connsiteY3" fmla="*/ 2704392 h 2704392"/>
            </a:gdLst>
            <a:ahLst/>
            <a:cxnLst>
              <a:cxn ang="0">
                <a:pos x="connsiteX0" y="connsiteY0"/>
              </a:cxn>
              <a:cxn ang="0">
                <a:pos x="connsiteX1" y="connsiteY1"/>
              </a:cxn>
              <a:cxn ang="0">
                <a:pos x="connsiteX2" y="connsiteY2"/>
              </a:cxn>
              <a:cxn ang="0">
                <a:pos x="connsiteX3" y="connsiteY3"/>
              </a:cxn>
            </a:cxnLst>
            <a:rect l="l" t="t" r="r" b="b"/>
            <a:pathLst>
              <a:path w="2066101" h="2704392">
                <a:moveTo>
                  <a:pt x="0" y="0"/>
                </a:moveTo>
                <a:lnTo>
                  <a:pt x="2066101" y="0"/>
                </a:lnTo>
                <a:lnTo>
                  <a:pt x="2066101" y="2704392"/>
                </a:lnTo>
                <a:lnTo>
                  <a:pt x="0" y="2704392"/>
                </a:lnTo>
                <a:close/>
              </a:path>
            </a:pathLst>
          </a:custGeom>
          <a:solidFill>
            <a:schemeClr val="tx1">
              <a:lumMod val="75000"/>
              <a:lumOff val="25000"/>
            </a:schemeClr>
          </a:solidFill>
          <a:ln>
            <a:noFill/>
          </a:ln>
          <a:effectLst>
            <a:outerShdw blurRad="50800" dist="508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5760" tIns="274320" rtlCol="0" anchor="t">
            <a:normAutofit/>
          </a:bodyPr>
          <a:lstStyle>
            <a:lvl1pPr marL="0" indent="0" algn="l">
              <a:buFont typeface="Arial" panose="020B0604020202020204" pitchFamily="34" charset="0"/>
              <a:buNone/>
              <a:defRPr lang="en-US" sz="1323" dirty="0">
                <a:solidFill>
                  <a:schemeClr val="lt1"/>
                </a:solidFill>
              </a:defRPr>
            </a:lvl1pPr>
          </a:lstStyle>
          <a:p>
            <a:pPr marL="0" lvl="0" algn="ctr"/>
            <a:r>
              <a:rPr lang="en-US"/>
              <a:t>Add text here</a:t>
            </a:r>
          </a:p>
        </p:txBody>
      </p:sp>
      <p:sp>
        <p:nvSpPr>
          <p:cNvPr id="21" name="Text Placeholder 6">
            <a:extLst>
              <a:ext uri="{FF2B5EF4-FFF2-40B4-BE49-F238E27FC236}">
                <a16:creationId xmlns:a16="http://schemas.microsoft.com/office/drawing/2014/main" id="{CC9A1613-1BBF-BD90-BEEE-BD897E949767}"/>
              </a:ext>
            </a:extLst>
          </p:cNvPr>
          <p:cNvSpPr>
            <a:spLocks noGrp="1"/>
          </p:cNvSpPr>
          <p:nvPr>
            <p:ph type="body" sz="quarter" idx="11" hasCustomPrompt="1"/>
          </p:nvPr>
        </p:nvSpPr>
        <p:spPr>
          <a:xfrm>
            <a:off x="4102754" y="2799799"/>
            <a:ext cx="1585694" cy="491602"/>
          </a:xfrm>
        </p:spPr>
        <p:txBody>
          <a:bodyPr anchor="b">
            <a:normAutofit/>
          </a:bodyPr>
          <a:lstStyle>
            <a:lvl1pPr marL="0" indent="0">
              <a:buNone/>
              <a:defRPr sz="1543" b="1" cap="all" baseline="0">
                <a:latin typeface="+mn-lt"/>
              </a:defRPr>
            </a:lvl1pPr>
            <a:lvl2pPr marL="503975" indent="0">
              <a:buNone/>
              <a:defRPr b="1">
                <a:latin typeface="+mj-lt"/>
              </a:defRPr>
            </a:lvl2pPr>
            <a:lvl3pPr marL="1007950" indent="0">
              <a:buNone/>
              <a:defRPr b="1">
                <a:latin typeface="+mj-lt"/>
              </a:defRPr>
            </a:lvl3pPr>
            <a:lvl4pPr marL="1511925" indent="0">
              <a:buNone/>
              <a:defRPr b="1">
                <a:latin typeface="+mj-lt"/>
              </a:defRPr>
            </a:lvl4pPr>
            <a:lvl5pPr marL="2015899" indent="0">
              <a:buNone/>
              <a:defRPr b="1">
                <a:latin typeface="+mj-lt"/>
              </a:defRPr>
            </a:lvl5pPr>
          </a:lstStyle>
          <a:p>
            <a:pPr lvl="0"/>
            <a:r>
              <a:rPr lang="en-US"/>
              <a:t>ADD TEXT</a:t>
            </a:r>
          </a:p>
        </p:txBody>
      </p:sp>
      <p:sp>
        <p:nvSpPr>
          <p:cNvPr id="25" name="Text Placeholder 6">
            <a:extLst>
              <a:ext uri="{FF2B5EF4-FFF2-40B4-BE49-F238E27FC236}">
                <a16:creationId xmlns:a16="http://schemas.microsoft.com/office/drawing/2014/main" id="{5304FCD1-A30E-46B1-D7C8-DE1BE7FFAE8E}"/>
              </a:ext>
            </a:extLst>
          </p:cNvPr>
          <p:cNvSpPr>
            <a:spLocks noGrp="1"/>
          </p:cNvSpPr>
          <p:nvPr>
            <p:ph type="body" sz="quarter" idx="16" hasCustomPrompt="1"/>
          </p:nvPr>
        </p:nvSpPr>
        <p:spPr>
          <a:xfrm>
            <a:off x="4102754" y="3254983"/>
            <a:ext cx="1585694" cy="722512"/>
          </a:xfrm>
        </p:spPr>
        <p:txBody>
          <a:bodyPr lIns="91440" tIns="0" rIns="91440" bIns="0" anchor="t">
            <a:noAutofit/>
          </a:bodyPr>
          <a:lstStyle>
            <a:lvl1pPr marL="0" indent="0">
              <a:buNone/>
              <a:defRPr sz="5952" b="1" cap="all" baseline="0">
                <a:latin typeface="+mn-lt"/>
              </a:defRPr>
            </a:lvl1pPr>
            <a:lvl2pPr marL="503975" indent="0">
              <a:buNone/>
              <a:defRPr b="1">
                <a:latin typeface="+mj-lt"/>
              </a:defRPr>
            </a:lvl2pPr>
            <a:lvl3pPr marL="1007950" indent="0">
              <a:buNone/>
              <a:defRPr b="1">
                <a:latin typeface="+mj-lt"/>
              </a:defRPr>
            </a:lvl3pPr>
            <a:lvl4pPr marL="1511925" indent="0">
              <a:buNone/>
              <a:defRPr b="1">
                <a:latin typeface="+mj-lt"/>
              </a:defRPr>
            </a:lvl4pPr>
            <a:lvl5pPr marL="2015899" indent="0">
              <a:buNone/>
              <a:defRPr b="1">
                <a:latin typeface="+mj-lt"/>
              </a:defRPr>
            </a:lvl5pPr>
          </a:lstStyle>
          <a:p>
            <a:pPr lvl="0"/>
            <a:r>
              <a:rPr lang="en-US"/>
              <a:t>00</a:t>
            </a:r>
          </a:p>
        </p:txBody>
      </p:sp>
      <p:sp>
        <p:nvSpPr>
          <p:cNvPr id="20" name="Text Placeholder 19">
            <a:extLst>
              <a:ext uri="{FF2B5EF4-FFF2-40B4-BE49-F238E27FC236}">
                <a16:creationId xmlns:a16="http://schemas.microsoft.com/office/drawing/2014/main" id="{2D540769-785D-73F3-BFE4-6B3BD5E50731}"/>
              </a:ext>
            </a:extLst>
          </p:cNvPr>
          <p:cNvSpPr>
            <a:spLocks noGrp="1"/>
          </p:cNvSpPr>
          <p:nvPr>
            <p:ph type="body" sz="quarter" idx="31" hasCustomPrompt="1"/>
          </p:nvPr>
        </p:nvSpPr>
        <p:spPr>
          <a:xfrm>
            <a:off x="3789131" y="3820156"/>
            <a:ext cx="2812273" cy="2337802"/>
          </a:xfrm>
          <a:custGeom>
            <a:avLst/>
            <a:gdLst>
              <a:gd name="connsiteX0" fmla="*/ 0 w 2066101"/>
              <a:gd name="connsiteY0" fmla="*/ 0 h 2704392"/>
              <a:gd name="connsiteX1" fmla="*/ 2066101 w 2066101"/>
              <a:gd name="connsiteY1" fmla="*/ 0 h 2704392"/>
              <a:gd name="connsiteX2" fmla="*/ 2066101 w 2066101"/>
              <a:gd name="connsiteY2" fmla="*/ 2704392 h 2704392"/>
              <a:gd name="connsiteX3" fmla="*/ 0 w 2066101"/>
              <a:gd name="connsiteY3" fmla="*/ 2704392 h 2704392"/>
            </a:gdLst>
            <a:ahLst/>
            <a:cxnLst>
              <a:cxn ang="0">
                <a:pos x="connsiteX0" y="connsiteY0"/>
              </a:cxn>
              <a:cxn ang="0">
                <a:pos x="connsiteX1" y="connsiteY1"/>
              </a:cxn>
              <a:cxn ang="0">
                <a:pos x="connsiteX2" y="connsiteY2"/>
              </a:cxn>
              <a:cxn ang="0">
                <a:pos x="connsiteX3" y="connsiteY3"/>
              </a:cxn>
            </a:cxnLst>
            <a:rect l="l" t="t" r="r" b="b"/>
            <a:pathLst>
              <a:path w="2066101" h="2704392">
                <a:moveTo>
                  <a:pt x="0" y="0"/>
                </a:moveTo>
                <a:lnTo>
                  <a:pt x="2066101" y="0"/>
                </a:lnTo>
                <a:lnTo>
                  <a:pt x="2066101" y="2704392"/>
                </a:lnTo>
                <a:lnTo>
                  <a:pt x="0" y="2704392"/>
                </a:lnTo>
                <a:close/>
              </a:path>
            </a:pathLst>
          </a:custGeom>
          <a:solidFill>
            <a:schemeClr val="tx1">
              <a:lumMod val="75000"/>
              <a:lumOff val="25000"/>
            </a:schemeClr>
          </a:solidFill>
          <a:ln>
            <a:noFill/>
          </a:ln>
          <a:effectLst>
            <a:outerShdw blurRad="50800" dist="508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5760" tIns="274320" rtlCol="0" anchor="t">
            <a:normAutofit/>
          </a:bodyPr>
          <a:lstStyle>
            <a:lvl1pPr marL="0" indent="0" algn="l">
              <a:buFont typeface="Arial" panose="020B0604020202020204" pitchFamily="34" charset="0"/>
              <a:buNone/>
              <a:defRPr lang="en-US" sz="1323" dirty="0">
                <a:solidFill>
                  <a:schemeClr val="lt1"/>
                </a:solidFill>
              </a:defRPr>
            </a:lvl1pPr>
          </a:lstStyle>
          <a:p>
            <a:pPr marL="0" lvl="0" algn="ctr"/>
            <a:r>
              <a:rPr lang="en-US"/>
              <a:t>Add text here</a:t>
            </a:r>
          </a:p>
        </p:txBody>
      </p:sp>
      <p:sp>
        <p:nvSpPr>
          <p:cNvPr id="22" name="Text Placeholder 6">
            <a:extLst>
              <a:ext uri="{FF2B5EF4-FFF2-40B4-BE49-F238E27FC236}">
                <a16:creationId xmlns:a16="http://schemas.microsoft.com/office/drawing/2014/main" id="{4B3A9FF4-06B5-103D-E04A-59C091EC5AE9}"/>
              </a:ext>
            </a:extLst>
          </p:cNvPr>
          <p:cNvSpPr>
            <a:spLocks noGrp="1"/>
          </p:cNvSpPr>
          <p:nvPr>
            <p:ph type="body" sz="quarter" idx="12" hasCustomPrompt="1"/>
          </p:nvPr>
        </p:nvSpPr>
        <p:spPr>
          <a:xfrm>
            <a:off x="6987427" y="2799799"/>
            <a:ext cx="1585694" cy="491602"/>
          </a:xfrm>
        </p:spPr>
        <p:txBody>
          <a:bodyPr anchor="b">
            <a:normAutofit/>
          </a:bodyPr>
          <a:lstStyle>
            <a:lvl1pPr marL="0" indent="0">
              <a:buNone/>
              <a:defRPr sz="1543" b="1" cap="all" baseline="0">
                <a:latin typeface="+mn-lt"/>
              </a:defRPr>
            </a:lvl1pPr>
            <a:lvl2pPr marL="503975" indent="0">
              <a:buNone/>
              <a:defRPr b="1">
                <a:latin typeface="+mj-lt"/>
              </a:defRPr>
            </a:lvl2pPr>
            <a:lvl3pPr marL="1007950" indent="0">
              <a:buNone/>
              <a:defRPr b="1">
                <a:latin typeface="+mj-lt"/>
              </a:defRPr>
            </a:lvl3pPr>
            <a:lvl4pPr marL="1511925" indent="0">
              <a:buNone/>
              <a:defRPr b="1">
                <a:latin typeface="+mj-lt"/>
              </a:defRPr>
            </a:lvl4pPr>
            <a:lvl5pPr marL="2015899" indent="0">
              <a:buNone/>
              <a:defRPr b="1">
                <a:latin typeface="+mj-lt"/>
              </a:defRPr>
            </a:lvl5pPr>
          </a:lstStyle>
          <a:p>
            <a:pPr lvl="0"/>
            <a:r>
              <a:rPr lang="en-US"/>
              <a:t>ADD TEXT</a:t>
            </a:r>
          </a:p>
        </p:txBody>
      </p:sp>
      <p:sp>
        <p:nvSpPr>
          <p:cNvPr id="26" name="Text Placeholder 6">
            <a:extLst>
              <a:ext uri="{FF2B5EF4-FFF2-40B4-BE49-F238E27FC236}">
                <a16:creationId xmlns:a16="http://schemas.microsoft.com/office/drawing/2014/main" id="{D86C2B1E-2069-E1E8-1D55-F06FEC402540}"/>
              </a:ext>
            </a:extLst>
          </p:cNvPr>
          <p:cNvSpPr>
            <a:spLocks noGrp="1"/>
          </p:cNvSpPr>
          <p:nvPr>
            <p:ph type="body" sz="quarter" idx="17" hasCustomPrompt="1"/>
          </p:nvPr>
        </p:nvSpPr>
        <p:spPr>
          <a:xfrm>
            <a:off x="6987427" y="3254983"/>
            <a:ext cx="1585694" cy="722512"/>
          </a:xfrm>
        </p:spPr>
        <p:txBody>
          <a:bodyPr lIns="91440" tIns="0" rIns="91440" bIns="0" anchor="t">
            <a:noAutofit/>
          </a:bodyPr>
          <a:lstStyle>
            <a:lvl1pPr marL="0" indent="0">
              <a:buNone/>
              <a:defRPr sz="5952" b="1" cap="all" baseline="0">
                <a:latin typeface="+mn-lt"/>
              </a:defRPr>
            </a:lvl1pPr>
            <a:lvl2pPr marL="503975" indent="0">
              <a:buNone/>
              <a:defRPr b="1">
                <a:latin typeface="+mj-lt"/>
              </a:defRPr>
            </a:lvl2pPr>
            <a:lvl3pPr marL="1007950" indent="0">
              <a:buNone/>
              <a:defRPr b="1">
                <a:latin typeface="+mj-lt"/>
              </a:defRPr>
            </a:lvl3pPr>
            <a:lvl4pPr marL="1511925" indent="0">
              <a:buNone/>
              <a:defRPr b="1">
                <a:latin typeface="+mj-lt"/>
              </a:defRPr>
            </a:lvl4pPr>
            <a:lvl5pPr marL="2015899" indent="0">
              <a:buNone/>
              <a:defRPr b="1">
                <a:latin typeface="+mj-lt"/>
              </a:defRPr>
            </a:lvl5pPr>
          </a:lstStyle>
          <a:p>
            <a:pPr lvl="0"/>
            <a:r>
              <a:rPr lang="en-US"/>
              <a:t>00</a:t>
            </a:r>
          </a:p>
        </p:txBody>
      </p:sp>
      <p:sp>
        <p:nvSpPr>
          <p:cNvPr id="30" name="Text Placeholder 29">
            <a:extLst>
              <a:ext uri="{FF2B5EF4-FFF2-40B4-BE49-F238E27FC236}">
                <a16:creationId xmlns:a16="http://schemas.microsoft.com/office/drawing/2014/main" id="{28F6B4AA-751C-B5D8-6672-3774E22E3497}"/>
              </a:ext>
            </a:extLst>
          </p:cNvPr>
          <p:cNvSpPr>
            <a:spLocks noGrp="1"/>
          </p:cNvSpPr>
          <p:nvPr>
            <p:ph type="body" sz="quarter" idx="32" hasCustomPrompt="1"/>
          </p:nvPr>
        </p:nvSpPr>
        <p:spPr>
          <a:xfrm>
            <a:off x="6670092" y="3820156"/>
            <a:ext cx="2812273" cy="2337802"/>
          </a:xfrm>
          <a:custGeom>
            <a:avLst/>
            <a:gdLst>
              <a:gd name="connsiteX0" fmla="*/ 0 w 2066101"/>
              <a:gd name="connsiteY0" fmla="*/ 0 h 2704392"/>
              <a:gd name="connsiteX1" fmla="*/ 2066101 w 2066101"/>
              <a:gd name="connsiteY1" fmla="*/ 0 h 2704392"/>
              <a:gd name="connsiteX2" fmla="*/ 2066101 w 2066101"/>
              <a:gd name="connsiteY2" fmla="*/ 2704392 h 2704392"/>
              <a:gd name="connsiteX3" fmla="*/ 0 w 2066101"/>
              <a:gd name="connsiteY3" fmla="*/ 2704392 h 2704392"/>
            </a:gdLst>
            <a:ahLst/>
            <a:cxnLst>
              <a:cxn ang="0">
                <a:pos x="connsiteX0" y="connsiteY0"/>
              </a:cxn>
              <a:cxn ang="0">
                <a:pos x="connsiteX1" y="connsiteY1"/>
              </a:cxn>
              <a:cxn ang="0">
                <a:pos x="connsiteX2" y="connsiteY2"/>
              </a:cxn>
              <a:cxn ang="0">
                <a:pos x="connsiteX3" y="connsiteY3"/>
              </a:cxn>
            </a:cxnLst>
            <a:rect l="l" t="t" r="r" b="b"/>
            <a:pathLst>
              <a:path w="2066101" h="2704392">
                <a:moveTo>
                  <a:pt x="0" y="0"/>
                </a:moveTo>
                <a:lnTo>
                  <a:pt x="2066101" y="0"/>
                </a:lnTo>
                <a:lnTo>
                  <a:pt x="2066101" y="2704392"/>
                </a:lnTo>
                <a:lnTo>
                  <a:pt x="0" y="2704392"/>
                </a:lnTo>
                <a:close/>
              </a:path>
            </a:pathLst>
          </a:custGeom>
          <a:solidFill>
            <a:schemeClr val="tx1">
              <a:lumMod val="75000"/>
              <a:lumOff val="25000"/>
            </a:schemeClr>
          </a:solidFill>
          <a:ln>
            <a:noFill/>
          </a:ln>
          <a:effectLst>
            <a:outerShdw blurRad="50800" dist="508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5760" tIns="274320" rtlCol="0" anchor="t">
            <a:normAutofit/>
          </a:bodyPr>
          <a:lstStyle>
            <a:lvl1pPr marL="0" indent="0" algn="l">
              <a:buFont typeface="Arial" panose="020B0604020202020204" pitchFamily="34" charset="0"/>
              <a:buNone/>
              <a:defRPr lang="en-US" sz="1323" dirty="0">
                <a:solidFill>
                  <a:schemeClr val="lt1"/>
                </a:solidFill>
              </a:defRPr>
            </a:lvl1pPr>
          </a:lstStyle>
          <a:p>
            <a:pPr marL="0" lvl="0" algn="ctr"/>
            <a:r>
              <a:rPr lang="en-US"/>
              <a:t>Add text here</a:t>
            </a:r>
          </a:p>
        </p:txBody>
      </p:sp>
      <p:sp>
        <p:nvSpPr>
          <p:cNvPr id="23" name="Text Placeholder 6">
            <a:extLst>
              <a:ext uri="{FF2B5EF4-FFF2-40B4-BE49-F238E27FC236}">
                <a16:creationId xmlns:a16="http://schemas.microsoft.com/office/drawing/2014/main" id="{4AE3F56D-0C35-24AD-243F-104C2FD0A1D8}"/>
              </a:ext>
            </a:extLst>
          </p:cNvPr>
          <p:cNvSpPr>
            <a:spLocks noGrp="1"/>
          </p:cNvSpPr>
          <p:nvPr>
            <p:ph type="body" sz="quarter" idx="13" hasCustomPrompt="1"/>
          </p:nvPr>
        </p:nvSpPr>
        <p:spPr>
          <a:xfrm>
            <a:off x="9857933" y="2799799"/>
            <a:ext cx="1585694" cy="491602"/>
          </a:xfrm>
        </p:spPr>
        <p:txBody>
          <a:bodyPr anchor="b">
            <a:normAutofit/>
          </a:bodyPr>
          <a:lstStyle>
            <a:lvl1pPr marL="0" indent="0">
              <a:buNone/>
              <a:defRPr sz="1543" b="1" cap="all" baseline="0">
                <a:latin typeface="+mn-lt"/>
              </a:defRPr>
            </a:lvl1pPr>
            <a:lvl2pPr marL="503975" indent="0">
              <a:buNone/>
              <a:defRPr b="1">
                <a:latin typeface="+mj-lt"/>
              </a:defRPr>
            </a:lvl2pPr>
            <a:lvl3pPr marL="1007950" indent="0">
              <a:buNone/>
              <a:defRPr b="1">
                <a:latin typeface="+mj-lt"/>
              </a:defRPr>
            </a:lvl3pPr>
            <a:lvl4pPr marL="1511925" indent="0">
              <a:buNone/>
              <a:defRPr b="1">
                <a:latin typeface="+mj-lt"/>
              </a:defRPr>
            </a:lvl4pPr>
            <a:lvl5pPr marL="2015899" indent="0">
              <a:buNone/>
              <a:defRPr b="1">
                <a:latin typeface="+mj-lt"/>
              </a:defRPr>
            </a:lvl5pPr>
          </a:lstStyle>
          <a:p>
            <a:pPr lvl="0"/>
            <a:r>
              <a:rPr lang="en-US"/>
              <a:t>ADD TEXT</a:t>
            </a:r>
          </a:p>
        </p:txBody>
      </p:sp>
      <p:sp>
        <p:nvSpPr>
          <p:cNvPr id="27" name="Text Placeholder 6">
            <a:extLst>
              <a:ext uri="{FF2B5EF4-FFF2-40B4-BE49-F238E27FC236}">
                <a16:creationId xmlns:a16="http://schemas.microsoft.com/office/drawing/2014/main" id="{F7E2EDC6-8ADC-73F3-2B50-F76AAE96B312}"/>
              </a:ext>
            </a:extLst>
          </p:cNvPr>
          <p:cNvSpPr>
            <a:spLocks noGrp="1"/>
          </p:cNvSpPr>
          <p:nvPr>
            <p:ph type="body" sz="quarter" idx="18" hasCustomPrompt="1"/>
          </p:nvPr>
        </p:nvSpPr>
        <p:spPr>
          <a:xfrm>
            <a:off x="9857933" y="3254983"/>
            <a:ext cx="1585694" cy="722512"/>
          </a:xfrm>
        </p:spPr>
        <p:txBody>
          <a:bodyPr lIns="91440" tIns="0" rIns="91440" bIns="0" anchor="t">
            <a:noAutofit/>
          </a:bodyPr>
          <a:lstStyle>
            <a:lvl1pPr marL="0" indent="0">
              <a:buNone/>
              <a:defRPr sz="5952" b="1" cap="all" baseline="0">
                <a:latin typeface="+mn-lt"/>
              </a:defRPr>
            </a:lvl1pPr>
            <a:lvl2pPr marL="503975" indent="0">
              <a:buNone/>
              <a:defRPr b="1">
                <a:latin typeface="+mj-lt"/>
              </a:defRPr>
            </a:lvl2pPr>
            <a:lvl3pPr marL="1007950" indent="0">
              <a:buNone/>
              <a:defRPr b="1">
                <a:latin typeface="+mj-lt"/>
              </a:defRPr>
            </a:lvl3pPr>
            <a:lvl4pPr marL="1511925" indent="0">
              <a:buNone/>
              <a:defRPr b="1">
                <a:latin typeface="+mj-lt"/>
              </a:defRPr>
            </a:lvl4pPr>
            <a:lvl5pPr marL="2015899" indent="0">
              <a:buNone/>
              <a:defRPr b="1">
                <a:latin typeface="+mj-lt"/>
              </a:defRPr>
            </a:lvl5pPr>
          </a:lstStyle>
          <a:p>
            <a:pPr lvl="0"/>
            <a:r>
              <a:rPr lang="en-US"/>
              <a:t>00</a:t>
            </a:r>
          </a:p>
        </p:txBody>
      </p:sp>
      <p:sp>
        <p:nvSpPr>
          <p:cNvPr id="32" name="Text Placeholder 31">
            <a:extLst>
              <a:ext uri="{FF2B5EF4-FFF2-40B4-BE49-F238E27FC236}">
                <a16:creationId xmlns:a16="http://schemas.microsoft.com/office/drawing/2014/main" id="{AFB0834E-950B-9510-9239-74E1A443E8C5}"/>
              </a:ext>
            </a:extLst>
          </p:cNvPr>
          <p:cNvSpPr>
            <a:spLocks noGrp="1"/>
          </p:cNvSpPr>
          <p:nvPr>
            <p:ph type="body" sz="quarter" idx="34" hasCustomPrompt="1"/>
          </p:nvPr>
        </p:nvSpPr>
        <p:spPr>
          <a:xfrm>
            <a:off x="9551053" y="3820156"/>
            <a:ext cx="2812273" cy="2337802"/>
          </a:xfrm>
          <a:custGeom>
            <a:avLst/>
            <a:gdLst>
              <a:gd name="connsiteX0" fmla="*/ 0 w 2066101"/>
              <a:gd name="connsiteY0" fmla="*/ 0 h 2704392"/>
              <a:gd name="connsiteX1" fmla="*/ 2066101 w 2066101"/>
              <a:gd name="connsiteY1" fmla="*/ 0 h 2704392"/>
              <a:gd name="connsiteX2" fmla="*/ 2066101 w 2066101"/>
              <a:gd name="connsiteY2" fmla="*/ 2704392 h 2704392"/>
              <a:gd name="connsiteX3" fmla="*/ 0 w 2066101"/>
              <a:gd name="connsiteY3" fmla="*/ 2704392 h 2704392"/>
            </a:gdLst>
            <a:ahLst/>
            <a:cxnLst>
              <a:cxn ang="0">
                <a:pos x="connsiteX0" y="connsiteY0"/>
              </a:cxn>
              <a:cxn ang="0">
                <a:pos x="connsiteX1" y="connsiteY1"/>
              </a:cxn>
              <a:cxn ang="0">
                <a:pos x="connsiteX2" y="connsiteY2"/>
              </a:cxn>
              <a:cxn ang="0">
                <a:pos x="connsiteX3" y="connsiteY3"/>
              </a:cxn>
            </a:cxnLst>
            <a:rect l="l" t="t" r="r" b="b"/>
            <a:pathLst>
              <a:path w="2066101" h="2704392">
                <a:moveTo>
                  <a:pt x="0" y="0"/>
                </a:moveTo>
                <a:lnTo>
                  <a:pt x="2066101" y="0"/>
                </a:lnTo>
                <a:lnTo>
                  <a:pt x="2066101" y="2704392"/>
                </a:lnTo>
                <a:lnTo>
                  <a:pt x="0" y="2704392"/>
                </a:lnTo>
                <a:close/>
              </a:path>
            </a:pathLst>
          </a:custGeom>
          <a:solidFill>
            <a:schemeClr val="tx1">
              <a:lumMod val="75000"/>
              <a:lumOff val="25000"/>
            </a:schemeClr>
          </a:solidFill>
          <a:ln>
            <a:noFill/>
          </a:ln>
          <a:effectLst>
            <a:outerShdw blurRad="50800" dist="508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5760" tIns="274320" rtlCol="0" anchor="t">
            <a:normAutofit/>
          </a:bodyPr>
          <a:lstStyle>
            <a:lvl1pPr marL="0" indent="0" algn="l">
              <a:buFont typeface="Arial" panose="020B0604020202020204" pitchFamily="34" charset="0"/>
              <a:buNone/>
              <a:defRPr lang="en-US" sz="1323" dirty="0">
                <a:solidFill>
                  <a:schemeClr val="lt1"/>
                </a:solidFill>
              </a:defRPr>
            </a:lvl1pPr>
          </a:lstStyle>
          <a:p>
            <a:pPr marL="0" lvl="0" algn="ctr"/>
            <a:r>
              <a:rPr lang="en-US"/>
              <a:t>Add text here</a:t>
            </a:r>
          </a:p>
        </p:txBody>
      </p:sp>
      <p:sp>
        <p:nvSpPr>
          <p:cNvPr id="5" name="Rectangle 4">
            <a:extLst>
              <a:ext uri="{FF2B5EF4-FFF2-40B4-BE49-F238E27FC236}">
                <a16:creationId xmlns:a16="http://schemas.microsoft.com/office/drawing/2014/main" id="{46126906-4BEC-F0D8-22BD-C6C108D18F9A}"/>
              </a:ext>
            </a:extLst>
          </p:cNvPr>
          <p:cNvSpPr/>
          <p:nvPr/>
        </p:nvSpPr>
        <p:spPr>
          <a:xfrm>
            <a:off x="872887" y="6319930"/>
            <a:ext cx="2891129" cy="17178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1"/>
          </a:p>
        </p:txBody>
      </p:sp>
      <p:sp>
        <p:nvSpPr>
          <p:cNvPr id="6" name="Rectangle 5">
            <a:extLst>
              <a:ext uri="{FF2B5EF4-FFF2-40B4-BE49-F238E27FC236}">
                <a16:creationId xmlns:a16="http://schemas.microsoft.com/office/drawing/2014/main" id="{15F0CF95-AB40-7CFB-D346-0A33C3A61D15}"/>
              </a:ext>
            </a:extLst>
          </p:cNvPr>
          <p:cNvSpPr/>
          <p:nvPr/>
        </p:nvSpPr>
        <p:spPr>
          <a:xfrm>
            <a:off x="3764014" y="6319930"/>
            <a:ext cx="2892912" cy="17178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1"/>
          </a:p>
        </p:txBody>
      </p:sp>
      <p:sp>
        <p:nvSpPr>
          <p:cNvPr id="28" name="Rectangle 27">
            <a:extLst>
              <a:ext uri="{FF2B5EF4-FFF2-40B4-BE49-F238E27FC236}">
                <a16:creationId xmlns:a16="http://schemas.microsoft.com/office/drawing/2014/main" id="{1E368B47-D4FA-1A66-35F1-370E15D0131A}"/>
              </a:ext>
            </a:extLst>
          </p:cNvPr>
          <p:cNvSpPr/>
          <p:nvPr/>
        </p:nvSpPr>
        <p:spPr>
          <a:xfrm>
            <a:off x="6645898" y="6319930"/>
            <a:ext cx="2892912" cy="17178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1"/>
          </a:p>
        </p:txBody>
      </p:sp>
      <p:sp>
        <p:nvSpPr>
          <p:cNvPr id="29" name="Rectangle 28">
            <a:extLst>
              <a:ext uri="{FF2B5EF4-FFF2-40B4-BE49-F238E27FC236}">
                <a16:creationId xmlns:a16="http://schemas.microsoft.com/office/drawing/2014/main" id="{D9DFE37F-30BF-A89F-B95A-83D7A6BC8643}"/>
              </a:ext>
            </a:extLst>
          </p:cNvPr>
          <p:cNvSpPr/>
          <p:nvPr/>
        </p:nvSpPr>
        <p:spPr>
          <a:xfrm>
            <a:off x="9536051" y="6319930"/>
            <a:ext cx="2892912" cy="17178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1"/>
          </a:p>
        </p:txBody>
      </p:sp>
      <p:cxnSp>
        <p:nvCxnSpPr>
          <p:cNvPr id="8" name="Straight Connector 7">
            <a:extLst>
              <a:ext uri="{FF2B5EF4-FFF2-40B4-BE49-F238E27FC236}">
                <a16:creationId xmlns:a16="http://schemas.microsoft.com/office/drawing/2014/main" id="{0482BC64-B49A-DA09-3131-8F5EF49ABD6B}"/>
              </a:ext>
              <a:ext uri="{C183D7F6-B498-43B3-948B-1728B52AA6E4}">
                <adec:decorative xmlns:adec="http://schemas.microsoft.com/office/drawing/2017/decorative" val="1"/>
              </a:ext>
            </a:extLst>
          </p:cNvPr>
          <p:cNvCxnSpPr>
            <a:cxnSpLocks/>
          </p:cNvCxnSpPr>
          <p:nvPr/>
        </p:nvCxnSpPr>
        <p:spPr>
          <a:xfrm>
            <a:off x="3770693" y="3637752"/>
            <a:ext cx="1709" cy="2704517"/>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6FB48953-E009-62AA-4880-0862543394B6}"/>
              </a:ext>
              <a:ext uri="{C183D7F6-B498-43B3-948B-1728B52AA6E4}">
                <adec:decorative xmlns:adec="http://schemas.microsoft.com/office/drawing/2017/decorative" val="1"/>
              </a:ext>
            </a:extLst>
          </p:cNvPr>
          <p:cNvCxnSpPr>
            <a:cxnSpLocks/>
          </p:cNvCxnSpPr>
          <p:nvPr/>
        </p:nvCxnSpPr>
        <p:spPr>
          <a:xfrm>
            <a:off x="6653601" y="3625233"/>
            <a:ext cx="1709" cy="2704517"/>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CCC83577-42FC-383D-02D2-51AC91ADBA63}"/>
              </a:ext>
              <a:ext uri="{C183D7F6-B498-43B3-948B-1728B52AA6E4}">
                <adec:decorative xmlns:adec="http://schemas.microsoft.com/office/drawing/2017/decorative" val="1"/>
              </a:ext>
            </a:extLst>
          </p:cNvPr>
          <p:cNvCxnSpPr>
            <a:cxnSpLocks/>
          </p:cNvCxnSpPr>
          <p:nvPr/>
        </p:nvCxnSpPr>
        <p:spPr>
          <a:xfrm>
            <a:off x="9526166" y="3625233"/>
            <a:ext cx="1709" cy="2704517"/>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3DFA8576-3F2E-23B4-2B15-01C4378C1C43}"/>
              </a:ext>
              <a:ext uri="{C183D7F6-B498-43B3-948B-1728B52AA6E4}">
                <adec:decorative xmlns:adec="http://schemas.microsoft.com/office/drawing/2017/decorative" val="1"/>
              </a:ext>
            </a:extLst>
          </p:cNvPr>
          <p:cNvCxnSpPr>
            <a:cxnSpLocks/>
          </p:cNvCxnSpPr>
          <p:nvPr/>
        </p:nvCxnSpPr>
        <p:spPr>
          <a:xfrm>
            <a:off x="879529" y="3625233"/>
            <a:ext cx="1709" cy="2704517"/>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1913478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_Problem">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AE12D1-08AF-45E9-A34A-BDE9E860BAA2}"/>
              </a:ext>
            </a:extLst>
          </p:cNvPr>
          <p:cNvSpPr>
            <a:spLocks noGrp="1"/>
          </p:cNvSpPr>
          <p:nvPr>
            <p:ph type="title" hasCustomPrompt="1"/>
          </p:nvPr>
        </p:nvSpPr>
        <p:spPr>
          <a:xfrm>
            <a:off x="923986" y="136036"/>
            <a:ext cx="8562387" cy="1413534"/>
          </a:xfrm>
        </p:spPr>
        <p:txBody>
          <a:bodyPr anchor="b" anchorCtr="0"/>
          <a:lstStyle>
            <a:lvl1pPr>
              <a:defRPr cap="all" baseline="0"/>
            </a:lvl1pPr>
          </a:lstStyle>
          <a:p>
            <a:r>
              <a:rPr lang="en-US"/>
              <a:t>CLICK TO add TITLE</a:t>
            </a:r>
          </a:p>
        </p:txBody>
      </p:sp>
      <p:sp>
        <p:nvSpPr>
          <p:cNvPr id="9" name="Text Placeholder 7">
            <a:extLst>
              <a:ext uri="{FF2B5EF4-FFF2-40B4-BE49-F238E27FC236}">
                <a16:creationId xmlns:a16="http://schemas.microsoft.com/office/drawing/2014/main" id="{025CBE32-2EC3-4DF9-98B3-59E7EEBEE775}"/>
              </a:ext>
            </a:extLst>
          </p:cNvPr>
          <p:cNvSpPr>
            <a:spLocks noGrp="1"/>
          </p:cNvSpPr>
          <p:nvPr>
            <p:ph type="body" sz="quarter" idx="14" hasCustomPrompt="1"/>
          </p:nvPr>
        </p:nvSpPr>
        <p:spPr>
          <a:xfrm>
            <a:off x="923987" y="1865596"/>
            <a:ext cx="4035294" cy="403183"/>
          </a:xfrm>
        </p:spPr>
        <p:txBody>
          <a:bodyPr anchor="ctr" anchorCtr="0">
            <a:noAutofit/>
          </a:bodyPr>
          <a:lstStyle>
            <a:lvl1pPr marL="0" indent="0">
              <a:lnSpc>
                <a:spcPts val="2865"/>
              </a:lnSpc>
              <a:buNone/>
              <a:defRPr sz="1989" cap="all" baseline="0">
                <a:solidFill>
                  <a:schemeClr val="bg1">
                    <a:lumMod val="50000"/>
                  </a:schemeClr>
                </a:solidFill>
                <a:latin typeface="+mj-lt"/>
              </a:defRPr>
            </a:lvl1pPr>
            <a:lvl2pPr marL="504031" indent="0">
              <a:lnSpc>
                <a:spcPts val="2865"/>
              </a:lnSpc>
              <a:buNone/>
              <a:defRPr sz="1763"/>
            </a:lvl2pPr>
            <a:lvl3pPr marL="1008063" indent="0">
              <a:lnSpc>
                <a:spcPts val="2865"/>
              </a:lnSpc>
              <a:buNone/>
              <a:defRPr sz="1763"/>
            </a:lvl3pPr>
            <a:lvl4pPr marL="1512094" indent="0">
              <a:lnSpc>
                <a:spcPts val="2865"/>
              </a:lnSpc>
              <a:buNone/>
              <a:defRPr sz="1763"/>
            </a:lvl4pPr>
            <a:lvl5pPr marL="2016127" indent="0">
              <a:lnSpc>
                <a:spcPts val="2865"/>
              </a:lnSpc>
              <a:buNone/>
              <a:defRPr sz="1763"/>
            </a:lvl5pPr>
          </a:lstStyle>
          <a:p>
            <a:pPr lvl="0"/>
            <a:r>
              <a:rPr lang="en-US"/>
              <a:t>CLICK TO add text</a:t>
            </a:r>
          </a:p>
        </p:txBody>
      </p:sp>
      <p:sp>
        <p:nvSpPr>
          <p:cNvPr id="8" name="Text Placeholder 7">
            <a:extLst>
              <a:ext uri="{FF2B5EF4-FFF2-40B4-BE49-F238E27FC236}">
                <a16:creationId xmlns:a16="http://schemas.microsoft.com/office/drawing/2014/main" id="{AF00EF78-D323-4EBB-BB07-D37B417DCB1C}"/>
              </a:ext>
            </a:extLst>
          </p:cNvPr>
          <p:cNvSpPr>
            <a:spLocks noGrp="1"/>
          </p:cNvSpPr>
          <p:nvPr>
            <p:ph type="body" sz="quarter" idx="13" hasCustomPrompt="1"/>
          </p:nvPr>
        </p:nvSpPr>
        <p:spPr>
          <a:xfrm>
            <a:off x="923987" y="2316518"/>
            <a:ext cx="4035294" cy="1310344"/>
          </a:xfrm>
        </p:spPr>
        <p:txBody>
          <a:bodyPr>
            <a:normAutofit/>
          </a:bodyPr>
          <a:lstStyle>
            <a:lvl1pPr marL="0" indent="0">
              <a:lnSpc>
                <a:spcPts val="2207"/>
              </a:lnSpc>
              <a:spcBef>
                <a:spcPts val="0"/>
              </a:spcBef>
              <a:buNone/>
              <a:defRPr sz="1547"/>
            </a:lvl1pPr>
            <a:lvl2pPr marL="504031" indent="0">
              <a:lnSpc>
                <a:spcPts val="2865"/>
              </a:lnSpc>
              <a:buNone/>
              <a:defRPr sz="1763"/>
            </a:lvl2pPr>
            <a:lvl3pPr marL="1008063" indent="0">
              <a:lnSpc>
                <a:spcPts val="2865"/>
              </a:lnSpc>
              <a:buNone/>
              <a:defRPr sz="1763"/>
            </a:lvl3pPr>
            <a:lvl4pPr marL="1512094" indent="0">
              <a:lnSpc>
                <a:spcPts val="2865"/>
              </a:lnSpc>
              <a:buNone/>
              <a:defRPr sz="1763"/>
            </a:lvl4pPr>
            <a:lvl5pPr marL="2016127" indent="0">
              <a:lnSpc>
                <a:spcPts val="2865"/>
              </a:lnSpc>
              <a:buNone/>
              <a:defRPr sz="1763"/>
            </a:lvl5pPr>
          </a:lstStyle>
          <a:p>
            <a:pPr lvl="0"/>
            <a:r>
              <a:rPr lang="en-US"/>
              <a:t>Click to add text</a:t>
            </a:r>
          </a:p>
        </p:txBody>
      </p:sp>
      <p:sp>
        <p:nvSpPr>
          <p:cNvPr id="11" name="Text Placeholder 7">
            <a:extLst>
              <a:ext uri="{FF2B5EF4-FFF2-40B4-BE49-F238E27FC236}">
                <a16:creationId xmlns:a16="http://schemas.microsoft.com/office/drawing/2014/main" id="{20D5E97E-C5D9-4025-B1B2-ADCE5B7643E1}"/>
              </a:ext>
            </a:extLst>
          </p:cNvPr>
          <p:cNvSpPr>
            <a:spLocks noGrp="1"/>
          </p:cNvSpPr>
          <p:nvPr>
            <p:ph type="body" sz="quarter" idx="16" hasCustomPrompt="1"/>
          </p:nvPr>
        </p:nvSpPr>
        <p:spPr>
          <a:xfrm>
            <a:off x="923988" y="3768453"/>
            <a:ext cx="4044129" cy="403183"/>
          </a:xfrm>
        </p:spPr>
        <p:txBody>
          <a:bodyPr anchor="ctr" anchorCtr="0">
            <a:noAutofit/>
          </a:bodyPr>
          <a:lstStyle>
            <a:lvl1pPr marL="0" indent="0">
              <a:lnSpc>
                <a:spcPts val="2865"/>
              </a:lnSpc>
              <a:buNone/>
              <a:defRPr sz="1989" cap="all" baseline="0">
                <a:solidFill>
                  <a:schemeClr val="bg1">
                    <a:lumMod val="50000"/>
                  </a:schemeClr>
                </a:solidFill>
                <a:latin typeface="+mj-lt"/>
              </a:defRPr>
            </a:lvl1pPr>
            <a:lvl2pPr marL="504031" indent="0">
              <a:lnSpc>
                <a:spcPts val="2865"/>
              </a:lnSpc>
              <a:buNone/>
              <a:defRPr sz="1763"/>
            </a:lvl2pPr>
            <a:lvl3pPr marL="1008063" indent="0">
              <a:lnSpc>
                <a:spcPts val="2865"/>
              </a:lnSpc>
              <a:buNone/>
              <a:defRPr sz="1763"/>
            </a:lvl3pPr>
            <a:lvl4pPr marL="1512094" indent="0">
              <a:lnSpc>
                <a:spcPts val="2865"/>
              </a:lnSpc>
              <a:buNone/>
              <a:defRPr sz="1763"/>
            </a:lvl4pPr>
            <a:lvl5pPr marL="2016127" indent="0">
              <a:lnSpc>
                <a:spcPts val="2865"/>
              </a:lnSpc>
              <a:buNone/>
              <a:defRPr sz="1763"/>
            </a:lvl5pPr>
          </a:lstStyle>
          <a:p>
            <a:pPr lvl="0"/>
            <a:r>
              <a:rPr lang="en-US"/>
              <a:t>Click to add text</a:t>
            </a:r>
          </a:p>
        </p:txBody>
      </p:sp>
      <p:sp>
        <p:nvSpPr>
          <p:cNvPr id="10" name="Text Placeholder 7">
            <a:extLst>
              <a:ext uri="{FF2B5EF4-FFF2-40B4-BE49-F238E27FC236}">
                <a16:creationId xmlns:a16="http://schemas.microsoft.com/office/drawing/2014/main" id="{AC8171A7-4A62-4082-BB37-F060B1FAE2BF}"/>
              </a:ext>
            </a:extLst>
          </p:cNvPr>
          <p:cNvSpPr>
            <a:spLocks noGrp="1"/>
          </p:cNvSpPr>
          <p:nvPr>
            <p:ph type="body" sz="quarter" idx="15" hasCustomPrompt="1"/>
          </p:nvPr>
        </p:nvSpPr>
        <p:spPr>
          <a:xfrm>
            <a:off x="923988" y="4219377"/>
            <a:ext cx="4044129" cy="1310344"/>
          </a:xfrm>
        </p:spPr>
        <p:txBody>
          <a:bodyPr>
            <a:normAutofit/>
          </a:bodyPr>
          <a:lstStyle>
            <a:lvl1pPr marL="0" indent="0">
              <a:lnSpc>
                <a:spcPts val="2207"/>
              </a:lnSpc>
              <a:spcBef>
                <a:spcPts val="0"/>
              </a:spcBef>
              <a:buNone/>
              <a:defRPr sz="1547"/>
            </a:lvl1pPr>
            <a:lvl2pPr marL="504031" indent="0">
              <a:lnSpc>
                <a:spcPts val="2865"/>
              </a:lnSpc>
              <a:buNone/>
              <a:defRPr sz="1763"/>
            </a:lvl2pPr>
            <a:lvl3pPr marL="1008063" indent="0">
              <a:lnSpc>
                <a:spcPts val="2865"/>
              </a:lnSpc>
              <a:buNone/>
              <a:defRPr sz="1763"/>
            </a:lvl3pPr>
            <a:lvl4pPr marL="1512094" indent="0">
              <a:lnSpc>
                <a:spcPts val="2865"/>
              </a:lnSpc>
              <a:buNone/>
              <a:defRPr sz="1763"/>
            </a:lvl4pPr>
            <a:lvl5pPr marL="2016127" indent="0">
              <a:lnSpc>
                <a:spcPts val="2865"/>
              </a:lnSpc>
              <a:buNone/>
              <a:defRPr sz="1763"/>
            </a:lvl5pPr>
          </a:lstStyle>
          <a:p>
            <a:pPr lvl="0"/>
            <a:r>
              <a:rPr lang="en-US"/>
              <a:t>Click to add text</a:t>
            </a:r>
          </a:p>
        </p:txBody>
      </p:sp>
      <p:sp>
        <p:nvSpPr>
          <p:cNvPr id="19" name="Text Placeholder 7">
            <a:extLst>
              <a:ext uri="{FF2B5EF4-FFF2-40B4-BE49-F238E27FC236}">
                <a16:creationId xmlns:a16="http://schemas.microsoft.com/office/drawing/2014/main" id="{8120F19B-6DB3-475E-9783-DE201F320A26}"/>
              </a:ext>
            </a:extLst>
          </p:cNvPr>
          <p:cNvSpPr>
            <a:spLocks noGrp="1"/>
          </p:cNvSpPr>
          <p:nvPr>
            <p:ph type="body" sz="quarter" idx="22" hasCustomPrompt="1"/>
          </p:nvPr>
        </p:nvSpPr>
        <p:spPr>
          <a:xfrm>
            <a:off x="923988" y="5637032"/>
            <a:ext cx="4044129" cy="403183"/>
          </a:xfrm>
        </p:spPr>
        <p:txBody>
          <a:bodyPr anchor="ctr" anchorCtr="0">
            <a:noAutofit/>
          </a:bodyPr>
          <a:lstStyle>
            <a:lvl1pPr marL="0" indent="0">
              <a:lnSpc>
                <a:spcPts val="2865"/>
              </a:lnSpc>
              <a:buNone/>
              <a:defRPr sz="1989" cap="all" baseline="0">
                <a:solidFill>
                  <a:schemeClr val="bg1">
                    <a:lumMod val="50000"/>
                  </a:schemeClr>
                </a:solidFill>
                <a:latin typeface="+mj-lt"/>
              </a:defRPr>
            </a:lvl1pPr>
            <a:lvl2pPr marL="504031" indent="0">
              <a:lnSpc>
                <a:spcPts val="2865"/>
              </a:lnSpc>
              <a:buNone/>
              <a:defRPr sz="1763"/>
            </a:lvl2pPr>
            <a:lvl3pPr marL="1008063" indent="0">
              <a:lnSpc>
                <a:spcPts val="2865"/>
              </a:lnSpc>
              <a:buNone/>
              <a:defRPr sz="1763"/>
            </a:lvl3pPr>
            <a:lvl4pPr marL="1512094" indent="0">
              <a:lnSpc>
                <a:spcPts val="2865"/>
              </a:lnSpc>
              <a:buNone/>
              <a:defRPr sz="1763"/>
            </a:lvl4pPr>
            <a:lvl5pPr marL="2016127" indent="0">
              <a:lnSpc>
                <a:spcPts val="2865"/>
              </a:lnSpc>
              <a:buNone/>
              <a:defRPr sz="1763"/>
            </a:lvl5pPr>
          </a:lstStyle>
          <a:p>
            <a:pPr lvl="0"/>
            <a:r>
              <a:rPr lang="en-US"/>
              <a:t>Click to add text</a:t>
            </a:r>
          </a:p>
        </p:txBody>
      </p:sp>
      <p:sp>
        <p:nvSpPr>
          <p:cNvPr id="18" name="Text Placeholder 7">
            <a:extLst>
              <a:ext uri="{FF2B5EF4-FFF2-40B4-BE49-F238E27FC236}">
                <a16:creationId xmlns:a16="http://schemas.microsoft.com/office/drawing/2014/main" id="{0107D759-1ED0-454A-9073-F9259B9DD4C7}"/>
              </a:ext>
            </a:extLst>
          </p:cNvPr>
          <p:cNvSpPr>
            <a:spLocks noGrp="1"/>
          </p:cNvSpPr>
          <p:nvPr>
            <p:ph type="body" sz="quarter" idx="21" hasCustomPrompt="1"/>
          </p:nvPr>
        </p:nvSpPr>
        <p:spPr>
          <a:xfrm>
            <a:off x="923987" y="6108515"/>
            <a:ext cx="4035294" cy="834168"/>
          </a:xfrm>
        </p:spPr>
        <p:txBody>
          <a:bodyPr>
            <a:normAutofit/>
          </a:bodyPr>
          <a:lstStyle>
            <a:lvl1pPr marL="0" indent="0">
              <a:lnSpc>
                <a:spcPts val="2207"/>
              </a:lnSpc>
              <a:spcBef>
                <a:spcPts val="0"/>
              </a:spcBef>
              <a:buNone/>
              <a:defRPr sz="1547"/>
            </a:lvl1pPr>
            <a:lvl2pPr marL="504031" indent="0">
              <a:lnSpc>
                <a:spcPts val="2865"/>
              </a:lnSpc>
              <a:buNone/>
              <a:defRPr sz="1763"/>
            </a:lvl2pPr>
            <a:lvl3pPr marL="1008063" indent="0">
              <a:lnSpc>
                <a:spcPts val="2865"/>
              </a:lnSpc>
              <a:buNone/>
              <a:defRPr sz="1763"/>
            </a:lvl3pPr>
            <a:lvl4pPr marL="1512094" indent="0">
              <a:lnSpc>
                <a:spcPts val="2865"/>
              </a:lnSpc>
              <a:buNone/>
              <a:defRPr sz="1763"/>
            </a:lvl4pPr>
            <a:lvl5pPr marL="2016127" indent="0">
              <a:lnSpc>
                <a:spcPts val="2865"/>
              </a:lnSpc>
              <a:buNone/>
              <a:defRPr sz="1763"/>
            </a:lvl5pPr>
          </a:lstStyle>
          <a:p>
            <a:pPr lvl="0"/>
            <a:r>
              <a:rPr lang="en-US"/>
              <a:t>Click to add text</a:t>
            </a:r>
          </a:p>
        </p:txBody>
      </p:sp>
      <p:sp>
        <p:nvSpPr>
          <p:cNvPr id="13" name="Text Placeholder 7">
            <a:extLst>
              <a:ext uri="{FF2B5EF4-FFF2-40B4-BE49-F238E27FC236}">
                <a16:creationId xmlns:a16="http://schemas.microsoft.com/office/drawing/2014/main" id="{C26712AD-A0C3-4DCE-B24C-BF72F5E4C647}"/>
              </a:ext>
            </a:extLst>
          </p:cNvPr>
          <p:cNvSpPr>
            <a:spLocks noGrp="1"/>
          </p:cNvSpPr>
          <p:nvPr>
            <p:ph type="body" sz="quarter" idx="18" hasCustomPrompt="1"/>
          </p:nvPr>
        </p:nvSpPr>
        <p:spPr>
          <a:xfrm>
            <a:off x="5445604" y="1861174"/>
            <a:ext cx="4031931" cy="403183"/>
          </a:xfrm>
        </p:spPr>
        <p:txBody>
          <a:bodyPr anchor="ctr" anchorCtr="0">
            <a:noAutofit/>
          </a:bodyPr>
          <a:lstStyle>
            <a:lvl1pPr marL="0" indent="0">
              <a:lnSpc>
                <a:spcPts val="2865"/>
              </a:lnSpc>
              <a:buNone/>
              <a:defRPr sz="1989" cap="all" baseline="0">
                <a:solidFill>
                  <a:schemeClr val="bg1">
                    <a:lumMod val="50000"/>
                  </a:schemeClr>
                </a:solidFill>
                <a:latin typeface="+mj-lt"/>
              </a:defRPr>
            </a:lvl1pPr>
            <a:lvl2pPr marL="504031" indent="0">
              <a:lnSpc>
                <a:spcPts val="2865"/>
              </a:lnSpc>
              <a:buNone/>
              <a:defRPr sz="1763"/>
            </a:lvl2pPr>
            <a:lvl3pPr marL="1008063" indent="0">
              <a:lnSpc>
                <a:spcPts val="2865"/>
              </a:lnSpc>
              <a:buNone/>
              <a:defRPr sz="1763"/>
            </a:lvl3pPr>
            <a:lvl4pPr marL="1512094" indent="0">
              <a:lnSpc>
                <a:spcPts val="2865"/>
              </a:lnSpc>
              <a:buNone/>
              <a:defRPr sz="1763"/>
            </a:lvl4pPr>
            <a:lvl5pPr marL="2016127" indent="0">
              <a:lnSpc>
                <a:spcPts val="2865"/>
              </a:lnSpc>
              <a:buNone/>
              <a:defRPr sz="1763"/>
            </a:lvl5pPr>
          </a:lstStyle>
          <a:p>
            <a:pPr lvl="0"/>
            <a:r>
              <a:rPr lang="en-US"/>
              <a:t>Click to add text</a:t>
            </a:r>
          </a:p>
        </p:txBody>
      </p:sp>
      <p:sp>
        <p:nvSpPr>
          <p:cNvPr id="12" name="Text Placeholder 7">
            <a:extLst>
              <a:ext uri="{FF2B5EF4-FFF2-40B4-BE49-F238E27FC236}">
                <a16:creationId xmlns:a16="http://schemas.microsoft.com/office/drawing/2014/main" id="{A9CD05EF-84C2-444D-81A7-A4B7301F61CB}"/>
              </a:ext>
            </a:extLst>
          </p:cNvPr>
          <p:cNvSpPr>
            <a:spLocks noGrp="1"/>
          </p:cNvSpPr>
          <p:nvPr>
            <p:ph type="body" sz="quarter" idx="17" hasCustomPrompt="1"/>
          </p:nvPr>
        </p:nvSpPr>
        <p:spPr>
          <a:xfrm>
            <a:off x="5442243" y="2316517"/>
            <a:ext cx="4035294" cy="1310343"/>
          </a:xfrm>
        </p:spPr>
        <p:txBody>
          <a:bodyPr>
            <a:normAutofit/>
          </a:bodyPr>
          <a:lstStyle>
            <a:lvl1pPr marL="0" indent="0">
              <a:lnSpc>
                <a:spcPts val="2207"/>
              </a:lnSpc>
              <a:spcBef>
                <a:spcPts val="0"/>
              </a:spcBef>
              <a:buNone/>
              <a:defRPr sz="1547"/>
            </a:lvl1pPr>
            <a:lvl2pPr marL="504031" indent="0">
              <a:lnSpc>
                <a:spcPts val="2865"/>
              </a:lnSpc>
              <a:buNone/>
              <a:defRPr sz="1763"/>
            </a:lvl2pPr>
            <a:lvl3pPr marL="1008063" indent="0">
              <a:lnSpc>
                <a:spcPts val="2865"/>
              </a:lnSpc>
              <a:buNone/>
              <a:defRPr sz="1763"/>
            </a:lvl3pPr>
            <a:lvl4pPr marL="1512094" indent="0">
              <a:lnSpc>
                <a:spcPts val="2865"/>
              </a:lnSpc>
              <a:buNone/>
              <a:defRPr sz="1763"/>
            </a:lvl4pPr>
            <a:lvl5pPr marL="2016127" indent="0">
              <a:lnSpc>
                <a:spcPts val="2865"/>
              </a:lnSpc>
              <a:buNone/>
              <a:defRPr sz="1763"/>
            </a:lvl5pPr>
          </a:lstStyle>
          <a:p>
            <a:pPr lvl="0"/>
            <a:r>
              <a:rPr lang="en-US"/>
              <a:t>Click to add text</a:t>
            </a:r>
          </a:p>
        </p:txBody>
      </p:sp>
      <p:sp>
        <p:nvSpPr>
          <p:cNvPr id="15" name="Text Placeholder 7">
            <a:extLst>
              <a:ext uri="{FF2B5EF4-FFF2-40B4-BE49-F238E27FC236}">
                <a16:creationId xmlns:a16="http://schemas.microsoft.com/office/drawing/2014/main" id="{6545C2F8-A3FD-49EE-AB32-908F2C67EFD6}"/>
              </a:ext>
            </a:extLst>
          </p:cNvPr>
          <p:cNvSpPr>
            <a:spLocks noGrp="1"/>
          </p:cNvSpPr>
          <p:nvPr>
            <p:ph type="body" sz="quarter" idx="20" hasCustomPrompt="1"/>
          </p:nvPr>
        </p:nvSpPr>
        <p:spPr>
          <a:xfrm>
            <a:off x="5442243" y="3779839"/>
            <a:ext cx="4044129" cy="402484"/>
          </a:xfrm>
        </p:spPr>
        <p:txBody>
          <a:bodyPr anchor="ctr" anchorCtr="0">
            <a:noAutofit/>
          </a:bodyPr>
          <a:lstStyle>
            <a:lvl1pPr marL="0" indent="0">
              <a:lnSpc>
                <a:spcPts val="2865"/>
              </a:lnSpc>
              <a:buNone/>
              <a:defRPr sz="1989" cap="all" baseline="0">
                <a:solidFill>
                  <a:schemeClr val="bg1">
                    <a:lumMod val="50000"/>
                  </a:schemeClr>
                </a:solidFill>
                <a:latin typeface="+mj-lt"/>
              </a:defRPr>
            </a:lvl1pPr>
            <a:lvl2pPr marL="504031" indent="0">
              <a:lnSpc>
                <a:spcPts val="2865"/>
              </a:lnSpc>
              <a:buNone/>
              <a:defRPr sz="1763"/>
            </a:lvl2pPr>
            <a:lvl3pPr marL="1008063" indent="0">
              <a:lnSpc>
                <a:spcPts val="2865"/>
              </a:lnSpc>
              <a:buNone/>
              <a:defRPr sz="1763"/>
            </a:lvl3pPr>
            <a:lvl4pPr marL="1512094" indent="0">
              <a:lnSpc>
                <a:spcPts val="2865"/>
              </a:lnSpc>
              <a:buNone/>
              <a:defRPr sz="1763"/>
            </a:lvl4pPr>
            <a:lvl5pPr marL="2016127" indent="0">
              <a:lnSpc>
                <a:spcPts val="2865"/>
              </a:lnSpc>
              <a:buNone/>
              <a:defRPr sz="1763"/>
            </a:lvl5pPr>
          </a:lstStyle>
          <a:p>
            <a:pPr lvl="0"/>
            <a:r>
              <a:rPr lang="en-US"/>
              <a:t>Click to add text</a:t>
            </a:r>
          </a:p>
        </p:txBody>
      </p:sp>
      <p:sp>
        <p:nvSpPr>
          <p:cNvPr id="14" name="Text Placeholder 7">
            <a:extLst>
              <a:ext uri="{FF2B5EF4-FFF2-40B4-BE49-F238E27FC236}">
                <a16:creationId xmlns:a16="http://schemas.microsoft.com/office/drawing/2014/main" id="{759955F9-5A50-4ACB-AFC6-6B5497CEC879}"/>
              </a:ext>
            </a:extLst>
          </p:cNvPr>
          <p:cNvSpPr>
            <a:spLocks noGrp="1"/>
          </p:cNvSpPr>
          <p:nvPr>
            <p:ph type="body" sz="quarter" idx="19" hasCustomPrompt="1"/>
          </p:nvPr>
        </p:nvSpPr>
        <p:spPr>
          <a:xfrm>
            <a:off x="5442244" y="4219379"/>
            <a:ext cx="4031735" cy="1309724"/>
          </a:xfrm>
        </p:spPr>
        <p:txBody>
          <a:bodyPr>
            <a:normAutofit/>
          </a:bodyPr>
          <a:lstStyle>
            <a:lvl1pPr marL="0" indent="0">
              <a:lnSpc>
                <a:spcPts val="2207"/>
              </a:lnSpc>
              <a:spcBef>
                <a:spcPts val="0"/>
              </a:spcBef>
              <a:buNone/>
              <a:defRPr sz="1547"/>
            </a:lvl1pPr>
            <a:lvl2pPr marL="504031" indent="0">
              <a:lnSpc>
                <a:spcPts val="2865"/>
              </a:lnSpc>
              <a:buNone/>
              <a:defRPr sz="1763"/>
            </a:lvl2pPr>
            <a:lvl3pPr marL="1008063" indent="0">
              <a:lnSpc>
                <a:spcPts val="2865"/>
              </a:lnSpc>
              <a:buNone/>
              <a:defRPr sz="1763"/>
            </a:lvl3pPr>
            <a:lvl4pPr marL="1512094" indent="0">
              <a:lnSpc>
                <a:spcPts val="2865"/>
              </a:lnSpc>
              <a:buNone/>
              <a:defRPr sz="1763"/>
            </a:lvl4pPr>
            <a:lvl5pPr marL="2016127" indent="0">
              <a:lnSpc>
                <a:spcPts val="2865"/>
              </a:lnSpc>
              <a:buNone/>
              <a:defRPr sz="1763"/>
            </a:lvl5pPr>
          </a:lstStyle>
          <a:p>
            <a:pPr lvl="0"/>
            <a:r>
              <a:rPr lang="en-US"/>
              <a:t>Click to add text</a:t>
            </a:r>
          </a:p>
        </p:txBody>
      </p:sp>
      <p:sp>
        <p:nvSpPr>
          <p:cNvPr id="4" name="Date Placeholder 3">
            <a:extLst>
              <a:ext uri="{FF2B5EF4-FFF2-40B4-BE49-F238E27FC236}">
                <a16:creationId xmlns:a16="http://schemas.microsoft.com/office/drawing/2014/main" id="{3EDAC16E-5725-4AC1-AB85-871F25D26688}"/>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FD10B5D8-71E9-48DC-A04C-559359603CB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0FDD81F-9379-48E6-9B14-83486F920A39}"/>
              </a:ext>
            </a:extLst>
          </p:cNvPr>
          <p:cNvSpPr>
            <a:spLocks noGrp="1"/>
          </p:cNvSpPr>
          <p:nvPr>
            <p:ph type="sldNum" sz="quarter" idx="12"/>
          </p:nvPr>
        </p:nvSpPr>
        <p:spPr/>
        <p:txBody>
          <a:bodyPr/>
          <a:lstStyle/>
          <a:p>
            <a:fld id="{B5CEABB6-07DC-46E8-9B57-56EC44A396E5}" type="slidenum">
              <a:rPr lang="en-US" smtClean="0"/>
              <a:t>‹№›</a:t>
            </a:fld>
            <a:endParaRPr lang="en-US"/>
          </a:p>
        </p:txBody>
      </p:sp>
      <p:pic>
        <p:nvPicPr>
          <p:cNvPr id="3" name="Picture 2">
            <a:extLst>
              <a:ext uri="{FF2B5EF4-FFF2-40B4-BE49-F238E27FC236}">
                <a16:creationId xmlns:a16="http://schemas.microsoft.com/office/drawing/2014/main" id="{4B32B98E-2172-E578-22C6-561C91F3D381}"/>
              </a:ext>
            </a:extLst>
          </p:cNvPr>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r="25402"/>
          <a:stretch/>
        </p:blipFill>
        <p:spPr bwMode="auto">
          <a:xfrm>
            <a:off x="3417983" y="0"/>
            <a:ext cx="10021796" cy="75596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6092998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2_Пользовательский макет">
    <p:spTree>
      <p:nvGrpSpPr>
        <p:cNvPr id="1" name=""/>
        <p:cNvGrpSpPr/>
        <p:nvPr/>
      </p:nvGrpSpPr>
      <p:grpSpPr>
        <a:xfrm>
          <a:off x="0" y="0"/>
          <a:ext cx="0" cy="0"/>
          <a:chOff x="0" y="0"/>
          <a:chExt cx="0" cy="0"/>
        </a:xfrm>
      </p:grpSpPr>
      <p:graphicFrame>
        <p:nvGraphicFramePr>
          <p:cNvPr id="3" name="Объект 2" hidden="1"/>
          <p:cNvGraphicFramePr>
            <a:graphicFrameLocks noChangeAspect="1"/>
          </p:cNvGraphicFramePr>
          <p:nvPr>
            <p:custDataLst>
              <p:tags r:id="rId1"/>
            </p:custDataLst>
          </p:nvPr>
        </p:nvGraphicFramePr>
        <p:xfrm>
          <a:off x="1997" y="1593"/>
          <a:ext cx="1996" cy="1590"/>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3" name="Объект 2" hidden="1"/>
                      <p:cNvPicPr/>
                      <p:nvPr/>
                    </p:nvPicPr>
                    <p:blipFill>
                      <a:blip r:embed="rId5"/>
                      <a:stretch>
                        <a:fillRect/>
                      </a:stretch>
                    </p:blipFill>
                    <p:spPr>
                      <a:xfrm>
                        <a:off x="1997" y="1593"/>
                        <a:ext cx="1996" cy="1590"/>
                      </a:xfrm>
                      <a:prstGeom prst="rect">
                        <a:avLst/>
                      </a:prstGeom>
                    </p:spPr>
                  </p:pic>
                </p:oleObj>
              </mc:Fallback>
            </mc:AlternateContent>
          </a:graphicData>
        </a:graphic>
      </p:graphicFrame>
      <p:sp>
        <p:nvSpPr>
          <p:cNvPr id="2" name="Прямоугольник 1" hidden="1"/>
          <p:cNvSpPr/>
          <p:nvPr>
            <p:custDataLst>
              <p:tags r:id="rId2"/>
            </p:custDataLst>
          </p:nvPr>
        </p:nvSpPr>
        <p:spPr>
          <a:xfrm>
            <a:off x="2" y="4"/>
            <a:ext cx="19955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ru-RU" sz="4704" b="1" i="0" baseline="0">
              <a:latin typeface="Calibri" panose="020F0502020204030204" pitchFamily="34" charset="0"/>
              <a:ea typeface="+mj-ea"/>
              <a:cs typeface="+mj-cs"/>
              <a:sym typeface="Calibri" panose="020F0502020204030204" pitchFamily="34" charset="0"/>
            </a:endParaRPr>
          </a:p>
        </p:txBody>
      </p:sp>
      <p:sp>
        <p:nvSpPr>
          <p:cNvPr id="36" name="Прямоугольник 35"/>
          <p:cNvSpPr/>
          <p:nvPr/>
        </p:nvSpPr>
        <p:spPr>
          <a:xfrm>
            <a:off x="618310" y="-1500"/>
            <a:ext cx="56605" cy="3979816"/>
          </a:xfrm>
          <a:prstGeom prst="rect">
            <a:avLst/>
          </a:prstGeom>
          <a:solidFill>
            <a:srgbClr val="FED1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ru-RU" sz="1796"/>
          </a:p>
        </p:txBody>
      </p:sp>
      <p:pic>
        <p:nvPicPr>
          <p:cNvPr id="37" name="Рисунок 3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2018775" y="6917893"/>
            <a:ext cx="935877" cy="318774"/>
          </a:xfrm>
          <a:prstGeom prst="rect">
            <a:avLst/>
          </a:prstGeom>
        </p:spPr>
      </p:pic>
      <p:sp>
        <p:nvSpPr>
          <p:cNvPr id="64" name="Текст 4"/>
          <p:cNvSpPr>
            <a:spLocks noGrp="1"/>
          </p:cNvSpPr>
          <p:nvPr>
            <p:ph type="body" sz="quarter" idx="10" hasCustomPrompt="1"/>
          </p:nvPr>
        </p:nvSpPr>
        <p:spPr>
          <a:xfrm>
            <a:off x="697820" y="2100263"/>
            <a:ext cx="5338293" cy="1204252"/>
          </a:xfrm>
          <a:prstGeom prst="rect">
            <a:avLst/>
          </a:prstGeom>
        </p:spPr>
        <p:txBody>
          <a:bodyPr/>
          <a:lstStyle>
            <a:lvl1pPr marL="0" marR="0" indent="0" algn="l" defTabSz="1007428" rtl="0" eaLnBrk="1" fontAlgn="auto" latinLnBrk="0" hangingPunct="1">
              <a:lnSpc>
                <a:spcPct val="100000"/>
              </a:lnSpc>
              <a:spcBef>
                <a:spcPts val="0"/>
              </a:spcBef>
              <a:spcAft>
                <a:spcPts val="0"/>
              </a:spcAft>
              <a:buClrTx/>
              <a:buSzTx/>
              <a:buFont typeface="Arial" panose="020B0604020202020204" pitchFamily="34" charset="0"/>
              <a:buNone/>
              <a:tabLst/>
              <a:defRPr sz="3601" baseline="0">
                <a:solidFill>
                  <a:srgbClr val="000000"/>
                </a:solidFill>
              </a:defRPr>
            </a:lvl1pPr>
          </a:lstStyle>
          <a:p>
            <a:pPr lvl="0"/>
            <a:r>
              <a:rPr lang="uk-UA"/>
              <a:t>Назва розділу</a:t>
            </a:r>
            <a:endParaRPr lang="en-US"/>
          </a:p>
          <a:p>
            <a:pPr lvl="0"/>
            <a:endParaRPr lang="ru-RU"/>
          </a:p>
        </p:txBody>
      </p:sp>
      <p:sp>
        <p:nvSpPr>
          <p:cNvPr id="65" name="Текст 4"/>
          <p:cNvSpPr>
            <a:spLocks noGrp="1"/>
          </p:cNvSpPr>
          <p:nvPr>
            <p:ph type="body" sz="quarter" idx="11" hasCustomPrompt="1"/>
          </p:nvPr>
        </p:nvSpPr>
        <p:spPr>
          <a:xfrm>
            <a:off x="697820" y="3354124"/>
            <a:ext cx="5338293" cy="624196"/>
          </a:xfrm>
          <a:prstGeom prst="rect">
            <a:avLst/>
          </a:prstGeom>
        </p:spPr>
        <p:txBody>
          <a:bodyPr/>
          <a:lstStyle>
            <a:lvl1pPr marL="0" marR="0" indent="0" algn="l" defTabSz="1007428" rtl="0" eaLnBrk="1" fontAlgn="auto" latinLnBrk="0" hangingPunct="1">
              <a:lnSpc>
                <a:spcPct val="100000"/>
              </a:lnSpc>
              <a:spcBef>
                <a:spcPts val="0"/>
              </a:spcBef>
              <a:spcAft>
                <a:spcPts val="0"/>
              </a:spcAft>
              <a:buClrTx/>
              <a:buSzTx/>
              <a:buFont typeface="Arial" panose="020B0604020202020204" pitchFamily="34" charset="0"/>
              <a:buNone/>
              <a:tabLst/>
              <a:defRPr lang="ru-RU" sz="2004" kern="1200" baseline="0" dirty="0" smtClean="0">
                <a:solidFill>
                  <a:srgbClr val="000000"/>
                </a:solidFill>
                <a:latin typeface="+mn-lt"/>
                <a:ea typeface="+mn-ea"/>
                <a:cs typeface="+mn-cs"/>
              </a:defRPr>
            </a:lvl1pPr>
          </a:lstStyle>
          <a:p>
            <a:pPr marL="0" marR="0" lvl="0" indent="0" algn="l" defTabSz="1007428" rtl="0" eaLnBrk="1" fontAlgn="auto" latinLnBrk="0" hangingPunct="1">
              <a:lnSpc>
                <a:spcPct val="100000"/>
              </a:lnSpc>
              <a:spcBef>
                <a:spcPts val="0"/>
              </a:spcBef>
              <a:spcAft>
                <a:spcPts val="0"/>
              </a:spcAft>
              <a:buClrTx/>
              <a:buSzTx/>
              <a:buFont typeface="Arial" panose="020B0604020202020204" pitchFamily="34" charset="0"/>
              <a:buNone/>
              <a:tabLst/>
              <a:defRPr/>
            </a:pPr>
            <a:r>
              <a:rPr lang="uk-UA"/>
              <a:t>Підзаголовок слайда</a:t>
            </a:r>
            <a:endParaRPr lang="ru-RU"/>
          </a:p>
          <a:p>
            <a:pPr marL="0" marR="0" lvl="0" indent="0" algn="l" defTabSz="1007428" rtl="0" eaLnBrk="1" fontAlgn="auto" latinLnBrk="0" hangingPunct="1">
              <a:lnSpc>
                <a:spcPct val="100000"/>
              </a:lnSpc>
              <a:spcBef>
                <a:spcPts val="0"/>
              </a:spcBef>
              <a:spcAft>
                <a:spcPts val="0"/>
              </a:spcAft>
              <a:buClrTx/>
              <a:buSzTx/>
              <a:buFont typeface="Arial" panose="020B0604020202020204" pitchFamily="34" charset="0"/>
              <a:buNone/>
              <a:tabLst/>
              <a:defRPr/>
            </a:pPr>
            <a:endParaRPr lang="ru-RU"/>
          </a:p>
        </p:txBody>
      </p:sp>
      <p:grpSp>
        <p:nvGrpSpPr>
          <p:cNvPr id="4" name="Группа 3"/>
          <p:cNvGrpSpPr/>
          <p:nvPr/>
        </p:nvGrpSpPr>
        <p:grpSpPr>
          <a:xfrm>
            <a:off x="764722" y="4231907"/>
            <a:ext cx="5380026" cy="435129"/>
            <a:chOff x="764722" y="4231906"/>
            <a:chExt cx="5380025" cy="435129"/>
          </a:xfrm>
        </p:grpSpPr>
        <p:grpSp>
          <p:nvGrpSpPr>
            <p:cNvPr id="39" name="Группа 38"/>
            <p:cNvGrpSpPr/>
            <p:nvPr/>
          </p:nvGrpSpPr>
          <p:grpSpPr>
            <a:xfrm>
              <a:off x="764722" y="4231906"/>
              <a:ext cx="4236148" cy="435129"/>
              <a:chOff x="764722" y="4231906"/>
              <a:chExt cx="4236148" cy="435129"/>
            </a:xfrm>
          </p:grpSpPr>
          <p:sp>
            <p:nvSpPr>
              <p:cNvPr id="40" name="object 6"/>
              <p:cNvSpPr/>
              <p:nvPr/>
            </p:nvSpPr>
            <p:spPr>
              <a:xfrm>
                <a:off x="4958960" y="4231906"/>
                <a:ext cx="41910" cy="55880"/>
              </a:xfrm>
              <a:custGeom>
                <a:avLst/>
                <a:gdLst/>
                <a:ahLst/>
                <a:cxnLst/>
                <a:rect l="l" t="t" r="r" b="b"/>
                <a:pathLst>
                  <a:path w="41910" h="55879">
                    <a:moveTo>
                      <a:pt x="41770" y="0"/>
                    </a:moveTo>
                    <a:lnTo>
                      <a:pt x="16391" y="0"/>
                    </a:lnTo>
                    <a:lnTo>
                      <a:pt x="8664" y="5207"/>
                    </a:lnTo>
                    <a:lnTo>
                      <a:pt x="2326" y="14585"/>
                    </a:lnTo>
                    <a:lnTo>
                      <a:pt x="0" y="26058"/>
                    </a:lnTo>
                    <a:lnTo>
                      <a:pt x="2326" y="37541"/>
                    </a:lnTo>
                    <a:lnTo>
                      <a:pt x="8664" y="46928"/>
                    </a:lnTo>
                    <a:lnTo>
                      <a:pt x="18055" y="53262"/>
                    </a:lnTo>
                    <a:lnTo>
                      <a:pt x="29540" y="55586"/>
                    </a:lnTo>
                    <a:lnTo>
                      <a:pt x="41770" y="55586"/>
                    </a:lnTo>
                    <a:lnTo>
                      <a:pt x="41770" y="44791"/>
                    </a:lnTo>
                    <a:lnTo>
                      <a:pt x="29540" y="44791"/>
                    </a:lnTo>
                    <a:lnTo>
                      <a:pt x="22251" y="43316"/>
                    </a:lnTo>
                    <a:lnTo>
                      <a:pt x="16297" y="39297"/>
                    </a:lnTo>
                    <a:lnTo>
                      <a:pt x="12280" y="33341"/>
                    </a:lnTo>
                    <a:lnTo>
                      <a:pt x="10807" y="26058"/>
                    </a:lnTo>
                    <a:lnTo>
                      <a:pt x="12280" y="18780"/>
                    </a:lnTo>
                    <a:lnTo>
                      <a:pt x="16297" y="12833"/>
                    </a:lnTo>
                    <a:lnTo>
                      <a:pt x="22251" y="8822"/>
                    </a:lnTo>
                    <a:lnTo>
                      <a:pt x="29540" y="7351"/>
                    </a:lnTo>
                    <a:lnTo>
                      <a:pt x="41770" y="7351"/>
                    </a:lnTo>
                    <a:lnTo>
                      <a:pt x="41770" y="0"/>
                    </a:lnTo>
                    <a:close/>
                  </a:path>
                </a:pathLst>
              </a:custGeom>
              <a:solidFill>
                <a:srgbClr val="9B9B9A"/>
              </a:solidFill>
            </p:spPr>
            <p:txBody>
              <a:bodyPr wrap="square" lIns="0" tIns="0" rIns="0" bIns="0" rtlCol="0"/>
              <a:lstStyle/>
              <a:p>
                <a:endParaRPr sz="1796"/>
              </a:p>
            </p:txBody>
          </p:sp>
          <p:sp>
            <p:nvSpPr>
              <p:cNvPr id="41" name="object 7"/>
              <p:cNvSpPr/>
              <p:nvPr/>
            </p:nvSpPr>
            <p:spPr>
              <a:xfrm>
                <a:off x="4577674" y="4231906"/>
                <a:ext cx="41910" cy="55880"/>
              </a:xfrm>
              <a:custGeom>
                <a:avLst/>
                <a:gdLst/>
                <a:ahLst/>
                <a:cxnLst/>
                <a:rect l="l" t="t" r="r" b="b"/>
                <a:pathLst>
                  <a:path w="41910" h="55879">
                    <a:moveTo>
                      <a:pt x="41770" y="0"/>
                    </a:moveTo>
                    <a:lnTo>
                      <a:pt x="16376" y="0"/>
                    </a:lnTo>
                    <a:lnTo>
                      <a:pt x="8653" y="5207"/>
                    </a:lnTo>
                    <a:lnTo>
                      <a:pt x="2322" y="14585"/>
                    </a:lnTo>
                    <a:lnTo>
                      <a:pt x="0" y="26058"/>
                    </a:lnTo>
                    <a:lnTo>
                      <a:pt x="2322" y="37541"/>
                    </a:lnTo>
                    <a:lnTo>
                      <a:pt x="8653" y="46928"/>
                    </a:lnTo>
                    <a:lnTo>
                      <a:pt x="18039" y="53262"/>
                    </a:lnTo>
                    <a:lnTo>
                      <a:pt x="29527" y="55586"/>
                    </a:lnTo>
                    <a:lnTo>
                      <a:pt x="41770" y="55586"/>
                    </a:lnTo>
                    <a:lnTo>
                      <a:pt x="41770" y="44791"/>
                    </a:lnTo>
                    <a:lnTo>
                      <a:pt x="29527" y="44791"/>
                    </a:lnTo>
                    <a:lnTo>
                      <a:pt x="22233" y="43316"/>
                    </a:lnTo>
                    <a:lnTo>
                      <a:pt x="16279" y="39297"/>
                    </a:lnTo>
                    <a:lnTo>
                      <a:pt x="12266" y="33341"/>
                    </a:lnTo>
                    <a:lnTo>
                      <a:pt x="10794" y="26058"/>
                    </a:lnTo>
                    <a:lnTo>
                      <a:pt x="12266" y="18780"/>
                    </a:lnTo>
                    <a:lnTo>
                      <a:pt x="16279" y="12833"/>
                    </a:lnTo>
                    <a:lnTo>
                      <a:pt x="22233" y="8822"/>
                    </a:lnTo>
                    <a:lnTo>
                      <a:pt x="29527" y="7351"/>
                    </a:lnTo>
                    <a:lnTo>
                      <a:pt x="41770" y="7351"/>
                    </a:lnTo>
                    <a:lnTo>
                      <a:pt x="41770" y="0"/>
                    </a:lnTo>
                    <a:close/>
                  </a:path>
                </a:pathLst>
              </a:custGeom>
              <a:solidFill>
                <a:srgbClr val="9B9B9A"/>
              </a:solidFill>
            </p:spPr>
            <p:txBody>
              <a:bodyPr wrap="square" lIns="0" tIns="0" rIns="0" bIns="0" rtlCol="0"/>
              <a:lstStyle/>
              <a:p>
                <a:endParaRPr sz="1796"/>
              </a:p>
            </p:txBody>
          </p:sp>
          <p:sp>
            <p:nvSpPr>
              <p:cNvPr id="42" name="object 8"/>
              <p:cNvSpPr/>
              <p:nvPr/>
            </p:nvSpPr>
            <p:spPr>
              <a:xfrm>
                <a:off x="4196358" y="4231906"/>
                <a:ext cx="41910" cy="55880"/>
              </a:xfrm>
              <a:custGeom>
                <a:avLst/>
                <a:gdLst/>
                <a:ahLst/>
                <a:cxnLst/>
                <a:rect l="l" t="t" r="r" b="b"/>
                <a:pathLst>
                  <a:path w="41910" h="55879">
                    <a:moveTo>
                      <a:pt x="41795" y="0"/>
                    </a:moveTo>
                    <a:lnTo>
                      <a:pt x="16396" y="0"/>
                    </a:lnTo>
                    <a:lnTo>
                      <a:pt x="8666" y="5207"/>
                    </a:lnTo>
                    <a:lnTo>
                      <a:pt x="2326" y="14585"/>
                    </a:lnTo>
                    <a:lnTo>
                      <a:pt x="0" y="26058"/>
                    </a:lnTo>
                    <a:lnTo>
                      <a:pt x="2326" y="37541"/>
                    </a:lnTo>
                    <a:lnTo>
                      <a:pt x="8666" y="46928"/>
                    </a:lnTo>
                    <a:lnTo>
                      <a:pt x="18061" y="53262"/>
                    </a:lnTo>
                    <a:lnTo>
                      <a:pt x="29552" y="55586"/>
                    </a:lnTo>
                    <a:lnTo>
                      <a:pt x="41795" y="55586"/>
                    </a:lnTo>
                    <a:lnTo>
                      <a:pt x="41795" y="44791"/>
                    </a:lnTo>
                    <a:lnTo>
                      <a:pt x="29552" y="44791"/>
                    </a:lnTo>
                    <a:lnTo>
                      <a:pt x="22264" y="43316"/>
                    </a:lnTo>
                    <a:lnTo>
                      <a:pt x="16309" y="39297"/>
                    </a:lnTo>
                    <a:lnTo>
                      <a:pt x="12293" y="33341"/>
                    </a:lnTo>
                    <a:lnTo>
                      <a:pt x="10820" y="26058"/>
                    </a:lnTo>
                    <a:lnTo>
                      <a:pt x="12293" y="18780"/>
                    </a:lnTo>
                    <a:lnTo>
                      <a:pt x="16309" y="12833"/>
                    </a:lnTo>
                    <a:lnTo>
                      <a:pt x="22264" y="8822"/>
                    </a:lnTo>
                    <a:lnTo>
                      <a:pt x="29552" y="7351"/>
                    </a:lnTo>
                    <a:lnTo>
                      <a:pt x="41795" y="7351"/>
                    </a:lnTo>
                    <a:lnTo>
                      <a:pt x="41795" y="0"/>
                    </a:lnTo>
                    <a:close/>
                  </a:path>
                </a:pathLst>
              </a:custGeom>
              <a:solidFill>
                <a:srgbClr val="9B9B9A"/>
              </a:solidFill>
            </p:spPr>
            <p:txBody>
              <a:bodyPr wrap="square" lIns="0" tIns="0" rIns="0" bIns="0" rtlCol="0"/>
              <a:lstStyle/>
              <a:p>
                <a:endParaRPr sz="1796"/>
              </a:p>
            </p:txBody>
          </p:sp>
          <p:sp>
            <p:nvSpPr>
              <p:cNvPr id="43" name="object 9"/>
              <p:cNvSpPr/>
              <p:nvPr/>
            </p:nvSpPr>
            <p:spPr>
              <a:xfrm>
                <a:off x="3815065" y="4231906"/>
                <a:ext cx="41910" cy="55880"/>
              </a:xfrm>
              <a:custGeom>
                <a:avLst/>
                <a:gdLst/>
                <a:ahLst/>
                <a:cxnLst/>
                <a:rect l="l" t="t" r="r" b="b"/>
                <a:pathLst>
                  <a:path w="41910" h="55879">
                    <a:moveTo>
                      <a:pt x="41795" y="0"/>
                    </a:moveTo>
                    <a:lnTo>
                      <a:pt x="16391" y="0"/>
                    </a:lnTo>
                    <a:lnTo>
                      <a:pt x="8664" y="5207"/>
                    </a:lnTo>
                    <a:lnTo>
                      <a:pt x="2326" y="14585"/>
                    </a:lnTo>
                    <a:lnTo>
                      <a:pt x="0" y="26058"/>
                    </a:lnTo>
                    <a:lnTo>
                      <a:pt x="2326" y="37541"/>
                    </a:lnTo>
                    <a:lnTo>
                      <a:pt x="8664" y="46928"/>
                    </a:lnTo>
                    <a:lnTo>
                      <a:pt x="18055" y="53262"/>
                    </a:lnTo>
                    <a:lnTo>
                      <a:pt x="29540" y="55586"/>
                    </a:lnTo>
                    <a:lnTo>
                      <a:pt x="41795" y="55586"/>
                    </a:lnTo>
                    <a:lnTo>
                      <a:pt x="41795" y="44791"/>
                    </a:lnTo>
                    <a:lnTo>
                      <a:pt x="29540" y="44791"/>
                    </a:lnTo>
                    <a:lnTo>
                      <a:pt x="22257" y="43316"/>
                    </a:lnTo>
                    <a:lnTo>
                      <a:pt x="16302" y="39297"/>
                    </a:lnTo>
                    <a:lnTo>
                      <a:pt x="12282" y="33341"/>
                    </a:lnTo>
                    <a:lnTo>
                      <a:pt x="10807" y="26058"/>
                    </a:lnTo>
                    <a:lnTo>
                      <a:pt x="12282" y="18780"/>
                    </a:lnTo>
                    <a:lnTo>
                      <a:pt x="16302" y="12833"/>
                    </a:lnTo>
                    <a:lnTo>
                      <a:pt x="22257" y="8822"/>
                    </a:lnTo>
                    <a:lnTo>
                      <a:pt x="29540" y="7351"/>
                    </a:lnTo>
                    <a:lnTo>
                      <a:pt x="41795" y="7351"/>
                    </a:lnTo>
                    <a:lnTo>
                      <a:pt x="41795" y="0"/>
                    </a:lnTo>
                    <a:close/>
                  </a:path>
                </a:pathLst>
              </a:custGeom>
              <a:solidFill>
                <a:srgbClr val="9B9B9A"/>
              </a:solidFill>
            </p:spPr>
            <p:txBody>
              <a:bodyPr wrap="square" lIns="0" tIns="0" rIns="0" bIns="0" rtlCol="0"/>
              <a:lstStyle/>
              <a:p>
                <a:endParaRPr sz="1796"/>
              </a:p>
            </p:txBody>
          </p:sp>
          <p:sp>
            <p:nvSpPr>
              <p:cNvPr id="44" name="object 10"/>
              <p:cNvSpPr/>
              <p:nvPr/>
            </p:nvSpPr>
            <p:spPr>
              <a:xfrm>
                <a:off x="3433788" y="4231906"/>
                <a:ext cx="41910" cy="55880"/>
              </a:xfrm>
              <a:custGeom>
                <a:avLst/>
                <a:gdLst/>
                <a:ahLst/>
                <a:cxnLst/>
                <a:rect l="l" t="t" r="r" b="b"/>
                <a:pathLst>
                  <a:path w="41910" h="55879">
                    <a:moveTo>
                      <a:pt x="41795" y="0"/>
                    </a:moveTo>
                    <a:lnTo>
                      <a:pt x="16382" y="0"/>
                    </a:lnTo>
                    <a:lnTo>
                      <a:pt x="8658" y="5207"/>
                    </a:lnTo>
                    <a:lnTo>
                      <a:pt x="2324" y="14585"/>
                    </a:lnTo>
                    <a:lnTo>
                      <a:pt x="0" y="26058"/>
                    </a:lnTo>
                    <a:lnTo>
                      <a:pt x="2324" y="37541"/>
                    </a:lnTo>
                    <a:lnTo>
                      <a:pt x="8658" y="46928"/>
                    </a:lnTo>
                    <a:lnTo>
                      <a:pt x="18045" y="53262"/>
                    </a:lnTo>
                    <a:lnTo>
                      <a:pt x="29527" y="55586"/>
                    </a:lnTo>
                    <a:lnTo>
                      <a:pt x="41795" y="55586"/>
                    </a:lnTo>
                    <a:lnTo>
                      <a:pt x="41795" y="44791"/>
                    </a:lnTo>
                    <a:lnTo>
                      <a:pt x="29527" y="44791"/>
                    </a:lnTo>
                    <a:lnTo>
                      <a:pt x="22244" y="43316"/>
                    </a:lnTo>
                    <a:lnTo>
                      <a:pt x="16289" y="39297"/>
                    </a:lnTo>
                    <a:lnTo>
                      <a:pt x="12269" y="33341"/>
                    </a:lnTo>
                    <a:lnTo>
                      <a:pt x="10794" y="26058"/>
                    </a:lnTo>
                    <a:lnTo>
                      <a:pt x="12269" y="18780"/>
                    </a:lnTo>
                    <a:lnTo>
                      <a:pt x="16289" y="12833"/>
                    </a:lnTo>
                    <a:lnTo>
                      <a:pt x="22244" y="8822"/>
                    </a:lnTo>
                    <a:lnTo>
                      <a:pt x="29527" y="7351"/>
                    </a:lnTo>
                    <a:lnTo>
                      <a:pt x="41795" y="7351"/>
                    </a:lnTo>
                    <a:lnTo>
                      <a:pt x="41795" y="0"/>
                    </a:lnTo>
                    <a:close/>
                  </a:path>
                </a:pathLst>
              </a:custGeom>
              <a:solidFill>
                <a:srgbClr val="9B9B9A"/>
              </a:solidFill>
            </p:spPr>
            <p:txBody>
              <a:bodyPr wrap="square" lIns="0" tIns="0" rIns="0" bIns="0" rtlCol="0"/>
              <a:lstStyle/>
              <a:p>
                <a:endParaRPr sz="1796"/>
              </a:p>
            </p:txBody>
          </p:sp>
          <p:sp>
            <p:nvSpPr>
              <p:cNvPr id="45" name="object 11"/>
              <p:cNvSpPr/>
              <p:nvPr/>
            </p:nvSpPr>
            <p:spPr>
              <a:xfrm>
                <a:off x="3052497" y="4231906"/>
                <a:ext cx="41910" cy="55880"/>
              </a:xfrm>
              <a:custGeom>
                <a:avLst/>
                <a:gdLst/>
                <a:ahLst/>
                <a:cxnLst/>
                <a:rect l="l" t="t" r="r" b="b"/>
                <a:pathLst>
                  <a:path w="41910" h="55879">
                    <a:moveTo>
                      <a:pt x="41770" y="0"/>
                    </a:moveTo>
                    <a:lnTo>
                      <a:pt x="16382" y="0"/>
                    </a:lnTo>
                    <a:lnTo>
                      <a:pt x="8658" y="5207"/>
                    </a:lnTo>
                    <a:lnTo>
                      <a:pt x="2324" y="14585"/>
                    </a:lnTo>
                    <a:lnTo>
                      <a:pt x="0" y="26058"/>
                    </a:lnTo>
                    <a:lnTo>
                      <a:pt x="2324" y="37541"/>
                    </a:lnTo>
                    <a:lnTo>
                      <a:pt x="8658" y="46928"/>
                    </a:lnTo>
                    <a:lnTo>
                      <a:pt x="18045" y="53262"/>
                    </a:lnTo>
                    <a:lnTo>
                      <a:pt x="29527" y="55586"/>
                    </a:lnTo>
                    <a:lnTo>
                      <a:pt x="41770" y="55586"/>
                    </a:lnTo>
                    <a:lnTo>
                      <a:pt x="41770" y="44791"/>
                    </a:lnTo>
                    <a:lnTo>
                      <a:pt x="29527" y="44791"/>
                    </a:lnTo>
                    <a:lnTo>
                      <a:pt x="22239" y="43316"/>
                    </a:lnTo>
                    <a:lnTo>
                      <a:pt x="16284" y="39297"/>
                    </a:lnTo>
                    <a:lnTo>
                      <a:pt x="12268" y="33341"/>
                    </a:lnTo>
                    <a:lnTo>
                      <a:pt x="10794" y="26058"/>
                    </a:lnTo>
                    <a:lnTo>
                      <a:pt x="12268" y="18780"/>
                    </a:lnTo>
                    <a:lnTo>
                      <a:pt x="16284" y="12833"/>
                    </a:lnTo>
                    <a:lnTo>
                      <a:pt x="22239" y="8822"/>
                    </a:lnTo>
                    <a:lnTo>
                      <a:pt x="29527" y="7351"/>
                    </a:lnTo>
                    <a:lnTo>
                      <a:pt x="41770" y="7351"/>
                    </a:lnTo>
                    <a:lnTo>
                      <a:pt x="41770" y="0"/>
                    </a:lnTo>
                    <a:close/>
                  </a:path>
                </a:pathLst>
              </a:custGeom>
              <a:solidFill>
                <a:srgbClr val="9B9B9A"/>
              </a:solidFill>
            </p:spPr>
            <p:txBody>
              <a:bodyPr wrap="square" lIns="0" tIns="0" rIns="0" bIns="0" rtlCol="0"/>
              <a:lstStyle/>
              <a:p>
                <a:endParaRPr sz="1796"/>
              </a:p>
            </p:txBody>
          </p:sp>
          <p:sp>
            <p:nvSpPr>
              <p:cNvPr id="46" name="object 12"/>
              <p:cNvSpPr/>
              <p:nvPr/>
            </p:nvSpPr>
            <p:spPr>
              <a:xfrm>
                <a:off x="2671204" y="4231906"/>
                <a:ext cx="41910" cy="55880"/>
              </a:xfrm>
              <a:custGeom>
                <a:avLst/>
                <a:gdLst/>
                <a:ahLst/>
                <a:cxnLst/>
                <a:rect l="l" t="t" r="r" b="b"/>
                <a:pathLst>
                  <a:path w="41910" h="55879">
                    <a:moveTo>
                      <a:pt x="41770" y="0"/>
                    </a:moveTo>
                    <a:lnTo>
                      <a:pt x="16391" y="0"/>
                    </a:lnTo>
                    <a:lnTo>
                      <a:pt x="8664" y="5207"/>
                    </a:lnTo>
                    <a:lnTo>
                      <a:pt x="2326" y="14585"/>
                    </a:lnTo>
                    <a:lnTo>
                      <a:pt x="0" y="26058"/>
                    </a:lnTo>
                    <a:lnTo>
                      <a:pt x="2326" y="37541"/>
                    </a:lnTo>
                    <a:lnTo>
                      <a:pt x="8664" y="46928"/>
                    </a:lnTo>
                    <a:lnTo>
                      <a:pt x="18055" y="53262"/>
                    </a:lnTo>
                    <a:lnTo>
                      <a:pt x="29540" y="55586"/>
                    </a:lnTo>
                    <a:lnTo>
                      <a:pt x="41770" y="55586"/>
                    </a:lnTo>
                    <a:lnTo>
                      <a:pt x="41770" y="44791"/>
                    </a:lnTo>
                    <a:lnTo>
                      <a:pt x="29540" y="44791"/>
                    </a:lnTo>
                    <a:lnTo>
                      <a:pt x="22246" y="43316"/>
                    </a:lnTo>
                    <a:lnTo>
                      <a:pt x="16292" y="39297"/>
                    </a:lnTo>
                    <a:lnTo>
                      <a:pt x="12279" y="33341"/>
                    </a:lnTo>
                    <a:lnTo>
                      <a:pt x="10807" y="26058"/>
                    </a:lnTo>
                    <a:lnTo>
                      <a:pt x="12279" y="18780"/>
                    </a:lnTo>
                    <a:lnTo>
                      <a:pt x="16292" y="12833"/>
                    </a:lnTo>
                    <a:lnTo>
                      <a:pt x="22246" y="8822"/>
                    </a:lnTo>
                    <a:lnTo>
                      <a:pt x="29540" y="7351"/>
                    </a:lnTo>
                    <a:lnTo>
                      <a:pt x="41770" y="7351"/>
                    </a:lnTo>
                    <a:lnTo>
                      <a:pt x="41770" y="0"/>
                    </a:lnTo>
                    <a:close/>
                  </a:path>
                </a:pathLst>
              </a:custGeom>
              <a:solidFill>
                <a:srgbClr val="9B9B9A"/>
              </a:solidFill>
            </p:spPr>
            <p:txBody>
              <a:bodyPr wrap="square" lIns="0" tIns="0" rIns="0" bIns="0" rtlCol="0"/>
              <a:lstStyle/>
              <a:p>
                <a:endParaRPr sz="1796"/>
              </a:p>
            </p:txBody>
          </p:sp>
          <p:sp>
            <p:nvSpPr>
              <p:cNvPr id="47" name="object 13"/>
              <p:cNvSpPr/>
              <p:nvPr/>
            </p:nvSpPr>
            <p:spPr>
              <a:xfrm>
                <a:off x="2289901" y="4231906"/>
                <a:ext cx="41910" cy="55880"/>
              </a:xfrm>
              <a:custGeom>
                <a:avLst/>
                <a:gdLst/>
                <a:ahLst/>
                <a:cxnLst/>
                <a:rect l="l" t="t" r="r" b="b"/>
                <a:pathLst>
                  <a:path w="41910" h="55879">
                    <a:moveTo>
                      <a:pt x="41782" y="0"/>
                    </a:moveTo>
                    <a:lnTo>
                      <a:pt x="16382" y="0"/>
                    </a:lnTo>
                    <a:lnTo>
                      <a:pt x="8658" y="5207"/>
                    </a:lnTo>
                    <a:lnTo>
                      <a:pt x="2324" y="14585"/>
                    </a:lnTo>
                    <a:lnTo>
                      <a:pt x="0" y="26058"/>
                    </a:lnTo>
                    <a:lnTo>
                      <a:pt x="2324" y="37541"/>
                    </a:lnTo>
                    <a:lnTo>
                      <a:pt x="8658" y="46928"/>
                    </a:lnTo>
                    <a:lnTo>
                      <a:pt x="18045" y="53262"/>
                    </a:lnTo>
                    <a:lnTo>
                      <a:pt x="29527" y="55586"/>
                    </a:lnTo>
                    <a:lnTo>
                      <a:pt x="41782" y="55586"/>
                    </a:lnTo>
                    <a:lnTo>
                      <a:pt x="41782" y="44791"/>
                    </a:lnTo>
                    <a:lnTo>
                      <a:pt x="29527" y="44791"/>
                    </a:lnTo>
                    <a:lnTo>
                      <a:pt x="22244" y="43316"/>
                    </a:lnTo>
                    <a:lnTo>
                      <a:pt x="16289" y="39297"/>
                    </a:lnTo>
                    <a:lnTo>
                      <a:pt x="12269" y="33341"/>
                    </a:lnTo>
                    <a:lnTo>
                      <a:pt x="10794" y="26058"/>
                    </a:lnTo>
                    <a:lnTo>
                      <a:pt x="12269" y="18780"/>
                    </a:lnTo>
                    <a:lnTo>
                      <a:pt x="16289" y="12833"/>
                    </a:lnTo>
                    <a:lnTo>
                      <a:pt x="22244" y="8822"/>
                    </a:lnTo>
                    <a:lnTo>
                      <a:pt x="29527" y="7351"/>
                    </a:lnTo>
                    <a:lnTo>
                      <a:pt x="41782" y="7351"/>
                    </a:lnTo>
                    <a:lnTo>
                      <a:pt x="41782" y="0"/>
                    </a:lnTo>
                    <a:close/>
                  </a:path>
                </a:pathLst>
              </a:custGeom>
              <a:solidFill>
                <a:srgbClr val="9B9B9A"/>
              </a:solidFill>
            </p:spPr>
            <p:txBody>
              <a:bodyPr wrap="square" lIns="0" tIns="0" rIns="0" bIns="0" rtlCol="0"/>
              <a:lstStyle/>
              <a:p>
                <a:endParaRPr sz="1796"/>
              </a:p>
            </p:txBody>
          </p:sp>
          <p:sp>
            <p:nvSpPr>
              <p:cNvPr id="48" name="object 14"/>
              <p:cNvSpPr/>
              <p:nvPr/>
            </p:nvSpPr>
            <p:spPr>
              <a:xfrm>
                <a:off x="1908617" y="4231906"/>
                <a:ext cx="41910" cy="55880"/>
              </a:xfrm>
              <a:custGeom>
                <a:avLst/>
                <a:gdLst/>
                <a:ahLst/>
                <a:cxnLst/>
                <a:rect l="l" t="t" r="r" b="b"/>
                <a:pathLst>
                  <a:path w="41910" h="55879">
                    <a:moveTo>
                      <a:pt x="41757" y="0"/>
                    </a:moveTo>
                    <a:lnTo>
                      <a:pt x="16382" y="0"/>
                    </a:lnTo>
                    <a:lnTo>
                      <a:pt x="8658" y="5207"/>
                    </a:lnTo>
                    <a:lnTo>
                      <a:pt x="2324" y="14585"/>
                    </a:lnTo>
                    <a:lnTo>
                      <a:pt x="0" y="26058"/>
                    </a:lnTo>
                    <a:lnTo>
                      <a:pt x="2324" y="37541"/>
                    </a:lnTo>
                    <a:lnTo>
                      <a:pt x="8658" y="46928"/>
                    </a:lnTo>
                    <a:lnTo>
                      <a:pt x="18045" y="53262"/>
                    </a:lnTo>
                    <a:lnTo>
                      <a:pt x="29527" y="55586"/>
                    </a:lnTo>
                    <a:lnTo>
                      <a:pt x="41757" y="55586"/>
                    </a:lnTo>
                    <a:lnTo>
                      <a:pt x="41757" y="44791"/>
                    </a:lnTo>
                    <a:lnTo>
                      <a:pt x="29527" y="44791"/>
                    </a:lnTo>
                    <a:lnTo>
                      <a:pt x="22244" y="43316"/>
                    </a:lnTo>
                    <a:lnTo>
                      <a:pt x="16289" y="39297"/>
                    </a:lnTo>
                    <a:lnTo>
                      <a:pt x="12269" y="33341"/>
                    </a:lnTo>
                    <a:lnTo>
                      <a:pt x="10795" y="26058"/>
                    </a:lnTo>
                    <a:lnTo>
                      <a:pt x="12269" y="18780"/>
                    </a:lnTo>
                    <a:lnTo>
                      <a:pt x="16289" y="12833"/>
                    </a:lnTo>
                    <a:lnTo>
                      <a:pt x="22244" y="8822"/>
                    </a:lnTo>
                    <a:lnTo>
                      <a:pt x="29527" y="7351"/>
                    </a:lnTo>
                    <a:lnTo>
                      <a:pt x="41757" y="7351"/>
                    </a:lnTo>
                    <a:lnTo>
                      <a:pt x="41757" y="0"/>
                    </a:lnTo>
                    <a:close/>
                  </a:path>
                </a:pathLst>
              </a:custGeom>
              <a:solidFill>
                <a:srgbClr val="9B9B9A"/>
              </a:solidFill>
            </p:spPr>
            <p:txBody>
              <a:bodyPr wrap="square" lIns="0" tIns="0" rIns="0" bIns="0" rtlCol="0"/>
              <a:lstStyle/>
              <a:p>
                <a:endParaRPr sz="1796"/>
              </a:p>
            </p:txBody>
          </p:sp>
          <p:sp>
            <p:nvSpPr>
              <p:cNvPr id="49" name="object 15"/>
              <p:cNvSpPr/>
              <p:nvPr/>
            </p:nvSpPr>
            <p:spPr>
              <a:xfrm>
                <a:off x="1527318" y="4231906"/>
                <a:ext cx="41910" cy="55880"/>
              </a:xfrm>
              <a:custGeom>
                <a:avLst/>
                <a:gdLst/>
                <a:ahLst/>
                <a:cxnLst/>
                <a:rect l="l" t="t" r="r" b="b"/>
                <a:pathLst>
                  <a:path w="41909" h="55879">
                    <a:moveTo>
                      <a:pt x="41770" y="0"/>
                    </a:moveTo>
                    <a:lnTo>
                      <a:pt x="16391" y="0"/>
                    </a:lnTo>
                    <a:lnTo>
                      <a:pt x="8664" y="5207"/>
                    </a:lnTo>
                    <a:lnTo>
                      <a:pt x="2326" y="14585"/>
                    </a:lnTo>
                    <a:lnTo>
                      <a:pt x="0" y="26058"/>
                    </a:lnTo>
                    <a:lnTo>
                      <a:pt x="2326" y="37541"/>
                    </a:lnTo>
                    <a:lnTo>
                      <a:pt x="8664" y="46928"/>
                    </a:lnTo>
                    <a:lnTo>
                      <a:pt x="18055" y="53262"/>
                    </a:lnTo>
                    <a:lnTo>
                      <a:pt x="29540" y="55586"/>
                    </a:lnTo>
                    <a:lnTo>
                      <a:pt x="41770" y="55586"/>
                    </a:lnTo>
                    <a:lnTo>
                      <a:pt x="41770" y="44791"/>
                    </a:lnTo>
                    <a:lnTo>
                      <a:pt x="29540" y="44791"/>
                    </a:lnTo>
                    <a:lnTo>
                      <a:pt x="22246" y="43316"/>
                    </a:lnTo>
                    <a:lnTo>
                      <a:pt x="16292" y="39297"/>
                    </a:lnTo>
                    <a:lnTo>
                      <a:pt x="12279" y="33341"/>
                    </a:lnTo>
                    <a:lnTo>
                      <a:pt x="10807" y="26058"/>
                    </a:lnTo>
                    <a:lnTo>
                      <a:pt x="12279" y="18780"/>
                    </a:lnTo>
                    <a:lnTo>
                      <a:pt x="16292" y="12833"/>
                    </a:lnTo>
                    <a:lnTo>
                      <a:pt x="22246" y="8822"/>
                    </a:lnTo>
                    <a:lnTo>
                      <a:pt x="29540" y="7351"/>
                    </a:lnTo>
                    <a:lnTo>
                      <a:pt x="41770" y="7351"/>
                    </a:lnTo>
                    <a:lnTo>
                      <a:pt x="41770" y="0"/>
                    </a:lnTo>
                    <a:close/>
                  </a:path>
                </a:pathLst>
              </a:custGeom>
              <a:solidFill>
                <a:srgbClr val="9B9B9A"/>
              </a:solidFill>
            </p:spPr>
            <p:txBody>
              <a:bodyPr wrap="square" lIns="0" tIns="0" rIns="0" bIns="0" rtlCol="0"/>
              <a:lstStyle/>
              <a:p>
                <a:endParaRPr sz="1796"/>
              </a:p>
            </p:txBody>
          </p:sp>
          <p:sp>
            <p:nvSpPr>
              <p:cNvPr id="50" name="object 16"/>
              <p:cNvSpPr/>
              <p:nvPr/>
            </p:nvSpPr>
            <p:spPr>
              <a:xfrm>
                <a:off x="1146032" y="4231906"/>
                <a:ext cx="41910" cy="55880"/>
              </a:xfrm>
              <a:custGeom>
                <a:avLst/>
                <a:gdLst/>
                <a:ahLst/>
                <a:cxnLst/>
                <a:rect l="l" t="t" r="r" b="b"/>
                <a:pathLst>
                  <a:path w="41909" h="55879">
                    <a:moveTo>
                      <a:pt x="41770" y="0"/>
                    </a:moveTo>
                    <a:lnTo>
                      <a:pt x="16391" y="0"/>
                    </a:lnTo>
                    <a:lnTo>
                      <a:pt x="8664" y="5207"/>
                    </a:lnTo>
                    <a:lnTo>
                      <a:pt x="2326" y="14585"/>
                    </a:lnTo>
                    <a:lnTo>
                      <a:pt x="0" y="26058"/>
                    </a:lnTo>
                    <a:lnTo>
                      <a:pt x="2326" y="37541"/>
                    </a:lnTo>
                    <a:lnTo>
                      <a:pt x="8664" y="46928"/>
                    </a:lnTo>
                    <a:lnTo>
                      <a:pt x="18055" y="53262"/>
                    </a:lnTo>
                    <a:lnTo>
                      <a:pt x="29540" y="55586"/>
                    </a:lnTo>
                    <a:lnTo>
                      <a:pt x="41770" y="55586"/>
                    </a:lnTo>
                    <a:lnTo>
                      <a:pt x="41770" y="44791"/>
                    </a:lnTo>
                    <a:lnTo>
                      <a:pt x="29540" y="44791"/>
                    </a:lnTo>
                    <a:lnTo>
                      <a:pt x="22246" y="43316"/>
                    </a:lnTo>
                    <a:lnTo>
                      <a:pt x="16292" y="39297"/>
                    </a:lnTo>
                    <a:lnTo>
                      <a:pt x="12279" y="33341"/>
                    </a:lnTo>
                    <a:lnTo>
                      <a:pt x="10807" y="26058"/>
                    </a:lnTo>
                    <a:lnTo>
                      <a:pt x="12279" y="18780"/>
                    </a:lnTo>
                    <a:lnTo>
                      <a:pt x="16292" y="12833"/>
                    </a:lnTo>
                    <a:lnTo>
                      <a:pt x="22246" y="8822"/>
                    </a:lnTo>
                    <a:lnTo>
                      <a:pt x="29540" y="7351"/>
                    </a:lnTo>
                    <a:lnTo>
                      <a:pt x="41770" y="7351"/>
                    </a:lnTo>
                    <a:lnTo>
                      <a:pt x="41770" y="0"/>
                    </a:lnTo>
                    <a:close/>
                  </a:path>
                </a:pathLst>
              </a:custGeom>
              <a:solidFill>
                <a:srgbClr val="9B9B9A"/>
              </a:solidFill>
            </p:spPr>
            <p:txBody>
              <a:bodyPr wrap="square" lIns="0" tIns="0" rIns="0" bIns="0" rtlCol="0"/>
              <a:lstStyle/>
              <a:p>
                <a:endParaRPr sz="1796"/>
              </a:p>
            </p:txBody>
          </p:sp>
          <p:sp>
            <p:nvSpPr>
              <p:cNvPr id="51" name="object 17"/>
              <p:cNvSpPr/>
              <p:nvPr/>
            </p:nvSpPr>
            <p:spPr>
              <a:xfrm>
                <a:off x="764722" y="4231906"/>
                <a:ext cx="41910" cy="55880"/>
              </a:xfrm>
              <a:custGeom>
                <a:avLst/>
                <a:gdLst/>
                <a:ahLst/>
                <a:cxnLst/>
                <a:rect l="l" t="t" r="r" b="b"/>
                <a:pathLst>
                  <a:path w="41909" h="55879">
                    <a:moveTo>
                      <a:pt x="41795" y="0"/>
                    </a:moveTo>
                    <a:lnTo>
                      <a:pt x="16397" y="0"/>
                    </a:lnTo>
                    <a:lnTo>
                      <a:pt x="8669" y="5207"/>
                    </a:lnTo>
                    <a:lnTo>
                      <a:pt x="2327" y="14585"/>
                    </a:lnTo>
                    <a:lnTo>
                      <a:pt x="0" y="26058"/>
                    </a:lnTo>
                    <a:lnTo>
                      <a:pt x="2327" y="37541"/>
                    </a:lnTo>
                    <a:lnTo>
                      <a:pt x="8669" y="46928"/>
                    </a:lnTo>
                    <a:lnTo>
                      <a:pt x="18061" y="53262"/>
                    </a:lnTo>
                    <a:lnTo>
                      <a:pt x="29540" y="55586"/>
                    </a:lnTo>
                    <a:lnTo>
                      <a:pt x="41795" y="55586"/>
                    </a:lnTo>
                    <a:lnTo>
                      <a:pt x="41795" y="44791"/>
                    </a:lnTo>
                    <a:lnTo>
                      <a:pt x="29540" y="44791"/>
                    </a:lnTo>
                    <a:lnTo>
                      <a:pt x="22251" y="43316"/>
                    </a:lnTo>
                    <a:lnTo>
                      <a:pt x="16297" y="39297"/>
                    </a:lnTo>
                    <a:lnTo>
                      <a:pt x="12280" y="33341"/>
                    </a:lnTo>
                    <a:lnTo>
                      <a:pt x="10807" y="26058"/>
                    </a:lnTo>
                    <a:lnTo>
                      <a:pt x="12280" y="18780"/>
                    </a:lnTo>
                    <a:lnTo>
                      <a:pt x="16297" y="12833"/>
                    </a:lnTo>
                    <a:lnTo>
                      <a:pt x="22251" y="8822"/>
                    </a:lnTo>
                    <a:lnTo>
                      <a:pt x="29540" y="7351"/>
                    </a:lnTo>
                    <a:lnTo>
                      <a:pt x="41795" y="7351"/>
                    </a:lnTo>
                    <a:lnTo>
                      <a:pt x="41795" y="0"/>
                    </a:lnTo>
                    <a:close/>
                  </a:path>
                </a:pathLst>
              </a:custGeom>
              <a:solidFill>
                <a:srgbClr val="9B9B9A"/>
              </a:solidFill>
            </p:spPr>
            <p:txBody>
              <a:bodyPr wrap="square" lIns="0" tIns="0" rIns="0" bIns="0" rtlCol="0"/>
              <a:lstStyle/>
              <a:p>
                <a:endParaRPr sz="1796"/>
              </a:p>
            </p:txBody>
          </p:sp>
          <p:sp>
            <p:nvSpPr>
              <p:cNvPr id="52" name="object 18"/>
              <p:cNvSpPr/>
              <p:nvPr/>
            </p:nvSpPr>
            <p:spPr>
              <a:xfrm>
                <a:off x="764726" y="4607980"/>
                <a:ext cx="41910" cy="59055"/>
              </a:xfrm>
              <a:custGeom>
                <a:avLst/>
                <a:gdLst/>
                <a:ahLst/>
                <a:cxnLst/>
                <a:rect l="l" t="t" r="r" b="b"/>
                <a:pathLst>
                  <a:path w="41909" h="59054">
                    <a:moveTo>
                      <a:pt x="12255" y="0"/>
                    </a:moveTo>
                    <a:lnTo>
                      <a:pt x="0" y="0"/>
                    </a:lnTo>
                    <a:lnTo>
                      <a:pt x="0" y="10795"/>
                    </a:lnTo>
                    <a:lnTo>
                      <a:pt x="12255" y="10795"/>
                    </a:lnTo>
                    <a:lnTo>
                      <a:pt x="19534" y="12269"/>
                    </a:lnTo>
                    <a:lnTo>
                      <a:pt x="25480" y="16289"/>
                    </a:lnTo>
                    <a:lnTo>
                      <a:pt x="29491" y="22244"/>
                    </a:lnTo>
                    <a:lnTo>
                      <a:pt x="30962" y="29527"/>
                    </a:lnTo>
                    <a:lnTo>
                      <a:pt x="29491" y="36806"/>
                    </a:lnTo>
                    <a:lnTo>
                      <a:pt x="25480" y="42752"/>
                    </a:lnTo>
                    <a:lnTo>
                      <a:pt x="19534" y="46763"/>
                    </a:lnTo>
                    <a:lnTo>
                      <a:pt x="12255" y="48234"/>
                    </a:lnTo>
                    <a:lnTo>
                      <a:pt x="0" y="48234"/>
                    </a:lnTo>
                    <a:lnTo>
                      <a:pt x="0" y="59029"/>
                    </a:lnTo>
                    <a:lnTo>
                      <a:pt x="12255" y="59029"/>
                    </a:lnTo>
                    <a:lnTo>
                      <a:pt x="23739" y="56709"/>
                    </a:lnTo>
                    <a:lnTo>
                      <a:pt x="33131" y="50384"/>
                    </a:lnTo>
                    <a:lnTo>
                      <a:pt x="39469" y="41005"/>
                    </a:lnTo>
                    <a:lnTo>
                      <a:pt x="41795" y="29527"/>
                    </a:lnTo>
                    <a:lnTo>
                      <a:pt x="39469" y="18045"/>
                    </a:lnTo>
                    <a:lnTo>
                      <a:pt x="33131" y="8658"/>
                    </a:lnTo>
                    <a:lnTo>
                      <a:pt x="23739" y="2324"/>
                    </a:lnTo>
                    <a:lnTo>
                      <a:pt x="12255" y="0"/>
                    </a:lnTo>
                    <a:close/>
                  </a:path>
                </a:pathLst>
              </a:custGeom>
              <a:solidFill>
                <a:srgbClr val="9B9B9A"/>
              </a:solidFill>
            </p:spPr>
            <p:txBody>
              <a:bodyPr wrap="square" lIns="0" tIns="0" rIns="0" bIns="0" rtlCol="0"/>
              <a:lstStyle/>
              <a:p>
                <a:endParaRPr sz="1796"/>
              </a:p>
            </p:txBody>
          </p:sp>
          <p:sp>
            <p:nvSpPr>
              <p:cNvPr id="53" name="object 19"/>
              <p:cNvSpPr/>
              <p:nvPr/>
            </p:nvSpPr>
            <p:spPr>
              <a:xfrm>
                <a:off x="1146030" y="4607980"/>
                <a:ext cx="41910" cy="59055"/>
              </a:xfrm>
              <a:custGeom>
                <a:avLst/>
                <a:gdLst/>
                <a:ahLst/>
                <a:cxnLst/>
                <a:rect l="l" t="t" r="r" b="b"/>
                <a:pathLst>
                  <a:path w="41909" h="59054">
                    <a:moveTo>
                      <a:pt x="12242" y="0"/>
                    </a:moveTo>
                    <a:lnTo>
                      <a:pt x="0" y="0"/>
                    </a:lnTo>
                    <a:lnTo>
                      <a:pt x="0" y="10795"/>
                    </a:lnTo>
                    <a:lnTo>
                      <a:pt x="12242" y="10795"/>
                    </a:lnTo>
                    <a:lnTo>
                      <a:pt x="19520" y="12269"/>
                    </a:lnTo>
                    <a:lnTo>
                      <a:pt x="25476" y="16289"/>
                    </a:lnTo>
                    <a:lnTo>
                      <a:pt x="29498" y="22244"/>
                    </a:lnTo>
                    <a:lnTo>
                      <a:pt x="30975" y="29527"/>
                    </a:lnTo>
                    <a:lnTo>
                      <a:pt x="29498" y="36806"/>
                    </a:lnTo>
                    <a:lnTo>
                      <a:pt x="25476" y="42752"/>
                    </a:lnTo>
                    <a:lnTo>
                      <a:pt x="19520" y="46763"/>
                    </a:lnTo>
                    <a:lnTo>
                      <a:pt x="12242" y="48234"/>
                    </a:lnTo>
                    <a:lnTo>
                      <a:pt x="0" y="48234"/>
                    </a:lnTo>
                    <a:lnTo>
                      <a:pt x="0" y="59029"/>
                    </a:lnTo>
                    <a:lnTo>
                      <a:pt x="12242" y="59029"/>
                    </a:lnTo>
                    <a:lnTo>
                      <a:pt x="23725" y="56709"/>
                    </a:lnTo>
                    <a:lnTo>
                      <a:pt x="33112" y="50384"/>
                    </a:lnTo>
                    <a:lnTo>
                      <a:pt x="39446" y="41005"/>
                    </a:lnTo>
                    <a:lnTo>
                      <a:pt x="41770" y="29527"/>
                    </a:lnTo>
                    <a:lnTo>
                      <a:pt x="39446" y="18045"/>
                    </a:lnTo>
                    <a:lnTo>
                      <a:pt x="33112" y="8658"/>
                    </a:lnTo>
                    <a:lnTo>
                      <a:pt x="23725" y="2324"/>
                    </a:lnTo>
                    <a:lnTo>
                      <a:pt x="12242" y="0"/>
                    </a:lnTo>
                    <a:close/>
                  </a:path>
                </a:pathLst>
              </a:custGeom>
              <a:solidFill>
                <a:srgbClr val="000000"/>
              </a:solidFill>
            </p:spPr>
            <p:txBody>
              <a:bodyPr wrap="square" lIns="0" tIns="0" rIns="0" bIns="0" rtlCol="0"/>
              <a:lstStyle/>
              <a:p>
                <a:endParaRPr sz="1796"/>
              </a:p>
            </p:txBody>
          </p:sp>
          <p:sp>
            <p:nvSpPr>
              <p:cNvPr id="54" name="object 20"/>
              <p:cNvSpPr/>
              <p:nvPr/>
            </p:nvSpPr>
            <p:spPr>
              <a:xfrm>
                <a:off x="1527322" y="4607980"/>
                <a:ext cx="41910" cy="59055"/>
              </a:xfrm>
              <a:custGeom>
                <a:avLst/>
                <a:gdLst/>
                <a:ahLst/>
                <a:cxnLst/>
                <a:rect l="l" t="t" r="r" b="b"/>
                <a:pathLst>
                  <a:path w="41909" h="59054">
                    <a:moveTo>
                      <a:pt x="12242" y="0"/>
                    </a:moveTo>
                    <a:lnTo>
                      <a:pt x="0" y="0"/>
                    </a:lnTo>
                    <a:lnTo>
                      <a:pt x="0" y="10795"/>
                    </a:lnTo>
                    <a:lnTo>
                      <a:pt x="12242" y="10795"/>
                    </a:lnTo>
                    <a:lnTo>
                      <a:pt x="19531" y="12269"/>
                    </a:lnTo>
                    <a:lnTo>
                      <a:pt x="25485" y="16289"/>
                    </a:lnTo>
                    <a:lnTo>
                      <a:pt x="29502" y="22244"/>
                    </a:lnTo>
                    <a:lnTo>
                      <a:pt x="30975" y="29527"/>
                    </a:lnTo>
                    <a:lnTo>
                      <a:pt x="29502" y="36806"/>
                    </a:lnTo>
                    <a:lnTo>
                      <a:pt x="25485" y="42752"/>
                    </a:lnTo>
                    <a:lnTo>
                      <a:pt x="19531" y="46763"/>
                    </a:lnTo>
                    <a:lnTo>
                      <a:pt x="12242" y="48234"/>
                    </a:lnTo>
                    <a:lnTo>
                      <a:pt x="0" y="48234"/>
                    </a:lnTo>
                    <a:lnTo>
                      <a:pt x="0" y="59029"/>
                    </a:lnTo>
                    <a:lnTo>
                      <a:pt x="12242" y="59029"/>
                    </a:lnTo>
                    <a:lnTo>
                      <a:pt x="23730" y="56709"/>
                    </a:lnTo>
                    <a:lnTo>
                      <a:pt x="33116" y="50384"/>
                    </a:lnTo>
                    <a:lnTo>
                      <a:pt x="39447" y="41005"/>
                    </a:lnTo>
                    <a:lnTo>
                      <a:pt x="41770" y="29527"/>
                    </a:lnTo>
                    <a:lnTo>
                      <a:pt x="39447" y="18045"/>
                    </a:lnTo>
                    <a:lnTo>
                      <a:pt x="33116" y="8658"/>
                    </a:lnTo>
                    <a:lnTo>
                      <a:pt x="23730" y="2324"/>
                    </a:lnTo>
                    <a:lnTo>
                      <a:pt x="12242" y="0"/>
                    </a:lnTo>
                    <a:close/>
                  </a:path>
                </a:pathLst>
              </a:custGeom>
              <a:solidFill>
                <a:srgbClr val="000000"/>
              </a:solidFill>
            </p:spPr>
            <p:txBody>
              <a:bodyPr wrap="square" lIns="0" tIns="0" rIns="0" bIns="0" rtlCol="0"/>
              <a:lstStyle/>
              <a:p>
                <a:endParaRPr sz="1796"/>
              </a:p>
            </p:txBody>
          </p:sp>
          <p:sp>
            <p:nvSpPr>
              <p:cNvPr id="55" name="object 21"/>
              <p:cNvSpPr/>
              <p:nvPr/>
            </p:nvSpPr>
            <p:spPr>
              <a:xfrm>
                <a:off x="1908614" y="4607980"/>
                <a:ext cx="41910" cy="59055"/>
              </a:xfrm>
              <a:custGeom>
                <a:avLst/>
                <a:gdLst/>
                <a:ahLst/>
                <a:cxnLst/>
                <a:rect l="l" t="t" r="r" b="b"/>
                <a:pathLst>
                  <a:path w="41910" h="59054">
                    <a:moveTo>
                      <a:pt x="12230" y="0"/>
                    </a:moveTo>
                    <a:lnTo>
                      <a:pt x="0" y="0"/>
                    </a:lnTo>
                    <a:lnTo>
                      <a:pt x="0" y="10795"/>
                    </a:lnTo>
                    <a:lnTo>
                      <a:pt x="12230" y="10795"/>
                    </a:lnTo>
                    <a:lnTo>
                      <a:pt x="19523" y="12269"/>
                    </a:lnTo>
                    <a:lnTo>
                      <a:pt x="25477" y="16289"/>
                    </a:lnTo>
                    <a:lnTo>
                      <a:pt x="29491" y="22244"/>
                    </a:lnTo>
                    <a:lnTo>
                      <a:pt x="30962" y="29527"/>
                    </a:lnTo>
                    <a:lnTo>
                      <a:pt x="29491" y="36806"/>
                    </a:lnTo>
                    <a:lnTo>
                      <a:pt x="25477" y="42752"/>
                    </a:lnTo>
                    <a:lnTo>
                      <a:pt x="19523" y="46763"/>
                    </a:lnTo>
                    <a:lnTo>
                      <a:pt x="12230" y="48234"/>
                    </a:lnTo>
                    <a:lnTo>
                      <a:pt x="0" y="48234"/>
                    </a:lnTo>
                    <a:lnTo>
                      <a:pt x="0" y="59029"/>
                    </a:lnTo>
                    <a:lnTo>
                      <a:pt x="12230" y="59029"/>
                    </a:lnTo>
                    <a:lnTo>
                      <a:pt x="23723" y="56709"/>
                    </a:lnTo>
                    <a:lnTo>
                      <a:pt x="33108" y="50384"/>
                    </a:lnTo>
                    <a:lnTo>
                      <a:pt x="39437" y="41005"/>
                    </a:lnTo>
                    <a:lnTo>
                      <a:pt x="41757" y="29527"/>
                    </a:lnTo>
                    <a:lnTo>
                      <a:pt x="39437" y="18045"/>
                    </a:lnTo>
                    <a:lnTo>
                      <a:pt x="33108" y="8658"/>
                    </a:lnTo>
                    <a:lnTo>
                      <a:pt x="23723" y="2324"/>
                    </a:lnTo>
                    <a:lnTo>
                      <a:pt x="12230" y="0"/>
                    </a:lnTo>
                    <a:close/>
                  </a:path>
                </a:pathLst>
              </a:custGeom>
              <a:solidFill>
                <a:srgbClr val="000000"/>
              </a:solidFill>
            </p:spPr>
            <p:txBody>
              <a:bodyPr wrap="square" lIns="0" tIns="0" rIns="0" bIns="0" rtlCol="0"/>
              <a:lstStyle/>
              <a:p>
                <a:endParaRPr sz="1796"/>
              </a:p>
            </p:txBody>
          </p:sp>
          <p:sp>
            <p:nvSpPr>
              <p:cNvPr id="56" name="object 22"/>
              <p:cNvSpPr/>
              <p:nvPr/>
            </p:nvSpPr>
            <p:spPr>
              <a:xfrm>
                <a:off x="2289905" y="4607980"/>
                <a:ext cx="41910" cy="59055"/>
              </a:xfrm>
              <a:custGeom>
                <a:avLst/>
                <a:gdLst/>
                <a:ahLst/>
                <a:cxnLst/>
                <a:rect l="l" t="t" r="r" b="b"/>
                <a:pathLst>
                  <a:path w="41910" h="59054">
                    <a:moveTo>
                      <a:pt x="12230" y="0"/>
                    </a:moveTo>
                    <a:lnTo>
                      <a:pt x="0" y="0"/>
                    </a:lnTo>
                    <a:lnTo>
                      <a:pt x="0" y="10795"/>
                    </a:lnTo>
                    <a:lnTo>
                      <a:pt x="12230" y="10795"/>
                    </a:lnTo>
                    <a:lnTo>
                      <a:pt x="19518" y="12269"/>
                    </a:lnTo>
                    <a:lnTo>
                      <a:pt x="25473" y="16289"/>
                    </a:lnTo>
                    <a:lnTo>
                      <a:pt x="29489" y="22244"/>
                    </a:lnTo>
                    <a:lnTo>
                      <a:pt x="30962" y="29527"/>
                    </a:lnTo>
                    <a:lnTo>
                      <a:pt x="29489" y="36806"/>
                    </a:lnTo>
                    <a:lnTo>
                      <a:pt x="25473" y="42752"/>
                    </a:lnTo>
                    <a:lnTo>
                      <a:pt x="19518" y="46763"/>
                    </a:lnTo>
                    <a:lnTo>
                      <a:pt x="12230" y="48234"/>
                    </a:lnTo>
                    <a:lnTo>
                      <a:pt x="0" y="48234"/>
                    </a:lnTo>
                    <a:lnTo>
                      <a:pt x="0" y="59029"/>
                    </a:lnTo>
                    <a:lnTo>
                      <a:pt x="12230" y="59029"/>
                    </a:lnTo>
                    <a:lnTo>
                      <a:pt x="23727" y="56709"/>
                    </a:lnTo>
                    <a:lnTo>
                      <a:pt x="33121" y="50384"/>
                    </a:lnTo>
                    <a:lnTo>
                      <a:pt x="39458" y="41005"/>
                    </a:lnTo>
                    <a:lnTo>
                      <a:pt x="41782" y="29527"/>
                    </a:lnTo>
                    <a:lnTo>
                      <a:pt x="39458" y="18045"/>
                    </a:lnTo>
                    <a:lnTo>
                      <a:pt x="33121" y="8658"/>
                    </a:lnTo>
                    <a:lnTo>
                      <a:pt x="23727" y="2324"/>
                    </a:lnTo>
                    <a:lnTo>
                      <a:pt x="12230" y="0"/>
                    </a:lnTo>
                    <a:close/>
                  </a:path>
                </a:pathLst>
              </a:custGeom>
              <a:solidFill>
                <a:srgbClr val="9B9B9A"/>
              </a:solidFill>
            </p:spPr>
            <p:txBody>
              <a:bodyPr wrap="square" lIns="0" tIns="0" rIns="0" bIns="0" rtlCol="0"/>
              <a:lstStyle/>
              <a:p>
                <a:endParaRPr sz="1796"/>
              </a:p>
            </p:txBody>
          </p:sp>
          <p:sp>
            <p:nvSpPr>
              <p:cNvPr id="57" name="object 23"/>
              <p:cNvSpPr/>
              <p:nvPr/>
            </p:nvSpPr>
            <p:spPr>
              <a:xfrm>
                <a:off x="2671183" y="4607980"/>
                <a:ext cx="41910" cy="59055"/>
              </a:xfrm>
              <a:custGeom>
                <a:avLst/>
                <a:gdLst/>
                <a:ahLst/>
                <a:cxnLst/>
                <a:rect l="l" t="t" r="r" b="b"/>
                <a:pathLst>
                  <a:path w="41910" h="59054">
                    <a:moveTo>
                      <a:pt x="12268" y="0"/>
                    </a:moveTo>
                    <a:lnTo>
                      <a:pt x="0" y="0"/>
                    </a:lnTo>
                    <a:lnTo>
                      <a:pt x="0" y="10795"/>
                    </a:lnTo>
                    <a:lnTo>
                      <a:pt x="12268" y="10795"/>
                    </a:lnTo>
                    <a:lnTo>
                      <a:pt x="19545" y="12269"/>
                    </a:lnTo>
                    <a:lnTo>
                      <a:pt x="25501" y="16289"/>
                    </a:lnTo>
                    <a:lnTo>
                      <a:pt x="29523" y="22244"/>
                    </a:lnTo>
                    <a:lnTo>
                      <a:pt x="31000" y="29527"/>
                    </a:lnTo>
                    <a:lnTo>
                      <a:pt x="29523" y="36806"/>
                    </a:lnTo>
                    <a:lnTo>
                      <a:pt x="25501" y="42752"/>
                    </a:lnTo>
                    <a:lnTo>
                      <a:pt x="19545" y="46763"/>
                    </a:lnTo>
                    <a:lnTo>
                      <a:pt x="12268" y="48234"/>
                    </a:lnTo>
                    <a:lnTo>
                      <a:pt x="0" y="48234"/>
                    </a:lnTo>
                    <a:lnTo>
                      <a:pt x="0" y="59029"/>
                    </a:lnTo>
                    <a:lnTo>
                      <a:pt x="12268" y="59029"/>
                    </a:lnTo>
                    <a:lnTo>
                      <a:pt x="23750" y="56709"/>
                    </a:lnTo>
                    <a:lnTo>
                      <a:pt x="33137" y="50384"/>
                    </a:lnTo>
                    <a:lnTo>
                      <a:pt x="39471" y="41005"/>
                    </a:lnTo>
                    <a:lnTo>
                      <a:pt x="41795" y="29527"/>
                    </a:lnTo>
                    <a:lnTo>
                      <a:pt x="39471" y="18045"/>
                    </a:lnTo>
                    <a:lnTo>
                      <a:pt x="33137" y="8658"/>
                    </a:lnTo>
                    <a:lnTo>
                      <a:pt x="23750" y="2324"/>
                    </a:lnTo>
                    <a:lnTo>
                      <a:pt x="12268" y="0"/>
                    </a:lnTo>
                    <a:close/>
                  </a:path>
                </a:pathLst>
              </a:custGeom>
              <a:solidFill>
                <a:srgbClr val="9B9B9A"/>
              </a:solidFill>
            </p:spPr>
            <p:txBody>
              <a:bodyPr wrap="square" lIns="0" tIns="0" rIns="0" bIns="0" rtlCol="0"/>
              <a:lstStyle/>
              <a:p>
                <a:endParaRPr sz="1796"/>
              </a:p>
            </p:txBody>
          </p:sp>
          <p:sp>
            <p:nvSpPr>
              <p:cNvPr id="58" name="object 24"/>
              <p:cNvSpPr/>
              <p:nvPr/>
            </p:nvSpPr>
            <p:spPr>
              <a:xfrm>
                <a:off x="3052500" y="4607980"/>
                <a:ext cx="41910" cy="59055"/>
              </a:xfrm>
              <a:custGeom>
                <a:avLst/>
                <a:gdLst/>
                <a:ahLst/>
                <a:cxnLst/>
                <a:rect l="l" t="t" r="r" b="b"/>
                <a:pathLst>
                  <a:path w="41910" h="59054">
                    <a:moveTo>
                      <a:pt x="12230" y="0"/>
                    </a:moveTo>
                    <a:lnTo>
                      <a:pt x="0" y="0"/>
                    </a:lnTo>
                    <a:lnTo>
                      <a:pt x="0" y="10795"/>
                    </a:lnTo>
                    <a:lnTo>
                      <a:pt x="12230" y="10795"/>
                    </a:lnTo>
                    <a:lnTo>
                      <a:pt x="19512" y="12269"/>
                    </a:lnTo>
                    <a:lnTo>
                      <a:pt x="25468" y="16289"/>
                    </a:lnTo>
                    <a:lnTo>
                      <a:pt x="29487" y="22244"/>
                    </a:lnTo>
                    <a:lnTo>
                      <a:pt x="30962" y="29527"/>
                    </a:lnTo>
                    <a:lnTo>
                      <a:pt x="29487" y="36806"/>
                    </a:lnTo>
                    <a:lnTo>
                      <a:pt x="25468" y="42752"/>
                    </a:lnTo>
                    <a:lnTo>
                      <a:pt x="19512" y="46763"/>
                    </a:lnTo>
                    <a:lnTo>
                      <a:pt x="12230" y="48234"/>
                    </a:lnTo>
                    <a:lnTo>
                      <a:pt x="0" y="48234"/>
                    </a:lnTo>
                    <a:lnTo>
                      <a:pt x="0" y="59029"/>
                    </a:lnTo>
                    <a:lnTo>
                      <a:pt x="12230" y="59029"/>
                    </a:lnTo>
                    <a:lnTo>
                      <a:pt x="23714" y="56709"/>
                    </a:lnTo>
                    <a:lnTo>
                      <a:pt x="33105" y="50384"/>
                    </a:lnTo>
                    <a:lnTo>
                      <a:pt x="39444" y="41005"/>
                    </a:lnTo>
                    <a:lnTo>
                      <a:pt x="41770" y="29527"/>
                    </a:lnTo>
                    <a:lnTo>
                      <a:pt x="39444" y="18045"/>
                    </a:lnTo>
                    <a:lnTo>
                      <a:pt x="33105" y="8658"/>
                    </a:lnTo>
                    <a:lnTo>
                      <a:pt x="23714" y="2324"/>
                    </a:lnTo>
                    <a:lnTo>
                      <a:pt x="12230" y="0"/>
                    </a:lnTo>
                    <a:close/>
                  </a:path>
                </a:pathLst>
              </a:custGeom>
              <a:solidFill>
                <a:srgbClr val="9B9B9A"/>
              </a:solidFill>
            </p:spPr>
            <p:txBody>
              <a:bodyPr wrap="square" lIns="0" tIns="0" rIns="0" bIns="0" rtlCol="0"/>
              <a:lstStyle/>
              <a:p>
                <a:endParaRPr sz="1796"/>
              </a:p>
            </p:txBody>
          </p:sp>
          <p:sp>
            <p:nvSpPr>
              <p:cNvPr id="59" name="object 25"/>
              <p:cNvSpPr/>
              <p:nvPr/>
            </p:nvSpPr>
            <p:spPr>
              <a:xfrm>
                <a:off x="3433791" y="4607980"/>
                <a:ext cx="41910" cy="59055"/>
              </a:xfrm>
              <a:custGeom>
                <a:avLst/>
                <a:gdLst/>
                <a:ahLst/>
                <a:cxnLst/>
                <a:rect l="l" t="t" r="r" b="b"/>
                <a:pathLst>
                  <a:path w="41910" h="59054">
                    <a:moveTo>
                      <a:pt x="12230" y="0"/>
                    </a:moveTo>
                    <a:lnTo>
                      <a:pt x="0" y="0"/>
                    </a:lnTo>
                    <a:lnTo>
                      <a:pt x="0" y="10795"/>
                    </a:lnTo>
                    <a:lnTo>
                      <a:pt x="12230" y="10795"/>
                    </a:lnTo>
                    <a:lnTo>
                      <a:pt x="19523" y="12269"/>
                    </a:lnTo>
                    <a:lnTo>
                      <a:pt x="25477" y="16289"/>
                    </a:lnTo>
                    <a:lnTo>
                      <a:pt x="29491" y="22244"/>
                    </a:lnTo>
                    <a:lnTo>
                      <a:pt x="30962" y="29527"/>
                    </a:lnTo>
                    <a:lnTo>
                      <a:pt x="29491" y="36806"/>
                    </a:lnTo>
                    <a:lnTo>
                      <a:pt x="25477" y="42752"/>
                    </a:lnTo>
                    <a:lnTo>
                      <a:pt x="19523" y="46763"/>
                    </a:lnTo>
                    <a:lnTo>
                      <a:pt x="12230" y="48234"/>
                    </a:lnTo>
                    <a:lnTo>
                      <a:pt x="0" y="48234"/>
                    </a:lnTo>
                    <a:lnTo>
                      <a:pt x="0" y="59029"/>
                    </a:lnTo>
                    <a:lnTo>
                      <a:pt x="12230" y="59029"/>
                    </a:lnTo>
                    <a:lnTo>
                      <a:pt x="23723" y="56709"/>
                    </a:lnTo>
                    <a:lnTo>
                      <a:pt x="33108" y="50384"/>
                    </a:lnTo>
                    <a:lnTo>
                      <a:pt x="39437" y="41005"/>
                    </a:lnTo>
                    <a:lnTo>
                      <a:pt x="41757" y="29527"/>
                    </a:lnTo>
                    <a:lnTo>
                      <a:pt x="39437" y="18045"/>
                    </a:lnTo>
                    <a:lnTo>
                      <a:pt x="33108" y="8658"/>
                    </a:lnTo>
                    <a:lnTo>
                      <a:pt x="23723" y="2324"/>
                    </a:lnTo>
                    <a:lnTo>
                      <a:pt x="12230" y="0"/>
                    </a:lnTo>
                    <a:close/>
                  </a:path>
                </a:pathLst>
              </a:custGeom>
              <a:solidFill>
                <a:srgbClr val="9B9B9A"/>
              </a:solidFill>
            </p:spPr>
            <p:txBody>
              <a:bodyPr wrap="square" lIns="0" tIns="0" rIns="0" bIns="0" rtlCol="0"/>
              <a:lstStyle/>
              <a:p>
                <a:endParaRPr sz="1796"/>
              </a:p>
            </p:txBody>
          </p:sp>
          <p:sp>
            <p:nvSpPr>
              <p:cNvPr id="60" name="object 26"/>
              <p:cNvSpPr/>
              <p:nvPr/>
            </p:nvSpPr>
            <p:spPr>
              <a:xfrm>
                <a:off x="3815071" y="4607980"/>
                <a:ext cx="41910" cy="59055"/>
              </a:xfrm>
              <a:custGeom>
                <a:avLst/>
                <a:gdLst/>
                <a:ahLst/>
                <a:cxnLst/>
                <a:rect l="l" t="t" r="r" b="b"/>
                <a:pathLst>
                  <a:path w="41910" h="59054">
                    <a:moveTo>
                      <a:pt x="12242" y="0"/>
                    </a:moveTo>
                    <a:lnTo>
                      <a:pt x="0" y="0"/>
                    </a:lnTo>
                    <a:lnTo>
                      <a:pt x="0" y="10795"/>
                    </a:lnTo>
                    <a:lnTo>
                      <a:pt x="12242" y="10795"/>
                    </a:lnTo>
                    <a:lnTo>
                      <a:pt x="19531" y="12269"/>
                    </a:lnTo>
                    <a:lnTo>
                      <a:pt x="25485" y="16289"/>
                    </a:lnTo>
                    <a:lnTo>
                      <a:pt x="29502" y="22244"/>
                    </a:lnTo>
                    <a:lnTo>
                      <a:pt x="30975" y="29527"/>
                    </a:lnTo>
                    <a:lnTo>
                      <a:pt x="29502" y="36806"/>
                    </a:lnTo>
                    <a:lnTo>
                      <a:pt x="25485" y="42752"/>
                    </a:lnTo>
                    <a:lnTo>
                      <a:pt x="19531" y="46763"/>
                    </a:lnTo>
                    <a:lnTo>
                      <a:pt x="12242" y="48234"/>
                    </a:lnTo>
                    <a:lnTo>
                      <a:pt x="0" y="48234"/>
                    </a:lnTo>
                    <a:lnTo>
                      <a:pt x="0" y="59029"/>
                    </a:lnTo>
                    <a:lnTo>
                      <a:pt x="12242" y="59029"/>
                    </a:lnTo>
                    <a:lnTo>
                      <a:pt x="23735" y="56709"/>
                    </a:lnTo>
                    <a:lnTo>
                      <a:pt x="33121" y="50384"/>
                    </a:lnTo>
                    <a:lnTo>
                      <a:pt x="39449" y="41005"/>
                    </a:lnTo>
                    <a:lnTo>
                      <a:pt x="41770" y="29527"/>
                    </a:lnTo>
                    <a:lnTo>
                      <a:pt x="39449" y="18045"/>
                    </a:lnTo>
                    <a:lnTo>
                      <a:pt x="33121" y="8658"/>
                    </a:lnTo>
                    <a:lnTo>
                      <a:pt x="23735" y="2324"/>
                    </a:lnTo>
                    <a:lnTo>
                      <a:pt x="12242" y="0"/>
                    </a:lnTo>
                    <a:close/>
                  </a:path>
                </a:pathLst>
              </a:custGeom>
              <a:solidFill>
                <a:srgbClr val="9B9B9A"/>
              </a:solidFill>
            </p:spPr>
            <p:txBody>
              <a:bodyPr wrap="square" lIns="0" tIns="0" rIns="0" bIns="0" rtlCol="0"/>
              <a:lstStyle/>
              <a:p>
                <a:endParaRPr sz="1796"/>
              </a:p>
            </p:txBody>
          </p:sp>
          <p:sp>
            <p:nvSpPr>
              <p:cNvPr id="61" name="object 27"/>
              <p:cNvSpPr/>
              <p:nvPr/>
            </p:nvSpPr>
            <p:spPr>
              <a:xfrm>
                <a:off x="4196362" y="4607980"/>
                <a:ext cx="41910" cy="59055"/>
              </a:xfrm>
              <a:custGeom>
                <a:avLst/>
                <a:gdLst/>
                <a:ahLst/>
                <a:cxnLst/>
                <a:rect l="l" t="t" r="r" b="b"/>
                <a:pathLst>
                  <a:path w="41910" h="59054">
                    <a:moveTo>
                      <a:pt x="12268" y="0"/>
                    </a:moveTo>
                    <a:lnTo>
                      <a:pt x="0" y="0"/>
                    </a:lnTo>
                    <a:lnTo>
                      <a:pt x="0" y="10795"/>
                    </a:lnTo>
                    <a:lnTo>
                      <a:pt x="12268" y="10795"/>
                    </a:lnTo>
                    <a:lnTo>
                      <a:pt x="19545" y="12269"/>
                    </a:lnTo>
                    <a:lnTo>
                      <a:pt x="25501" y="16289"/>
                    </a:lnTo>
                    <a:lnTo>
                      <a:pt x="29523" y="22244"/>
                    </a:lnTo>
                    <a:lnTo>
                      <a:pt x="31000" y="29527"/>
                    </a:lnTo>
                    <a:lnTo>
                      <a:pt x="29523" y="36806"/>
                    </a:lnTo>
                    <a:lnTo>
                      <a:pt x="25501" y="42752"/>
                    </a:lnTo>
                    <a:lnTo>
                      <a:pt x="19545" y="46763"/>
                    </a:lnTo>
                    <a:lnTo>
                      <a:pt x="12268" y="48234"/>
                    </a:lnTo>
                    <a:lnTo>
                      <a:pt x="0" y="48234"/>
                    </a:lnTo>
                    <a:lnTo>
                      <a:pt x="0" y="59029"/>
                    </a:lnTo>
                    <a:lnTo>
                      <a:pt x="12268" y="59029"/>
                    </a:lnTo>
                    <a:lnTo>
                      <a:pt x="23745" y="56709"/>
                    </a:lnTo>
                    <a:lnTo>
                      <a:pt x="33132" y="50384"/>
                    </a:lnTo>
                    <a:lnTo>
                      <a:pt x="39469" y="41005"/>
                    </a:lnTo>
                    <a:lnTo>
                      <a:pt x="41795" y="29527"/>
                    </a:lnTo>
                    <a:lnTo>
                      <a:pt x="39469" y="18045"/>
                    </a:lnTo>
                    <a:lnTo>
                      <a:pt x="33132" y="8658"/>
                    </a:lnTo>
                    <a:lnTo>
                      <a:pt x="23745" y="2324"/>
                    </a:lnTo>
                    <a:lnTo>
                      <a:pt x="12268" y="0"/>
                    </a:lnTo>
                    <a:close/>
                  </a:path>
                </a:pathLst>
              </a:custGeom>
              <a:solidFill>
                <a:srgbClr val="9B9B9A"/>
              </a:solidFill>
            </p:spPr>
            <p:txBody>
              <a:bodyPr wrap="square" lIns="0" tIns="0" rIns="0" bIns="0" rtlCol="0"/>
              <a:lstStyle/>
              <a:p>
                <a:endParaRPr sz="1796"/>
              </a:p>
            </p:txBody>
          </p:sp>
          <p:sp>
            <p:nvSpPr>
              <p:cNvPr id="62" name="object 28"/>
              <p:cNvSpPr/>
              <p:nvPr/>
            </p:nvSpPr>
            <p:spPr>
              <a:xfrm>
                <a:off x="4577679" y="4607980"/>
                <a:ext cx="41910" cy="59055"/>
              </a:xfrm>
              <a:custGeom>
                <a:avLst/>
                <a:gdLst/>
                <a:ahLst/>
                <a:cxnLst/>
                <a:rect l="l" t="t" r="r" b="b"/>
                <a:pathLst>
                  <a:path w="41910" h="59054">
                    <a:moveTo>
                      <a:pt x="12230" y="0"/>
                    </a:moveTo>
                    <a:lnTo>
                      <a:pt x="0" y="0"/>
                    </a:lnTo>
                    <a:lnTo>
                      <a:pt x="0" y="10795"/>
                    </a:lnTo>
                    <a:lnTo>
                      <a:pt x="12230" y="10795"/>
                    </a:lnTo>
                    <a:lnTo>
                      <a:pt x="19512" y="12269"/>
                    </a:lnTo>
                    <a:lnTo>
                      <a:pt x="25468" y="16289"/>
                    </a:lnTo>
                    <a:lnTo>
                      <a:pt x="29487" y="22244"/>
                    </a:lnTo>
                    <a:lnTo>
                      <a:pt x="30962" y="29527"/>
                    </a:lnTo>
                    <a:lnTo>
                      <a:pt x="29487" y="36806"/>
                    </a:lnTo>
                    <a:lnTo>
                      <a:pt x="25468" y="42752"/>
                    </a:lnTo>
                    <a:lnTo>
                      <a:pt x="19512" y="46763"/>
                    </a:lnTo>
                    <a:lnTo>
                      <a:pt x="12230" y="48234"/>
                    </a:lnTo>
                    <a:lnTo>
                      <a:pt x="0" y="48234"/>
                    </a:lnTo>
                    <a:lnTo>
                      <a:pt x="0" y="59029"/>
                    </a:lnTo>
                    <a:lnTo>
                      <a:pt x="12230" y="59029"/>
                    </a:lnTo>
                    <a:lnTo>
                      <a:pt x="23714" y="56709"/>
                    </a:lnTo>
                    <a:lnTo>
                      <a:pt x="33105" y="50384"/>
                    </a:lnTo>
                    <a:lnTo>
                      <a:pt x="39444" y="41005"/>
                    </a:lnTo>
                    <a:lnTo>
                      <a:pt x="41770" y="29527"/>
                    </a:lnTo>
                    <a:lnTo>
                      <a:pt x="39444" y="18045"/>
                    </a:lnTo>
                    <a:lnTo>
                      <a:pt x="33105" y="8658"/>
                    </a:lnTo>
                    <a:lnTo>
                      <a:pt x="23714" y="2324"/>
                    </a:lnTo>
                    <a:lnTo>
                      <a:pt x="12230" y="0"/>
                    </a:lnTo>
                    <a:close/>
                  </a:path>
                </a:pathLst>
              </a:custGeom>
              <a:solidFill>
                <a:srgbClr val="9B9B9A"/>
              </a:solidFill>
            </p:spPr>
            <p:txBody>
              <a:bodyPr wrap="square" lIns="0" tIns="0" rIns="0" bIns="0" rtlCol="0"/>
              <a:lstStyle/>
              <a:p>
                <a:endParaRPr sz="1796"/>
              </a:p>
            </p:txBody>
          </p:sp>
          <p:sp>
            <p:nvSpPr>
              <p:cNvPr id="63" name="object 29"/>
              <p:cNvSpPr/>
              <p:nvPr/>
            </p:nvSpPr>
            <p:spPr>
              <a:xfrm>
                <a:off x="4958957" y="4607980"/>
                <a:ext cx="41910" cy="59055"/>
              </a:xfrm>
              <a:custGeom>
                <a:avLst/>
                <a:gdLst/>
                <a:ahLst/>
                <a:cxnLst/>
                <a:rect l="l" t="t" r="r" b="b"/>
                <a:pathLst>
                  <a:path w="41910" h="59054">
                    <a:moveTo>
                      <a:pt x="12242" y="0"/>
                    </a:moveTo>
                    <a:lnTo>
                      <a:pt x="0" y="0"/>
                    </a:lnTo>
                    <a:lnTo>
                      <a:pt x="0" y="10795"/>
                    </a:lnTo>
                    <a:lnTo>
                      <a:pt x="12242" y="10795"/>
                    </a:lnTo>
                    <a:lnTo>
                      <a:pt x="19531" y="12269"/>
                    </a:lnTo>
                    <a:lnTo>
                      <a:pt x="25485" y="16289"/>
                    </a:lnTo>
                    <a:lnTo>
                      <a:pt x="29502" y="22244"/>
                    </a:lnTo>
                    <a:lnTo>
                      <a:pt x="30975" y="29527"/>
                    </a:lnTo>
                    <a:lnTo>
                      <a:pt x="29502" y="36806"/>
                    </a:lnTo>
                    <a:lnTo>
                      <a:pt x="25485" y="42752"/>
                    </a:lnTo>
                    <a:lnTo>
                      <a:pt x="19531" y="46763"/>
                    </a:lnTo>
                    <a:lnTo>
                      <a:pt x="12242" y="48234"/>
                    </a:lnTo>
                    <a:lnTo>
                      <a:pt x="0" y="48234"/>
                    </a:lnTo>
                    <a:lnTo>
                      <a:pt x="0" y="59029"/>
                    </a:lnTo>
                    <a:lnTo>
                      <a:pt x="12242" y="59029"/>
                    </a:lnTo>
                    <a:lnTo>
                      <a:pt x="23725" y="56709"/>
                    </a:lnTo>
                    <a:lnTo>
                      <a:pt x="33112" y="50384"/>
                    </a:lnTo>
                    <a:lnTo>
                      <a:pt x="39446" y="41005"/>
                    </a:lnTo>
                    <a:lnTo>
                      <a:pt x="41770" y="29527"/>
                    </a:lnTo>
                    <a:lnTo>
                      <a:pt x="39446" y="18045"/>
                    </a:lnTo>
                    <a:lnTo>
                      <a:pt x="33112" y="8658"/>
                    </a:lnTo>
                    <a:lnTo>
                      <a:pt x="23725" y="2324"/>
                    </a:lnTo>
                    <a:lnTo>
                      <a:pt x="12242" y="0"/>
                    </a:lnTo>
                    <a:close/>
                  </a:path>
                </a:pathLst>
              </a:custGeom>
              <a:solidFill>
                <a:srgbClr val="9B9B9A"/>
              </a:solidFill>
            </p:spPr>
            <p:txBody>
              <a:bodyPr wrap="square" lIns="0" tIns="0" rIns="0" bIns="0" rtlCol="0"/>
              <a:lstStyle/>
              <a:p>
                <a:endParaRPr sz="1796"/>
              </a:p>
            </p:txBody>
          </p:sp>
        </p:grpSp>
        <p:sp>
          <p:nvSpPr>
            <p:cNvPr id="66" name="object 6"/>
            <p:cNvSpPr/>
            <p:nvPr/>
          </p:nvSpPr>
          <p:spPr>
            <a:xfrm>
              <a:off x="6102837" y="4231906"/>
              <a:ext cx="41910" cy="55880"/>
            </a:xfrm>
            <a:custGeom>
              <a:avLst/>
              <a:gdLst/>
              <a:ahLst/>
              <a:cxnLst/>
              <a:rect l="l" t="t" r="r" b="b"/>
              <a:pathLst>
                <a:path w="41910" h="55879">
                  <a:moveTo>
                    <a:pt x="41770" y="0"/>
                  </a:moveTo>
                  <a:lnTo>
                    <a:pt x="16391" y="0"/>
                  </a:lnTo>
                  <a:lnTo>
                    <a:pt x="8664" y="5207"/>
                  </a:lnTo>
                  <a:lnTo>
                    <a:pt x="2326" y="14585"/>
                  </a:lnTo>
                  <a:lnTo>
                    <a:pt x="0" y="26058"/>
                  </a:lnTo>
                  <a:lnTo>
                    <a:pt x="2326" y="37541"/>
                  </a:lnTo>
                  <a:lnTo>
                    <a:pt x="8664" y="46928"/>
                  </a:lnTo>
                  <a:lnTo>
                    <a:pt x="18055" y="53262"/>
                  </a:lnTo>
                  <a:lnTo>
                    <a:pt x="29540" y="55586"/>
                  </a:lnTo>
                  <a:lnTo>
                    <a:pt x="41770" y="55586"/>
                  </a:lnTo>
                  <a:lnTo>
                    <a:pt x="41770" y="44791"/>
                  </a:lnTo>
                  <a:lnTo>
                    <a:pt x="29540" y="44791"/>
                  </a:lnTo>
                  <a:lnTo>
                    <a:pt x="22251" y="43316"/>
                  </a:lnTo>
                  <a:lnTo>
                    <a:pt x="16297" y="39297"/>
                  </a:lnTo>
                  <a:lnTo>
                    <a:pt x="12280" y="33341"/>
                  </a:lnTo>
                  <a:lnTo>
                    <a:pt x="10807" y="26058"/>
                  </a:lnTo>
                  <a:lnTo>
                    <a:pt x="12280" y="18780"/>
                  </a:lnTo>
                  <a:lnTo>
                    <a:pt x="16297" y="12833"/>
                  </a:lnTo>
                  <a:lnTo>
                    <a:pt x="22251" y="8822"/>
                  </a:lnTo>
                  <a:lnTo>
                    <a:pt x="29540" y="7351"/>
                  </a:lnTo>
                  <a:lnTo>
                    <a:pt x="41770" y="7351"/>
                  </a:lnTo>
                  <a:lnTo>
                    <a:pt x="41770" y="0"/>
                  </a:lnTo>
                  <a:close/>
                </a:path>
              </a:pathLst>
            </a:custGeom>
            <a:solidFill>
              <a:srgbClr val="9B9B9A"/>
            </a:solidFill>
          </p:spPr>
          <p:txBody>
            <a:bodyPr wrap="square" lIns="0" tIns="0" rIns="0" bIns="0" rtlCol="0"/>
            <a:lstStyle/>
            <a:p>
              <a:endParaRPr sz="1796"/>
            </a:p>
          </p:txBody>
        </p:sp>
        <p:sp>
          <p:nvSpPr>
            <p:cNvPr id="67" name="object 7"/>
            <p:cNvSpPr/>
            <p:nvPr/>
          </p:nvSpPr>
          <p:spPr>
            <a:xfrm>
              <a:off x="5721551" y="4231906"/>
              <a:ext cx="41910" cy="55880"/>
            </a:xfrm>
            <a:custGeom>
              <a:avLst/>
              <a:gdLst/>
              <a:ahLst/>
              <a:cxnLst/>
              <a:rect l="l" t="t" r="r" b="b"/>
              <a:pathLst>
                <a:path w="41910" h="55879">
                  <a:moveTo>
                    <a:pt x="41770" y="0"/>
                  </a:moveTo>
                  <a:lnTo>
                    <a:pt x="16376" y="0"/>
                  </a:lnTo>
                  <a:lnTo>
                    <a:pt x="8653" y="5207"/>
                  </a:lnTo>
                  <a:lnTo>
                    <a:pt x="2322" y="14585"/>
                  </a:lnTo>
                  <a:lnTo>
                    <a:pt x="0" y="26058"/>
                  </a:lnTo>
                  <a:lnTo>
                    <a:pt x="2322" y="37541"/>
                  </a:lnTo>
                  <a:lnTo>
                    <a:pt x="8653" y="46928"/>
                  </a:lnTo>
                  <a:lnTo>
                    <a:pt x="18039" y="53262"/>
                  </a:lnTo>
                  <a:lnTo>
                    <a:pt x="29527" y="55586"/>
                  </a:lnTo>
                  <a:lnTo>
                    <a:pt x="41770" y="55586"/>
                  </a:lnTo>
                  <a:lnTo>
                    <a:pt x="41770" y="44791"/>
                  </a:lnTo>
                  <a:lnTo>
                    <a:pt x="29527" y="44791"/>
                  </a:lnTo>
                  <a:lnTo>
                    <a:pt x="22233" y="43316"/>
                  </a:lnTo>
                  <a:lnTo>
                    <a:pt x="16279" y="39297"/>
                  </a:lnTo>
                  <a:lnTo>
                    <a:pt x="12266" y="33341"/>
                  </a:lnTo>
                  <a:lnTo>
                    <a:pt x="10794" y="26058"/>
                  </a:lnTo>
                  <a:lnTo>
                    <a:pt x="12266" y="18780"/>
                  </a:lnTo>
                  <a:lnTo>
                    <a:pt x="16279" y="12833"/>
                  </a:lnTo>
                  <a:lnTo>
                    <a:pt x="22233" y="8822"/>
                  </a:lnTo>
                  <a:lnTo>
                    <a:pt x="29527" y="7351"/>
                  </a:lnTo>
                  <a:lnTo>
                    <a:pt x="41770" y="7351"/>
                  </a:lnTo>
                  <a:lnTo>
                    <a:pt x="41770" y="0"/>
                  </a:lnTo>
                  <a:close/>
                </a:path>
              </a:pathLst>
            </a:custGeom>
            <a:solidFill>
              <a:srgbClr val="9B9B9A"/>
            </a:solidFill>
          </p:spPr>
          <p:txBody>
            <a:bodyPr wrap="square" lIns="0" tIns="0" rIns="0" bIns="0" rtlCol="0"/>
            <a:lstStyle/>
            <a:p>
              <a:endParaRPr sz="1796"/>
            </a:p>
          </p:txBody>
        </p:sp>
        <p:sp>
          <p:nvSpPr>
            <p:cNvPr id="68" name="object 8"/>
            <p:cNvSpPr/>
            <p:nvPr/>
          </p:nvSpPr>
          <p:spPr>
            <a:xfrm>
              <a:off x="5340235" y="4231906"/>
              <a:ext cx="41910" cy="55880"/>
            </a:xfrm>
            <a:custGeom>
              <a:avLst/>
              <a:gdLst/>
              <a:ahLst/>
              <a:cxnLst/>
              <a:rect l="l" t="t" r="r" b="b"/>
              <a:pathLst>
                <a:path w="41910" h="55879">
                  <a:moveTo>
                    <a:pt x="41795" y="0"/>
                  </a:moveTo>
                  <a:lnTo>
                    <a:pt x="16396" y="0"/>
                  </a:lnTo>
                  <a:lnTo>
                    <a:pt x="8666" y="5207"/>
                  </a:lnTo>
                  <a:lnTo>
                    <a:pt x="2326" y="14585"/>
                  </a:lnTo>
                  <a:lnTo>
                    <a:pt x="0" y="26058"/>
                  </a:lnTo>
                  <a:lnTo>
                    <a:pt x="2326" y="37541"/>
                  </a:lnTo>
                  <a:lnTo>
                    <a:pt x="8666" y="46928"/>
                  </a:lnTo>
                  <a:lnTo>
                    <a:pt x="18061" y="53262"/>
                  </a:lnTo>
                  <a:lnTo>
                    <a:pt x="29552" y="55586"/>
                  </a:lnTo>
                  <a:lnTo>
                    <a:pt x="41795" y="55586"/>
                  </a:lnTo>
                  <a:lnTo>
                    <a:pt x="41795" y="44791"/>
                  </a:lnTo>
                  <a:lnTo>
                    <a:pt x="29552" y="44791"/>
                  </a:lnTo>
                  <a:lnTo>
                    <a:pt x="22264" y="43316"/>
                  </a:lnTo>
                  <a:lnTo>
                    <a:pt x="16309" y="39297"/>
                  </a:lnTo>
                  <a:lnTo>
                    <a:pt x="12293" y="33341"/>
                  </a:lnTo>
                  <a:lnTo>
                    <a:pt x="10820" y="26058"/>
                  </a:lnTo>
                  <a:lnTo>
                    <a:pt x="12293" y="18780"/>
                  </a:lnTo>
                  <a:lnTo>
                    <a:pt x="16309" y="12833"/>
                  </a:lnTo>
                  <a:lnTo>
                    <a:pt x="22264" y="8822"/>
                  </a:lnTo>
                  <a:lnTo>
                    <a:pt x="29552" y="7351"/>
                  </a:lnTo>
                  <a:lnTo>
                    <a:pt x="41795" y="7351"/>
                  </a:lnTo>
                  <a:lnTo>
                    <a:pt x="41795" y="0"/>
                  </a:lnTo>
                  <a:close/>
                </a:path>
              </a:pathLst>
            </a:custGeom>
            <a:solidFill>
              <a:srgbClr val="9B9B9A"/>
            </a:solidFill>
          </p:spPr>
          <p:txBody>
            <a:bodyPr wrap="square" lIns="0" tIns="0" rIns="0" bIns="0" rtlCol="0"/>
            <a:lstStyle/>
            <a:p>
              <a:endParaRPr sz="1796"/>
            </a:p>
          </p:txBody>
        </p:sp>
        <p:sp>
          <p:nvSpPr>
            <p:cNvPr id="69" name="object 27"/>
            <p:cNvSpPr/>
            <p:nvPr/>
          </p:nvSpPr>
          <p:spPr>
            <a:xfrm>
              <a:off x="5340239" y="4607980"/>
              <a:ext cx="41910" cy="59055"/>
            </a:xfrm>
            <a:custGeom>
              <a:avLst/>
              <a:gdLst/>
              <a:ahLst/>
              <a:cxnLst/>
              <a:rect l="l" t="t" r="r" b="b"/>
              <a:pathLst>
                <a:path w="41910" h="59054">
                  <a:moveTo>
                    <a:pt x="12268" y="0"/>
                  </a:moveTo>
                  <a:lnTo>
                    <a:pt x="0" y="0"/>
                  </a:lnTo>
                  <a:lnTo>
                    <a:pt x="0" y="10795"/>
                  </a:lnTo>
                  <a:lnTo>
                    <a:pt x="12268" y="10795"/>
                  </a:lnTo>
                  <a:lnTo>
                    <a:pt x="19545" y="12269"/>
                  </a:lnTo>
                  <a:lnTo>
                    <a:pt x="25501" y="16289"/>
                  </a:lnTo>
                  <a:lnTo>
                    <a:pt x="29523" y="22244"/>
                  </a:lnTo>
                  <a:lnTo>
                    <a:pt x="31000" y="29527"/>
                  </a:lnTo>
                  <a:lnTo>
                    <a:pt x="29523" y="36806"/>
                  </a:lnTo>
                  <a:lnTo>
                    <a:pt x="25501" y="42752"/>
                  </a:lnTo>
                  <a:lnTo>
                    <a:pt x="19545" y="46763"/>
                  </a:lnTo>
                  <a:lnTo>
                    <a:pt x="12268" y="48234"/>
                  </a:lnTo>
                  <a:lnTo>
                    <a:pt x="0" y="48234"/>
                  </a:lnTo>
                  <a:lnTo>
                    <a:pt x="0" y="59029"/>
                  </a:lnTo>
                  <a:lnTo>
                    <a:pt x="12268" y="59029"/>
                  </a:lnTo>
                  <a:lnTo>
                    <a:pt x="23745" y="56709"/>
                  </a:lnTo>
                  <a:lnTo>
                    <a:pt x="33132" y="50384"/>
                  </a:lnTo>
                  <a:lnTo>
                    <a:pt x="39469" y="41005"/>
                  </a:lnTo>
                  <a:lnTo>
                    <a:pt x="41795" y="29527"/>
                  </a:lnTo>
                  <a:lnTo>
                    <a:pt x="39469" y="18045"/>
                  </a:lnTo>
                  <a:lnTo>
                    <a:pt x="33132" y="8658"/>
                  </a:lnTo>
                  <a:lnTo>
                    <a:pt x="23745" y="2324"/>
                  </a:lnTo>
                  <a:lnTo>
                    <a:pt x="12268" y="0"/>
                  </a:lnTo>
                  <a:close/>
                </a:path>
              </a:pathLst>
            </a:custGeom>
            <a:solidFill>
              <a:srgbClr val="9B9B9A"/>
            </a:solidFill>
          </p:spPr>
          <p:txBody>
            <a:bodyPr wrap="square" lIns="0" tIns="0" rIns="0" bIns="0" rtlCol="0"/>
            <a:lstStyle/>
            <a:p>
              <a:endParaRPr sz="1796"/>
            </a:p>
          </p:txBody>
        </p:sp>
        <p:sp>
          <p:nvSpPr>
            <p:cNvPr id="70" name="object 28"/>
            <p:cNvSpPr/>
            <p:nvPr/>
          </p:nvSpPr>
          <p:spPr>
            <a:xfrm>
              <a:off x="5721556" y="4607980"/>
              <a:ext cx="41910" cy="59055"/>
            </a:xfrm>
            <a:custGeom>
              <a:avLst/>
              <a:gdLst/>
              <a:ahLst/>
              <a:cxnLst/>
              <a:rect l="l" t="t" r="r" b="b"/>
              <a:pathLst>
                <a:path w="41910" h="59054">
                  <a:moveTo>
                    <a:pt x="12230" y="0"/>
                  </a:moveTo>
                  <a:lnTo>
                    <a:pt x="0" y="0"/>
                  </a:lnTo>
                  <a:lnTo>
                    <a:pt x="0" y="10795"/>
                  </a:lnTo>
                  <a:lnTo>
                    <a:pt x="12230" y="10795"/>
                  </a:lnTo>
                  <a:lnTo>
                    <a:pt x="19512" y="12269"/>
                  </a:lnTo>
                  <a:lnTo>
                    <a:pt x="25468" y="16289"/>
                  </a:lnTo>
                  <a:lnTo>
                    <a:pt x="29487" y="22244"/>
                  </a:lnTo>
                  <a:lnTo>
                    <a:pt x="30962" y="29527"/>
                  </a:lnTo>
                  <a:lnTo>
                    <a:pt x="29487" y="36806"/>
                  </a:lnTo>
                  <a:lnTo>
                    <a:pt x="25468" y="42752"/>
                  </a:lnTo>
                  <a:lnTo>
                    <a:pt x="19512" y="46763"/>
                  </a:lnTo>
                  <a:lnTo>
                    <a:pt x="12230" y="48234"/>
                  </a:lnTo>
                  <a:lnTo>
                    <a:pt x="0" y="48234"/>
                  </a:lnTo>
                  <a:lnTo>
                    <a:pt x="0" y="59029"/>
                  </a:lnTo>
                  <a:lnTo>
                    <a:pt x="12230" y="59029"/>
                  </a:lnTo>
                  <a:lnTo>
                    <a:pt x="23714" y="56709"/>
                  </a:lnTo>
                  <a:lnTo>
                    <a:pt x="33105" y="50384"/>
                  </a:lnTo>
                  <a:lnTo>
                    <a:pt x="39444" y="41005"/>
                  </a:lnTo>
                  <a:lnTo>
                    <a:pt x="41770" y="29527"/>
                  </a:lnTo>
                  <a:lnTo>
                    <a:pt x="39444" y="18045"/>
                  </a:lnTo>
                  <a:lnTo>
                    <a:pt x="33105" y="8658"/>
                  </a:lnTo>
                  <a:lnTo>
                    <a:pt x="23714" y="2324"/>
                  </a:lnTo>
                  <a:lnTo>
                    <a:pt x="12230" y="0"/>
                  </a:lnTo>
                  <a:close/>
                </a:path>
              </a:pathLst>
            </a:custGeom>
            <a:solidFill>
              <a:srgbClr val="9B9B9A"/>
            </a:solidFill>
          </p:spPr>
          <p:txBody>
            <a:bodyPr wrap="square" lIns="0" tIns="0" rIns="0" bIns="0" rtlCol="0"/>
            <a:lstStyle/>
            <a:p>
              <a:endParaRPr sz="1796"/>
            </a:p>
          </p:txBody>
        </p:sp>
        <p:sp>
          <p:nvSpPr>
            <p:cNvPr id="71" name="object 29"/>
            <p:cNvSpPr/>
            <p:nvPr/>
          </p:nvSpPr>
          <p:spPr>
            <a:xfrm>
              <a:off x="6102834" y="4607980"/>
              <a:ext cx="41910" cy="59055"/>
            </a:xfrm>
            <a:custGeom>
              <a:avLst/>
              <a:gdLst/>
              <a:ahLst/>
              <a:cxnLst/>
              <a:rect l="l" t="t" r="r" b="b"/>
              <a:pathLst>
                <a:path w="41910" h="59054">
                  <a:moveTo>
                    <a:pt x="12242" y="0"/>
                  </a:moveTo>
                  <a:lnTo>
                    <a:pt x="0" y="0"/>
                  </a:lnTo>
                  <a:lnTo>
                    <a:pt x="0" y="10795"/>
                  </a:lnTo>
                  <a:lnTo>
                    <a:pt x="12242" y="10795"/>
                  </a:lnTo>
                  <a:lnTo>
                    <a:pt x="19531" y="12269"/>
                  </a:lnTo>
                  <a:lnTo>
                    <a:pt x="25485" y="16289"/>
                  </a:lnTo>
                  <a:lnTo>
                    <a:pt x="29502" y="22244"/>
                  </a:lnTo>
                  <a:lnTo>
                    <a:pt x="30975" y="29527"/>
                  </a:lnTo>
                  <a:lnTo>
                    <a:pt x="29502" y="36806"/>
                  </a:lnTo>
                  <a:lnTo>
                    <a:pt x="25485" y="42752"/>
                  </a:lnTo>
                  <a:lnTo>
                    <a:pt x="19531" y="46763"/>
                  </a:lnTo>
                  <a:lnTo>
                    <a:pt x="12242" y="48234"/>
                  </a:lnTo>
                  <a:lnTo>
                    <a:pt x="0" y="48234"/>
                  </a:lnTo>
                  <a:lnTo>
                    <a:pt x="0" y="59029"/>
                  </a:lnTo>
                  <a:lnTo>
                    <a:pt x="12242" y="59029"/>
                  </a:lnTo>
                  <a:lnTo>
                    <a:pt x="23725" y="56709"/>
                  </a:lnTo>
                  <a:lnTo>
                    <a:pt x="33112" y="50384"/>
                  </a:lnTo>
                  <a:lnTo>
                    <a:pt x="39446" y="41005"/>
                  </a:lnTo>
                  <a:lnTo>
                    <a:pt x="41770" y="29527"/>
                  </a:lnTo>
                  <a:lnTo>
                    <a:pt x="39446" y="18045"/>
                  </a:lnTo>
                  <a:lnTo>
                    <a:pt x="33112" y="8658"/>
                  </a:lnTo>
                  <a:lnTo>
                    <a:pt x="23725" y="2324"/>
                  </a:lnTo>
                  <a:lnTo>
                    <a:pt x="12242" y="0"/>
                  </a:lnTo>
                  <a:close/>
                </a:path>
              </a:pathLst>
            </a:custGeom>
            <a:solidFill>
              <a:srgbClr val="9B9B9A"/>
            </a:solidFill>
          </p:spPr>
          <p:txBody>
            <a:bodyPr wrap="square" lIns="0" tIns="0" rIns="0" bIns="0" rtlCol="0"/>
            <a:lstStyle/>
            <a:p>
              <a:endParaRPr sz="1796"/>
            </a:p>
          </p:txBody>
        </p:sp>
      </p:grpSp>
    </p:spTree>
    <p:extLst>
      <p:ext uri="{BB962C8B-B14F-4D97-AF65-F5344CB8AC3E}">
        <p14:creationId xmlns:p14="http://schemas.microsoft.com/office/powerpoint/2010/main" val="324776572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25C416-A3A2-4CF9-9532-2C0BFB51CFDF}"/>
              </a:ext>
            </a:extLst>
          </p:cNvPr>
          <p:cNvSpPr>
            <a:spLocks noGrp="1"/>
          </p:cNvSpPr>
          <p:nvPr>
            <p:ph type="ctrTitle" hasCustomPrompt="1"/>
          </p:nvPr>
        </p:nvSpPr>
        <p:spPr>
          <a:xfrm>
            <a:off x="783013" y="1809204"/>
            <a:ext cx="6263552" cy="1650163"/>
          </a:xfrm>
        </p:spPr>
        <p:txBody>
          <a:bodyPr anchor="b">
            <a:noAutofit/>
          </a:bodyPr>
          <a:lstStyle>
            <a:lvl1pPr algn="l">
              <a:defRPr sz="4184" b="1" baseline="0"/>
            </a:lvl1pPr>
          </a:lstStyle>
          <a:p>
            <a:r>
              <a:rPr lang="en-US"/>
              <a:t>Business-to-business marketing priorities </a:t>
            </a:r>
          </a:p>
        </p:txBody>
      </p:sp>
      <p:sp>
        <p:nvSpPr>
          <p:cNvPr id="3" name="Subtitle 2">
            <a:extLst>
              <a:ext uri="{FF2B5EF4-FFF2-40B4-BE49-F238E27FC236}">
                <a16:creationId xmlns:a16="http://schemas.microsoft.com/office/drawing/2014/main" id="{43D32955-BB06-40DE-A14A-2170FD41AD52}"/>
              </a:ext>
            </a:extLst>
          </p:cNvPr>
          <p:cNvSpPr>
            <a:spLocks noGrp="1"/>
          </p:cNvSpPr>
          <p:nvPr>
            <p:ph type="subTitle" idx="1" hasCustomPrompt="1"/>
          </p:nvPr>
        </p:nvSpPr>
        <p:spPr>
          <a:xfrm>
            <a:off x="783013" y="3527444"/>
            <a:ext cx="6263552" cy="1562607"/>
          </a:xfrm>
        </p:spPr>
        <p:txBody>
          <a:bodyPr>
            <a:normAutofit/>
          </a:bodyPr>
          <a:lstStyle>
            <a:lvl1pPr marL="0" indent="0" algn="l">
              <a:buNone/>
              <a:defRPr sz="1989"/>
            </a:lvl1pPr>
            <a:lvl2pPr marL="504031" indent="0" algn="ctr">
              <a:buNone/>
              <a:defRPr sz="2207"/>
            </a:lvl2pPr>
            <a:lvl3pPr marL="1008063" indent="0" algn="ctr">
              <a:buNone/>
              <a:defRPr sz="1989"/>
            </a:lvl3pPr>
            <a:lvl4pPr marL="1512094" indent="0" algn="ctr">
              <a:buNone/>
              <a:defRPr sz="1763"/>
            </a:lvl4pPr>
            <a:lvl5pPr marL="2016127" indent="0" algn="ctr">
              <a:buNone/>
              <a:defRPr sz="1763"/>
            </a:lvl5pPr>
            <a:lvl6pPr marL="2520158" indent="0" algn="ctr">
              <a:buNone/>
              <a:defRPr sz="1763"/>
            </a:lvl6pPr>
            <a:lvl7pPr marL="3024189" indent="0" algn="ctr">
              <a:buNone/>
              <a:defRPr sz="1763"/>
            </a:lvl7pPr>
            <a:lvl8pPr marL="3528219" indent="0" algn="ctr">
              <a:buNone/>
              <a:defRPr sz="1763"/>
            </a:lvl8pPr>
            <a:lvl9pPr marL="4032251" indent="0" algn="ctr">
              <a:buNone/>
              <a:defRPr sz="1763"/>
            </a:lvl9pPr>
          </a:lstStyle>
          <a:p>
            <a:r>
              <a:rPr lang="en-US"/>
              <a:t>Click to add text</a:t>
            </a:r>
          </a:p>
        </p:txBody>
      </p:sp>
      <p:pic>
        <p:nvPicPr>
          <p:cNvPr id="5" name="Picture 2">
            <a:extLst>
              <a:ext uri="{FF2B5EF4-FFF2-40B4-BE49-F238E27FC236}">
                <a16:creationId xmlns:a16="http://schemas.microsoft.com/office/drawing/2014/main" id="{3B70FA50-E7C2-9C53-7B7D-C6BC8269FDFD}"/>
              </a:ext>
            </a:extLst>
          </p:cNvPr>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r="6070"/>
          <a:stretch/>
        </p:blipFill>
        <p:spPr bwMode="auto">
          <a:xfrm>
            <a:off x="820988" y="0"/>
            <a:ext cx="12618787" cy="75596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31249044"/>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D57F1E4F-1CFF-5643-939E-217C01CDF565}" type="slidenum">
              <a:rPr lang="en-US" smtClean="0"/>
              <a:pPr/>
              <a:t>‹№›</a:t>
            </a:fld>
            <a:endParaRPr lang="en-US"/>
          </a:p>
        </p:txBody>
      </p:sp>
    </p:spTree>
    <p:extLst>
      <p:ext uri="{BB962C8B-B14F-4D97-AF65-F5344CB8AC3E}">
        <p14:creationId xmlns:p14="http://schemas.microsoft.com/office/powerpoint/2010/main" val="417144748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Заголовок и объект">
    <p:spTree>
      <p:nvGrpSpPr>
        <p:cNvPr id="1" name=""/>
        <p:cNvGrpSpPr/>
        <p:nvPr/>
      </p:nvGrpSpPr>
      <p:grpSpPr>
        <a:xfrm>
          <a:off x="0" y="0"/>
          <a:ext cx="0" cy="0"/>
          <a:chOff x="0" y="0"/>
          <a:chExt cx="0" cy="0"/>
        </a:xfrm>
      </p:grpSpPr>
      <p:sp>
        <p:nvSpPr>
          <p:cNvPr id="3" name="Содержимое 2"/>
          <p:cNvSpPr>
            <a:spLocks noGrp="1"/>
          </p:cNvSpPr>
          <p:nvPr>
            <p:ph idx="1"/>
          </p:nvPr>
        </p:nvSpPr>
        <p:spPr>
          <a:xfrm>
            <a:off x="898322" y="1557325"/>
            <a:ext cx="11869466" cy="5225504"/>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ru-RU"/>
          </a:p>
        </p:txBody>
      </p:sp>
      <p:sp>
        <p:nvSpPr>
          <p:cNvPr id="7" name="Title Placeholder 1"/>
          <p:cNvSpPr>
            <a:spLocks noGrp="1"/>
          </p:cNvSpPr>
          <p:nvPr>
            <p:ph type="title"/>
          </p:nvPr>
        </p:nvSpPr>
        <p:spPr>
          <a:xfrm>
            <a:off x="898870" y="45345"/>
            <a:ext cx="10901188" cy="816486"/>
          </a:xfrm>
          <a:prstGeom prst="rect">
            <a:avLst/>
          </a:prstGeom>
        </p:spPr>
        <p:txBody>
          <a:bodyPr vert="horz" lIns="91440" tIns="45720" rIns="91440" bIns="45720" rtlCol="0" anchor="ctr">
            <a:normAutofit/>
          </a:bodyPr>
          <a:lstStyle/>
          <a:p>
            <a:pPr lvl="0"/>
            <a:r>
              <a:rPr lang="en-US"/>
              <a:t>CLICK TO EDIT MASTER TITLE STYLE</a:t>
            </a:r>
            <a:endParaRPr lang="uk-UA"/>
          </a:p>
        </p:txBody>
      </p:sp>
      <p:sp>
        <p:nvSpPr>
          <p:cNvPr id="9" name="Slide Number Placeholder 2"/>
          <p:cNvSpPr>
            <a:spLocks noGrp="1"/>
          </p:cNvSpPr>
          <p:nvPr>
            <p:ph type="sldNum" sz="quarter" idx="4"/>
          </p:nvPr>
        </p:nvSpPr>
        <p:spPr>
          <a:xfrm>
            <a:off x="10232081" y="7060693"/>
            <a:ext cx="3135949" cy="402484"/>
          </a:xfrm>
          <a:prstGeom prst="rect">
            <a:avLst/>
          </a:prstGeom>
        </p:spPr>
        <p:txBody>
          <a:bodyPr/>
          <a:lstStyle>
            <a:lvl1pPr>
              <a:defRPr sz="2062"/>
            </a:lvl1pPr>
          </a:lstStyle>
          <a:p>
            <a:pPr algn="r"/>
            <a:fld id="{680CDED1-8D9D-45E0-8506-504F9114EB93}" type="slidenum">
              <a:rPr lang="uk-UA" smtClean="0"/>
              <a:pPr algn="r"/>
              <a:t>‹№›</a:t>
            </a:fld>
            <a:endParaRPr lang="uk-UA"/>
          </a:p>
        </p:txBody>
      </p:sp>
    </p:spTree>
    <p:extLst>
      <p:ext uri="{BB962C8B-B14F-4D97-AF65-F5344CB8AC3E}">
        <p14:creationId xmlns:p14="http://schemas.microsoft.com/office/powerpoint/2010/main" val="412142298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2_Пользовательский макет">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3" name="Объект 2" hidden="1"/>
          <p:cNvGraphicFramePr>
            <a:graphicFrameLocks noChangeAspect="1"/>
          </p:cNvGraphicFramePr>
          <p:nvPr userDrawn="1">
            <p:custDataLst>
              <p:tags r:id="rId1"/>
            </p:custDataLst>
          </p:nvPr>
        </p:nvGraphicFramePr>
        <p:xfrm>
          <a:off x="1996" y="1588"/>
          <a:ext cx="1996" cy="1588"/>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3" name="Объект 2" hidden="1"/>
                      <p:cNvPicPr/>
                      <p:nvPr/>
                    </p:nvPicPr>
                    <p:blipFill>
                      <a:blip r:embed="rId6"/>
                      <a:stretch>
                        <a:fillRect/>
                      </a:stretch>
                    </p:blipFill>
                    <p:spPr>
                      <a:xfrm>
                        <a:off x="1996" y="1588"/>
                        <a:ext cx="1996" cy="1588"/>
                      </a:xfrm>
                      <a:prstGeom prst="rect">
                        <a:avLst/>
                      </a:prstGeom>
                    </p:spPr>
                  </p:pic>
                </p:oleObj>
              </mc:Fallback>
            </mc:AlternateContent>
          </a:graphicData>
        </a:graphic>
      </p:graphicFrame>
      <p:sp>
        <p:nvSpPr>
          <p:cNvPr id="2" name="Прямоугольник 1" hidden="1"/>
          <p:cNvSpPr/>
          <p:nvPr userDrawn="1">
            <p:custDataLst>
              <p:tags r:id="rId2"/>
            </p:custDataLst>
          </p:nvPr>
        </p:nvSpPr>
        <p:spPr>
          <a:xfrm>
            <a:off x="0" y="0"/>
            <a:ext cx="1995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ru-RU" sz="4704" b="1" i="0" baseline="0">
              <a:latin typeface="Calibri" panose="020F0502020204030204" pitchFamily="34" charset="0"/>
              <a:ea typeface="+mj-ea"/>
              <a:cs typeface="+mj-cs"/>
              <a:sym typeface="Calibri" panose="020F0502020204030204" pitchFamily="34" charset="0"/>
            </a:endParaRPr>
          </a:p>
        </p:txBody>
      </p:sp>
      <p:sp>
        <p:nvSpPr>
          <p:cNvPr id="64" name="Текст 4"/>
          <p:cNvSpPr>
            <a:spLocks noGrp="1"/>
          </p:cNvSpPr>
          <p:nvPr>
            <p:ph type="body" sz="quarter" idx="10" hasCustomPrompt="1"/>
          </p:nvPr>
        </p:nvSpPr>
        <p:spPr>
          <a:xfrm>
            <a:off x="697814" y="2100263"/>
            <a:ext cx="5338294" cy="1204252"/>
          </a:xfrm>
          <a:prstGeom prst="rect">
            <a:avLst/>
          </a:prstGeom>
        </p:spPr>
        <p:txBody>
          <a:bodyPr/>
          <a:lstStyle>
            <a:lvl1pPr marL="0" marR="0" indent="0" algn="l" defTabSz="1007943" rtl="0" eaLnBrk="1" fontAlgn="auto" latinLnBrk="0" hangingPunct="1">
              <a:lnSpc>
                <a:spcPct val="100000"/>
              </a:lnSpc>
              <a:spcBef>
                <a:spcPts val="0"/>
              </a:spcBef>
              <a:spcAft>
                <a:spcPts val="0"/>
              </a:spcAft>
              <a:buClrTx/>
              <a:buSzTx/>
              <a:buFont typeface="Arial" panose="020B0604020202020204" pitchFamily="34" charset="0"/>
              <a:buNone/>
              <a:tabLst/>
              <a:defRPr sz="3600" baseline="0">
                <a:solidFill>
                  <a:srgbClr val="000000"/>
                </a:solidFill>
              </a:defRPr>
            </a:lvl1pPr>
          </a:lstStyle>
          <a:p>
            <a:pPr lvl="0"/>
            <a:r>
              <a:rPr lang="en-US"/>
              <a:t>Chapter name</a:t>
            </a:r>
          </a:p>
          <a:p>
            <a:pPr lvl="0"/>
            <a:r>
              <a:rPr lang="en-US"/>
              <a:t>Chapter name</a:t>
            </a:r>
          </a:p>
        </p:txBody>
      </p:sp>
      <p:sp>
        <p:nvSpPr>
          <p:cNvPr id="65" name="Текст 4"/>
          <p:cNvSpPr>
            <a:spLocks noGrp="1"/>
          </p:cNvSpPr>
          <p:nvPr>
            <p:ph type="body" sz="quarter" idx="11" hasCustomPrompt="1"/>
          </p:nvPr>
        </p:nvSpPr>
        <p:spPr>
          <a:xfrm>
            <a:off x="697814" y="3354121"/>
            <a:ext cx="5338294" cy="624195"/>
          </a:xfrm>
          <a:prstGeom prst="rect">
            <a:avLst/>
          </a:prstGeom>
        </p:spPr>
        <p:txBody>
          <a:bodyPr/>
          <a:lstStyle>
            <a:lvl1pPr marL="0" marR="0" indent="0" algn="l" defTabSz="1007943" rtl="0" eaLnBrk="1" fontAlgn="auto" latinLnBrk="0" hangingPunct="1">
              <a:lnSpc>
                <a:spcPct val="100000"/>
              </a:lnSpc>
              <a:spcBef>
                <a:spcPts val="0"/>
              </a:spcBef>
              <a:spcAft>
                <a:spcPts val="0"/>
              </a:spcAft>
              <a:buClrTx/>
              <a:buSzTx/>
              <a:buFont typeface="Arial" panose="020B0604020202020204" pitchFamily="34" charset="0"/>
              <a:buNone/>
              <a:tabLst/>
              <a:defRPr lang="ru-RU" sz="2000" kern="1200" baseline="0">
                <a:solidFill>
                  <a:srgbClr val="000000"/>
                </a:solidFill>
                <a:latin typeface="+mn-lt"/>
                <a:ea typeface="+mn-ea"/>
                <a:cs typeface="+mn-cs"/>
              </a:defRPr>
            </a:lvl1pPr>
          </a:lstStyle>
          <a:p>
            <a:pPr marL="0" marR="0" lvl="0" indent="0" algn="l" defTabSz="1007943"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Subtitle</a:t>
            </a:r>
            <a:endParaRPr lang="ru-RU"/>
          </a:p>
        </p:txBody>
      </p:sp>
      <p:grpSp>
        <p:nvGrpSpPr>
          <p:cNvPr id="4" name="Группа 3"/>
          <p:cNvGrpSpPr/>
          <p:nvPr userDrawn="1"/>
        </p:nvGrpSpPr>
        <p:grpSpPr>
          <a:xfrm>
            <a:off x="764722" y="4231906"/>
            <a:ext cx="5380025" cy="435129"/>
            <a:chOff x="764722" y="4231906"/>
            <a:chExt cx="5380025" cy="435129"/>
          </a:xfrm>
        </p:grpSpPr>
        <p:grpSp>
          <p:nvGrpSpPr>
            <p:cNvPr id="39" name="Группа 38"/>
            <p:cNvGrpSpPr/>
            <p:nvPr userDrawn="1"/>
          </p:nvGrpSpPr>
          <p:grpSpPr>
            <a:xfrm>
              <a:off x="764722" y="4231906"/>
              <a:ext cx="4236148" cy="435129"/>
              <a:chOff x="764722" y="4231906"/>
              <a:chExt cx="4236148" cy="435129"/>
            </a:xfrm>
          </p:grpSpPr>
          <p:sp>
            <p:nvSpPr>
              <p:cNvPr id="40" name="object 6"/>
              <p:cNvSpPr/>
              <p:nvPr userDrawn="1"/>
            </p:nvSpPr>
            <p:spPr>
              <a:xfrm>
                <a:off x="4958960" y="4231906"/>
                <a:ext cx="41910" cy="55880"/>
              </a:xfrm>
              <a:custGeom>
                <a:avLst/>
                <a:gdLst/>
                <a:ahLst/>
                <a:cxnLst/>
                <a:rect l="l" t="t" r="r" b="b"/>
                <a:pathLst>
                  <a:path w="41910" h="55879">
                    <a:moveTo>
                      <a:pt x="41770" y="0"/>
                    </a:moveTo>
                    <a:lnTo>
                      <a:pt x="16391" y="0"/>
                    </a:lnTo>
                    <a:lnTo>
                      <a:pt x="8664" y="5207"/>
                    </a:lnTo>
                    <a:lnTo>
                      <a:pt x="2326" y="14585"/>
                    </a:lnTo>
                    <a:lnTo>
                      <a:pt x="0" y="26058"/>
                    </a:lnTo>
                    <a:lnTo>
                      <a:pt x="2326" y="37541"/>
                    </a:lnTo>
                    <a:lnTo>
                      <a:pt x="8664" y="46928"/>
                    </a:lnTo>
                    <a:lnTo>
                      <a:pt x="18055" y="53262"/>
                    </a:lnTo>
                    <a:lnTo>
                      <a:pt x="29540" y="55586"/>
                    </a:lnTo>
                    <a:lnTo>
                      <a:pt x="41770" y="55586"/>
                    </a:lnTo>
                    <a:lnTo>
                      <a:pt x="41770" y="44791"/>
                    </a:lnTo>
                    <a:lnTo>
                      <a:pt x="29540" y="44791"/>
                    </a:lnTo>
                    <a:lnTo>
                      <a:pt x="22251" y="43316"/>
                    </a:lnTo>
                    <a:lnTo>
                      <a:pt x="16297" y="39297"/>
                    </a:lnTo>
                    <a:lnTo>
                      <a:pt x="12280" y="33341"/>
                    </a:lnTo>
                    <a:lnTo>
                      <a:pt x="10807" y="26058"/>
                    </a:lnTo>
                    <a:lnTo>
                      <a:pt x="12280" y="18780"/>
                    </a:lnTo>
                    <a:lnTo>
                      <a:pt x="16297" y="12833"/>
                    </a:lnTo>
                    <a:lnTo>
                      <a:pt x="22251" y="8822"/>
                    </a:lnTo>
                    <a:lnTo>
                      <a:pt x="29540" y="7351"/>
                    </a:lnTo>
                    <a:lnTo>
                      <a:pt x="41770" y="7351"/>
                    </a:lnTo>
                    <a:lnTo>
                      <a:pt x="41770" y="0"/>
                    </a:lnTo>
                    <a:close/>
                  </a:path>
                </a:pathLst>
              </a:custGeom>
              <a:solidFill>
                <a:srgbClr val="9B9B9A"/>
              </a:solidFill>
            </p:spPr>
            <p:txBody>
              <a:bodyPr wrap="square" lIns="0" tIns="0" rIns="0" bIns="0" rtlCol="0"/>
              <a:lstStyle/>
              <a:p>
                <a:endParaRPr/>
              </a:p>
            </p:txBody>
          </p:sp>
          <p:sp>
            <p:nvSpPr>
              <p:cNvPr id="41" name="object 7"/>
              <p:cNvSpPr/>
              <p:nvPr userDrawn="1"/>
            </p:nvSpPr>
            <p:spPr>
              <a:xfrm>
                <a:off x="4577674" y="4231906"/>
                <a:ext cx="41910" cy="55880"/>
              </a:xfrm>
              <a:custGeom>
                <a:avLst/>
                <a:gdLst/>
                <a:ahLst/>
                <a:cxnLst/>
                <a:rect l="l" t="t" r="r" b="b"/>
                <a:pathLst>
                  <a:path w="41910" h="55879">
                    <a:moveTo>
                      <a:pt x="41770" y="0"/>
                    </a:moveTo>
                    <a:lnTo>
                      <a:pt x="16376" y="0"/>
                    </a:lnTo>
                    <a:lnTo>
                      <a:pt x="8653" y="5207"/>
                    </a:lnTo>
                    <a:lnTo>
                      <a:pt x="2322" y="14585"/>
                    </a:lnTo>
                    <a:lnTo>
                      <a:pt x="0" y="26058"/>
                    </a:lnTo>
                    <a:lnTo>
                      <a:pt x="2322" y="37541"/>
                    </a:lnTo>
                    <a:lnTo>
                      <a:pt x="8653" y="46928"/>
                    </a:lnTo>
                    <a:lnTo>
                      <a:pt x="18039" y="53262"/>
                    </a:lnTo>
                    <a:lnTo>
                      <a:pt x="29527" y="55586"/>
                    </a:lnTo>
                    <a:lnTo>
                      <a:pt x="41770" y="55586"/>
                    </a:lnTo>
                    <a:lnTo>
                      <a:pt x="41770" y="44791"/>
                    </a:lnTo>
                    <a:lnTo>
                      <a:pt x="29527" y="44791"/>
                    </a:lnTo>
                    <a:lnTo>
                      <a:pt x="22233" y="43316"/>
                    </a:lnTo>
                    <a:lnTo>
                      <a:pt x="16279" y="39297"/>
                    </a:lnTo>
                    <a:lnTo>
                      <a:pt x="12266" y="33341"/>
                    </a:lnTo>
                    <a:lnTo>
                      <a:pt x="10794" y="26058"/>
                    </a:lnTo>
                    <a:lnTo>
                      <a:pt x="12266" y="18780"/>
                    </a:lnTo>
                    <a:lnTo>
                      <a:pt x="16279" y="12833"/>
                    </a:lnTo>
                    <a:lnTo>
                      <a:pt x="22233" y="8822"/>
                    </a:lnTo>
                    <a:lnTo>
                      <a:pt x="29527" y="7351"/>
                    </a:lnTo>
                    <a:lnTo>
                      <a:pt x="41770" y="7351"/>
                    </a:lnTo>
                    <a:lnTo>
                      <a:pt x="41770" y="0"/>
                    </a:lnTo>
                    <a:close/>
                  </a:path>
                </a:pathLst>
              </a:custGeom>
              <a:solidFill>
                <a:srgbClr val="9B9B9A"/>
              </a:solidFill>
            </p:spPr>
            <p:txBody>
              <a:bodyPr wrap="square" lIns="0" tIns="0" rIns="0" bIns="0" rtlCol="0"/>
              <a:lstStyle/>
              <a:p>
                <a:endParaRPr/>
              </a:p>
            </p:txBody>
          </p:sp>
          <p:sp>
            <p:nvSpPr>
              <p:cNvPr id="42" name="object 8"/>
              <p:cNvSpPr/>
              <p:nvPr userDrawn="1"/>
            </p:nvSpPr>
            <p:spPr>
              <a:xfrm>
                <a:off x="4196358" y="4231906"/>
                <a:ext cx="41910" cy="55880"/>
              </a:xfrm>
              <a:custGeom>
                <a:avLst/>
                <a:gdLst/>
                <a:ahLst/>
                <a:cxnLst/>
                <a:rect l="l" t="t" r="r" b="b"/>
                <a:pathLst>
                  <a:path w="41910" h="55879">
                    <a:moveTo>
                      <a:pt x="41795" y="0"/>
                    </a:moveTo>
                    <a:lnTo>
                      <a:pt x="16396" y="0"/>
                    </a:lnTo>
                    <a:lnTo>
                      <a:pt x="8666" y="5207"/>
                    </a:lnTo>
                    <a:lnTo>
                      <a:pt x="2326" y="14585"/>
                    </a:lnTo>
                    <a:lnTo>
                      <a:pt x="0" y="26058"/>
                    </a:lnTo>
                    <a:lnTo>
                      <a:pt x="2326" y="37541"/>
                    </a:lnTo>
                    <a:lnTo>
                      <a:pt x="8666" y="46928"/>
                    </a:lnTo>
                    <a:lnTo>
                      <a:pt x="18061" y="53262"/>
                    </a:lnTo>
                    <a:lnTo>
                      <a:pt x="29552" y="55586"/>
                    </a:lnTo>
                    <a:lnTo>
                      <a:pt x="41795" y="55586"/>
                    </a:lnTo>
                    <a:lnTo>
                      <a:pt x="41795" y="44791"/>
                    </a:lnTo>
                    <a:lnTo>
                      <a:pt x="29552" y="44791"/>
                    </a:lnTo>
                    <a:lnTo>
                      <a:pt x="22264" y="43316"/>
                    </a:lnTo>
                    <a:lnTo>
                      <a:pt x="16309" y="39297"/>
                    </a:lnTo>
                    <a:lnTo>
                      <a:pt x="12293" y="33341"/>
                    </a:lnTo>
                    <a:lnTo>
                      <a:pt x="10820" y="26058"/>
                    </a:lnTo>
                    <a:lnTo>
                      <a:pt x="12293" y="18780"/>
                    </a:lnTo>
                    <a:lnTo>
                      <a:pt x="16309" y="12833"/>
                    </a:lnTo>
                    <a:lnTo>
                      <a:pt x="22264" y="8822"/>
                    </a:lnTo>
                    <a:lnTo>
                      <a:pt x="29552" y="7351"/>
                    </a:lnTo>
                    <a:lnTo>
                      <a:pt x="41795" y="7351"/>
                    </a:lnTo>
                    <a:lnTo>
                      <a:pt x="41795" y="0"/>
                    </a:lnTo>
                    <a:close/>
                  </a:path>
                </a:pathLst>
              </a:custGeom>
              <a:solidFill>
                <a:srgbClr val="9B9B9A"/>
              </a:solidFill>
            </p:spPr>
            <p:txBody>
              <a:bodyPr wrap="square" lIns="0" tIns="0" rIns="0" bIns="0" rtlCol="0"/>
              <a:lstStyle/>
              <a:p>
                <a:endParaRPr/>
              </a:p>
            </p:txBody>
          </p:sp>
          <p:sp>
            <p:nvSpPr>
              <p:cNvPr id="43" name="object 9"/>
              <p:cNvSpPr/>
              <p:nvPr userDrawn="1"/>
            </p:nvSpPr>
            <p:spPr>
              <a:xfrm>
                <a:off x="3815065" y="4231906"/>
                <a:ext cx="41910" cy="55880"/>
              </a:xfrm>
              <a:custGeom>
                <a:avLst/>
                <a:gdLst/>
                <a:ahLst/>
                <a:cxnLst/>
                <a:rect l="l" t="t" r="r" b="b"/>
                <a:pathLst>
                  <a:path w="41910" h="55879">
                    <a:moveTo>
                      <a:pt x="41795" y="0"/>
                    </a:moveTo>
                    <a:lnTo>
                      <a:pt x="16391" y="0"/>
                    </a:lnTo>
                    <a:lnTo>
                      <a:pt x="8664" y="5207"/>
                    </a:lnTo>
                    <a:lnTo>
                      <a:pt x="2326" y="14585"/>
                    </a:lnTo>
                    <a:lnTo>
                      <a:pt x="0" y="26058"/>
                    </a:lnTo>
                    <a:lnTo>
                      <a:pt x="2326" y="37541"/>
                    </a:lnTo>
                    <a:lnTo>
                      <a:pt x="8664" y="46928"/>
                    </a:lnTo>
                    <a:lnTo>
                      <a:pt x="18055" y="53262"/>
                    </a:lnTo>
                    <a:lnTo>
                      <a:pt x="29540" y="55586"/>
                    </a:lnTo>
                    <a:lnTo>
                      <a:pt x="41795" y="55586"/>
                    </a:lnTo>
                    <a:lnTo>
                      <a:pt x="41795" y="44791"/>
                    </a:lnTo>
                    <a:lnTo>
                      <a:pt x="29540" y="44791"/>
                    </a:lnTo>
                    <a:lnTo>
                      <a:pt x="22257" y="43316"/>
                    </a:lnTo>
                    <a:lnTo>
                      <a:pt x="16302" y="39297"/>
                    </a:lnTo>
                    <a:lnTo>
                      <a:pt x="12282" y="33341"/>
                    </a:lnTo>
                    <a:lnTo>
                      <a:pt x="10807" y="26058"/>
                    </a:lnTo>
                    <a:lnTo>
                      <a:pt x="12282" y="18780"/>
                    </a:lnTo>
                    <a:lnTo>
                      <a:pt x="16302" y="12833"/>
                    </a:lnTo>
                    <a:lnTo>
                      <a:pt x="22257" y="8822"/>
                    </a:lnTo>
                    <a:lnTo>
                      <a:pt x="29540" y="7351"/>
                    </a:lnTo>
                    <a:lnTo>
                      <a:pt x="41795" y="7351"/>
                    </a:lnTo>
                    <a:lnTo>
                      <a:pt x="41795" y="0"/>
                    </a:lnTo>
                    <a:close/>
                  </a:path>
                </a:pathLst>
              </a:custGeom>
              <a:solidFill>
                <a:srgbClr val="9B9B9A"/>
              </a:solidFill>
            </p:spPr>
            <p:txBody>
              <a:bodyPr wrap="square" lIns="0" tIns="0" rIns="0" bIns="0" rtlCol="0"/>
              <a:lstStyle/>
              <a:p>
                <a:endParaRPr/>
              </a:p>
            </p:txBody>
          </p:sp>
          <p:sp>
            <p:nvSpPr>
              <p:cNvPr id="44" name="object 10"/>
              <p:cNvSpPr/>
              <p:nvPr userDrawn="1"/>
            </p:nvSpPr>
            <p:spPr>
              <a:xfrm>
                <a:off x="3433788" y="4231906"/>
                <a:ext cx="41910" cy="55880"/>
              </a:xfrm>
              <a:custGeom>
                <a:avLst/>
                <a:gdLst/>
                <a:ahLst/>
                <a:cxnLst/>
                <a:rect l="l" t="t" r="r" b="b"/>
                <a:pathLst>
                  <a:path w="41910" h="55879">
                    <a:moveTo>
                      <a:pt x="41795" y="0"/>
                    </a:moveTo>
                    <a:lnTo>
                      <a:pt x="16382" y="0"/>
                    </a:lnTo>
                    <a:lnTo>
                      <a:pt x="8658" y="5207"/>
                    </a:lnTo>
                    <a:lnTo>
                      <a:pt x="2324" y="14585"/>
                    </a:lnTo>
                    <a:lnTo>
                      <a:pt x="0" y="26058"/>
                    </a:lnTo>
                    <a:lnTo>
                      <a:pt x="2324" y="37541"/>
                    </a:lnTo>
                    <a:lnTo>
                      <a:pt x="8658" y="46928"/>
                    </a:lnTo>
                    <a:lnTo>
                      <a:pt x="18045" y="53262"/>
                    </a:lnTo>
                    <a:lnTo>
                      <a:pt x="29527" y="55586"/>
                    </a:lnTo>
                    <a:lnTo>
                      <a:pt x="41795" y="55586"/>
                    </a:lnTo>
                    <a:lnTo>
                      <a:pt x="41795" y="44791"/>
                    </a:lnTo>
                    <a:lnTo>
                      <a:pt x="29527" y="44791"/>
                    </a:lnTo>
                    <a:lnTo>
                      <a:pt x="22244" y="43316"/>
                    </a:lnTo>
                    <a:lnTo>
                      <a:pt x="16289" y="39297"/>
                    </a:lnTo>
                    <a:lnTo>
                      <a:pt x="12269" y="33341"/>
                    </a:lnTo>
                    <a:lnTo>
                      <a:pt x="10794" y="26058"/>
                    </a:lnTo>
                    <a:lnTo>
                      <a:pt x="12269" y="18780"/>
                    </a:lnTo>
                    <a:lnTo>
                      <a:pt x="16289" y="12833"/>
                    </a:lnTo>
                    <a:lnTo>
                      <a:pt x="22244" y="8822"/>
                    </a:lnTo>
                    <a:lnTo>
                      <a:pt x="29527" y="7351"/>
                    </a:lnTo>
                    <a:lnTo>
                      <a:pt x="41795" y="7351"/>
                    </a:lnTo>
                    <a:lnTo>
                      <a:pt x="41795" y="0"/>
                    </a:lnTo>
                    <a:close/>
                  </a:path>
                </a:pathLst>
              </a:custGeom>
              <a:solidFill>
                <a:srgbClr val="9B9B9A"/>
              </a:solidFill>
            </p:spPr>
            <p:txBody>
              <a:bodyPr wrap="square" lIns="0" tIns="0" rIns="0" bIns="0" rtlCol="0"/>
              <a:lstStyle/>
              <a:p>
                <a:endParaRPr/>
              </a:p>
            </p:txBody>
          </p:sp>
          <p:sp>
            <p:nvSpPr>
              <p:cNvPr id="45" name="object 11"/>
              <p:cNvSpPr/>
              <p:nvPr userDrawn="1"/>
            </p:nvSpPr>
            <p:spPr>
              <a:xfrm>
                <a:off x="3052497" y="4231906"/>
                <a:ext cx="41910" cy="55880"/>
              </a:xfrm>
              <a:custGeom>
                <a:avLst/>
                <a:gdLst/>
                <a:ahLst/>
                <a:cxnLst/>
                <a:rect l="l" t="t" r="r" b="b"/>
                <a:pathLst>
                  <a:path w="41910" h="55879">
                    <a:moveTo>
                      <a:pt x="41770" y="0"/>
                    </a:moveTo>
                    <a:lnTo>
                      <a:pt x="16382" y="0"/>
                    </a:lnTo>
                    <a:lnTo>
                      <a:pt x="8658" y="5207"/>
                    </a:lnTo>
                    <a:lnTo>
                      <a:pt x="2324" y="14585"/>
                    </a:lnTo>
                    <a:lnTo>
                      <a:pt x="0" y="26058"/>
                    </a:lnTo>
                    <a:lnTo>
                      <a:pt x="2324" y="37541"/>
                    </a:lnTo>
                    <a:lnTo>
                      <a:pt x="8658" y="46928"/>
                    </a:lnTo>
                    <a:lnTo>
                      <a:pt x="18045" y="53262"/>
                    </a:lnTo>
                    <a:lnTo>
                      <a:pt x="29527" y="55586"/>
                    </a:lnTo>
                    <a:lnTo>
                      <a:pt x="41770" y="55586"/>
                    </a:lnTo>
                    <a:lnTo>
                      <a:pt x="41770" y="44791"/>
                    </a:lnTo>
                    <a:lnTo>
                      <a:pt x="29527" y="44791"/>
                    </a:lnTo>
                    <a:lnTo>
                      <a:pt x="22239" y="43316"/>
                    </a:lnTo>
                    <a:lnTo>
                      <a:pt x="16284" y="39297"/>
                    </a:lnTo>
                    <a:lnTo>
                      <a:pt x="12268" y="33341"/>
                    </a:lnTo>
                    <a:lnTo>
                      <a:pt x="10794" y="26058"/>
                    </a:lnTo>
                    <a:lnTo>
                      <a:pt x="12268" y="18780"/>
                    </a:lnTo>
                    <a:lnTo>
                      <a:pt x="16284" y="12833"/>
                    </a:lnTo>
                    <a:lnTo>
                      <a:pt x="22239" y="8822"/>
                    </a:lnTo>
                    <a:lnTo>
                      <a:pt x="29527" y="7351"/>
                    </a:lnTo>
                    <a:lnTo>
                      <a:pt x="41770" y="7351"/>
                    </a:lnTo>
                    <a:lnTo>
                      <a:pt x="41770" y="0"/>
                    </a:lnTo>
                    <a:close/>
                  </a:path>
                </a:pathLst>
              </a:custGeom>
              <a:solidFill>
                <a:srgbClr val="9B9B9A"/>
              </a:solidFill>
            </p:spPr>
            <p:txBody>
              <a:bodyPr wrap="square" lIns="0" tIns="0" rIns="0" bIns="0" rtlCol="0"/>
              <a:lstStyle/>
              <a:p>
                <a:endParaRPr/>
              </a:p>
            </p:txBody>
          </p:sp>
          <p:sp>
            <p:nvSpPr>
              <p:cNvPr id="46" name="object 12"/>
              <p:cNvSpPr/>
              <p:nvPr userDrawn="1"/>
            </p:nvSpPr>
            <p:spPr>
              <a:xfrm>
                <a:off x="2671204" y="4231906"/>
                <a:ext cx="41910" cy="55880"/>
              </a:xfrm>
              <a:custGeom>
                <a:avLst/>
                <a:gdLst/>
                <a:ahLst/>
                <a:cxnLst/>
                <a:rect l="l" t="t" r="r" b="b"/>
                <a:pathLst>
                  <a:path w="41910" h="55879">
                    <a:moveTo>
                      <a:pt x="41770" y="0"/>
                    </a:moveTo>
                    <a:lnTo>
                      <a:pt x="16391" y="0"/>
                    </a:lnTo>
                    <a:lnTo>
                      <a:pt x="8664" y="5207"/>
                    </a:lnTo>
                    <a:lnTo>
                      <a:pt x="2326" y="14585"/>
                    </a:lnTo>
                    <a:lnTo>
                      <a:pt x="0" y="26058"/>
                    </a:lnTo>
                    <a:lnTo>
                      <a:pt x="2326" y="37541"/>
                    </a:lnTo>
                    <a:lnTo>
                      <a:pt x="8664" y="46928"/>
                    </a:lnTo>
                    <a:lnTo>
                      <a:pt x="18055" y="53262"/>
                    </a:lnTo>
                    <a:lnTo>
                      <a:pt x="29540" y="55586"/>
                    </a:lnTo>
                    <a:lnTo>
                      <a:pt x="41770" y="55586"/>
                    </a:lnTo>
                    <a:lnTo>
                      <a:pt x="41770" y="44791"/>
                    </a:lnTo>
                    <a:lnTo>
                      <a:pt x="29540" y="44791"/>
                    </a:lnTo>
                    <a:lnTo>
                      <a:pt x="22246" y="43316"/>
                    </a:lnTo>
                    <a:lnTo>
                      <a:pt x="16292" y="39297"/>
                    </a:lnTo>
                    <a:lnTo>
                      <a:pt x="12279" y="33341"/>
                    </a:lnTo>
                    <a:lnTo>
                      <a:pt x="10807" y="26058"/>
                    </a:lnTo>
                    <a:lnTo>
                      <a:pt x="12279" y="18780"/>
                    </a:lnTo>
                    <a:lnTo>
                      <a:pt x="16292" y="12833"/>
                    </a:lnTo>
                    <a:lnTo>
                      <a:pt x="22246" y="8822"/>
                    </a:lnTo>
                    <a:lnTo>
                      <a:pt x="29540" y="7351"/>
                    </a:lnTo>
                    <a:lnTo>
                      <a:pt x="41770" y="7351"/>
                    </a:lnTo>
                    <a:lnTo>
                      <a:pt x="41770" y="0"/>
                    </a:lnTo>
                    <a:close/>
                  </a:path>
                </a:pathLst>
              </a:custGeom>
              <a:solidFill>
                <a:srgbClr val="9B9B9A"/>
              </a:solidFill>
            </p:spPr>
            <p:txBody>
              <a:bodyPr wrap="square" lIns="0" tIns="0" rIns="0" bIns="0" rtlCol="0"/>
              <a:lstStyle/>
              <a:p>
                <a:endParaRPr/>
              </a:p>
            </p:txBody>
          </p:sp>
          <p:sp>
            <p:nvSpPr>
              <p:cNvPr id="47" name="object 13"/>
              <p:cNvSpPr/>
              <p:nvPr userDrawn="1"/>
            </p:nvSpPr>
            <p:spPr>
              <a:xfrm>
                <a:off x="2289901" y="4231906"/>
                <a:ext cx="41910" cy="55880"/>
              </a:xfrm>
              <a:custGeom>
                <a:avLst/>
                <a:gdLst/>
                <a:ahLst/>
                <a:cxnLst/>
                <a:rect l="l" t="t" r="r" b="b"/>
                <a:pathLst>
                  <a:path w="41910" h="55879">
                    <a:moveTo>
                      <a:pt x="41782" y="0"/>
                    </a:moveTo>
                    <a:lnTo>
                      <a:pt x="16382" y="0"/>
                    </a:lnTo>
                    <a:lnTo>
                      <a:pt x="8658" y="5207"/>
                    </a:lnTo>
                    <a:lnTo>
                      <a:pt x="2324" y="14585"/>
                    </a:lnTo>
                    <a:lnTo>
                      <a:pt x="0" y="26058"/>
                    </a:lnTo>
                    <a:lnTo>
                      <a:pt x="2324" y="37541"/>
                    </a:lnTo>
                    <a:lnTo>
                      <a:pt x="8658" y="46928"/>
                    </a:lnTo>
                    <a:lnTo>
                      <a:pt x="18045" y="53262"/>
                    </a:lnTo>
                    <a:lnTo>
                      <a:pt x="29527" y="55586"/>
                    </a:lnTo>
                    <a:lnTo>
                      <a:pt x="41782" y="55586"/>
                    </a:lnTo>
                    <a:lnTo>
                      <a:pt x="41782" y="44791"/>
                    </a:lnTo>
                    <a:lnTo>
                      <a:pt x="29527" y="44791"/>
                    </a:lnTo>
                    <a:lnTo>
                      <a:pt x="22244" y="43316"/>
                    </a:lnTo>
                    <a:lnTo>
                      <a:pt x="16289" y="39297"/>
                    </a:lnTo>
                    <a:lnTo>
                      <a:pt x="12269" y="33341"/>
                    </a:lnTo>
                    <a:lnTo>
                      <a:pt x="10794" y="26058"/>
                    </a:lnTo>
                    <a:lnTo>
                      <a:pt x="12269" y="18780"/>
                    </a:lnTo>
                    <a:lnTo>
                      <a:pt x="16289" y="12833"/>
                    </a:lnTo>
                    <a:lnTo>
                      <a:pt x="22244" y="8822"/>
                    </a:lnTo>
                    <a:lnTo>
                      <a:pt x="29527" y="7351"/>
                    </a:lnTo>
                    <a:lnTo>
                      <a:pt x="41782" y="7351"/>
                    </a:lnTo>
                    <a:lnTo>
                      <a:pt x="41782" y="0"/>
                    </a:lnTo>
                    <a:close/>
                  </a:path>
                </a:pathLst>
              </a:custGeom>
              <a:solidFill>
                <a:srgbClr val="9B9B9A"/>
              </a:solidFill>
            </p:spPr>
            <p:txBody>
              <a:bodyPr wrap="square" lIns="0" tIns="0" rIns="0" bIns="0" rtlCol="0"/>
              <a:lstStyle/>
              <a:p>
                <a:endParaRPr/>
              </a:p>
            </p:txBody>
          </p:sp>
          <p:sp>
            <p:nvSpPr>
              <p:cNvPr id="48" name="object 14"/>
              <p:cNvSpPr/>
              <p:nvPr userDrawn="1"/>
            </p:nvSpPr>
            <p:spPr>
              <a:xfrm>
                <a:off x="1908617" y="4231906"/>
                <a:ext cx="41910" cy="55880"/>
              </a:xfrm>
              <a:custGeom>
                <a:avLst/>
                <a:gdLst/>
                <a:ahLst/>
                <a:cxnLst/>
                <a:rect l="l" t="t" r="r" b="b"/>
                <a:pathLst>
                  <a:path w="41910" h="55879">
                    <a:moveTo>
                      <a:pt x="41757" y="0"/>
                    </a:moveTo>
                    <a:lnTo>
                      <a:pt x="16382" y="0"/>
                    </a:lnTo>
                    <a:lnTo>
                      <a:pt x="8658" y="5207"/>
                    </a:lnTo>
                    <a:lnTo>
                      <a:pt x="2324" y="14585"/>
                    </a:lnTo>
                    <a:lnTo>
                      <a:pt x="0" y="26058"/>
                    </a:lnTo>
                    <a:lnTo>
                      <a:pt x="2324" y="37541"/>
                    </a:lnTo>
                    <a:lnTo>
                      <a:pt x="8658" y="46928"/>
                    </a:lnTo>
                    <a:lnTo>
                      <a:pt x="18045" y="53262"/>
                    </a:lnTo>
                    <a:lnTo>
                      <a:pt x="29527" y="55586"/>
                    </a:lnTo>
                    <a:lnTo>
                      <a:pt x="41757" y="55586"/>
                    </a:lnTo>
                    <a:lnTo>
                      <a:pt x="41757" y="44791"/>
                    </a:lnTo>
                    <a:lnTo>
                      <a:pt x="29527" y="44791"/>
                    </a:lnTo>
                    <a:lnTo>
                      <a:pt x="22244" y="43316"/>
                    </a:lnTo>
                    <a:lnTo>
                      <a:pt x="16289" y="39297"/>
                    </a:lnTo>
                    <a:lnTo>
                      <a:pt x="12269" y="33341"/>
                    </a:lnTo>
                    <a:lnTo>
                      <a:pt x="10795" y="26058"/>
                    </a:lnTo>
                    <a:lnTo>
                      <a:pt x="12269" y="18780"/>
                    </a:lnTo>
                    <a:lnTo>
                      <a:pt x="16289" y="12833"/>
                    </a:lnTo>
                    <a:lnTo>
                      <a:pt x="22244" y="8822"/>
                    </a:lnTo>
                    <a:lnTo>
                      <a:pt x="29527" y="7351"/>
                    </a:lnTo>
                    <a:lnTo>
                      <a:pt x="41757" y="7351"/>
                    </a:lnTo>
                    <a:lnTo>
                      <a:pt x="41757" y="0"/>
                    </a:lnTo>
                    <a:close/>
                  </a:path>
                </a:pathLst>
              </a:custGeom>
              <a:solidFill>
                <a:srgbClr val="9B9B9A"/>
              </a:solidFill>
            </p:spPr>
            <p:txBody>
              <a:bodyPr wrap="square" lIns="0" tIns="0" rIns="0" bIns="0" rtlCol="0"/>
              <a:lstStyle/>
              <a:p>
                <a:endParaRPr/>
              </a:p>
            </p:txBody>
          </p:sp>
          <p:sp>
            <p:nvSpPr>
              <p:cNvPr id="49" name="object 15"/>
              <p:cNvSpPr/>
              <p:nvPr userDrawn="1"/>
            </p:nvSpPr>
            <p:spPr>
              <a:xfrm>
                <a:off x="1527318" y="4231906"/>
                <a:ext cx="41910" cy="55880"/>
              </a:xfrm>
              <a:custGeom>
                <a:avLst/>
                <a:gdLst/>
                <a:ahLst/>
                <a:cxnLst/>
                <a:rect l="l" t="t" r="r" b="b"/>
                <a:pathLst>
                  <a:path w="41909" h="55879">
                    <a:moveTo>
                      <a:pt x="41770" y="0"/>
                    </a:moveTo>
                    <a:lnTo>
                      <a:pt x="16391" y="0"/>
                    </a:lnTo>
                    <a:lnTo>
                      <a:pt x="8664" y="5207"/>
                    </a:lnTo>
                    <a:lnTo>
                      <a:pt x="2326" y="14585"/>
                    </a:lnTo>
                    <a:lnTo>
                      <a:pt x="0" y="26058"/>
                    </a:lnTo>
                    <a:lnTo>
                      <a:pt x="2326" y="37541"/>
                    </a:lnTo>
                    <a:lnTo>
                      <a:pt x="8664" y="46928"/>
                    </a:lnTo>
                    <a:lnTo>
                      <a:pt x="18055" y="53262"/>
                    </a:lnTo>
                    <a:lnTo>
                      <a:pt x="29540" y="55586"/>
                    </a:lnTo>
                    <a:lnTo>
                      <a:pt x="41770" y="55586"/>
                    </a:lnTo>
                    <a:lnTo>
                      <a:pt x="41770" y="44791"/>
                    </a:lnTo>
                    <a:lnTo>
                      <a:pt x="29540" y="44791"/>
                    </a:lnTo>
                    <a:lnTo>
                      <a:pt x="22246" y="43316"/>
                    </a:lnTo>
                    <a:lnTo>
                      <a:pt x="16292" y="39297"/>
                    </a:lnTo>
                    <a:lnTo>
                      <a:pt x="12279" y="33341"/>
                    </a:lnTo>
                    <a:lnTo>
                      <a:pt x="10807" y="26058"/>
                    </a:lnTo>
                    <a:lnTo>
                      <a:pt x="12279" y="18780"/>
                    </a:lnTo>
                    <a:lnTo>
                      <a:pt x="16292" y="12833"/>
                    </a:lnTo>
                    <a:lnTo>
                      <a:pt x="22246" y="8822"/>
                    </a:lnTo>
                    <a:lnTo>
                      <a:pt x="29540" y="7351"/>
                    </a:lnTo>
                    <a:lnTo>
                      <a:pt x="41770" y="7351"/>
                    </a:lnTo>
                    <a:lnTo>
                      <a:pt x="41770" y="0"/>
                    </a:lnTo>
                    <a:close/>
                  </a:path>
                </a:pathLst>
              </a:custGeom>
              <a:solidFill>
                <a:srgbClr val="9B9B9A"/>
              </a:solidFill>
            </p:spPr>
            <p:txBody>
              <a:bodyPr wrap="square" lIns="0" tIns="0" rIns="0" bIns="0" rtlCol="0"/>
              <a:lstStyle/>
              <a:p>
                <a:endParaRPr/>
              </a:p>
            </p:txBody>
          </p:sp>
          <p:sp>
            <p:nvSpPr>
              <p:cNvPr id="50" name="object 16"/>
              <p:cNvSpPr/>
              <p:nvPr userDrawn="1"/>
            </p:nvSpPr>
            <p:spPr>
              <a:xfrm>
                <a:off x="1146032" y="4231906"/>
                <a:ext cx="41910" cy="55880"/>
              </a:xfrm>
              <a:custGeom>
                <a:avLst/>
                <a:gdLst/>
                <a:ahLst/>
                <a:cxnLst/>
                <a:rect l="l" t="t" r="r" b="b"/>
                <a:pathLst>
                  <a:path w="41909" h="55879">
                    <a:moveTo>
                      <a:pt x="41770" y="0"/>
                    </a:moveTo>
                    <a:lnTo>
                      <a:pt x="16391" y="0"/>
                    </a:lnTo>
                    <a:lnTo>
                      <a:pt x="8664" y="5207"/>
                    </a:lnTo>
                    <a:lnTo>
                      <a:pt x="2326" y="14585"/>
                    </a:lnTo>
                    <a:lnTo>
                      <a:pt x="0" y="26058"/>
                    </a:lnTo>
                    <a:lnTo>
                      <a:pt x="2326" y="37541"/>
                    </a:lnTo>
                    <a:lnTo>
                      <a:pt x="8664" y="46928"/>
                    </a:lnTo>
                    <a:lnTo>
                      <a:pt x="18055" y="53262"/>
                    </a:lnTo>
                    <a:lnTo>
                      <a:pt x="29540" y="55586"/>
                    </a:lnTo>
                    <a:lnTo>
                      <a:pt x="41770" y="55586"/>
                    </a:lnTo>
                    <a:lnTo>
                      <a:pt x="41770" y="44791"/>
                    </a:lnTo>
                    <a:lnTo>
                      <a:pt x="29540" y="44791"/>
                    </a:lnTo>
                    <a:lnTo>
                      <a:pt x="22246" y="43316"/>
                    </a:lnTo>
                    <a:lnTo>
                      <a:pt x="16292" y="39297"/>
                    </a:lnTo>
                    <a:lnTo>
                      <a:pt x="12279" y="33341"/>
                    </a:lnTo>
                    <a:lnTo>
                      <a:pt x="10807" y="26058"/>
                    </a:lnTo>
                    <a:lnTo>
                      <a:pt x="12279" y="18780"/>
                    </a:lnTo>
                    <a:lnTo>
                      <a:pt x="16292" y="12833"/>
                    </a:lnTo>
                    <a:lnTo>
                      <a:pt x="22246" y="8822"/>
                    </a:lnTo>
                    <a:lnTo>
                      <a:pt x="29540" y="7351"/>
                    </a:lnTo>
                    <a:lnTo>
                      <a:pt x="41770" y="7351"/>
                    </a:lnTo>
                    <a:lnTo>
                      <a:pt x="41770" y="0"/>
                    </a:lnTo>
                    <a:close/>
                  </a:path>
                </a:pathLst>
              </a:custGeom>
              <a:solidFill>
                <a:srgbClr val="9B9B9A"/>
              </a:solidFill>
            </p:spPr>
            <p:txBody>
              <a:bodyPr wrap="square" lIns="0" tIns="0" rIns="0" bIns="0" rtlCol="0"/>
              <a:lstStyle/>
              <a:p>
                <a:endParaRPr/>
              </a:p>
            </p:txBody>
          </p:sp>
          <p:sp>
            <p:nvSpPr>
              <p:cNvPr id="51" name="object 17"/>
              <p:cNvSpPr/>
              <p:nvPr userDrawn="1"/>
            </p:nvSpPr>
            <p:spPr>
              <a:xfrm>
                <a:off x="764722" y="4231906"/>
                <a:ext cx="41910" cy="55880"/>
              </a:xfrm>
              <a:custGeom>
                <a:avLst/>
                <a:gdLst/>
                <a:ahLst/>
                <a:cxnLst/>
                <a:rect l="l" t="t" r="r" b="b"/>
                <a:pathLst>
                  <a:path w="41909" h="55879">
                    <a:moveTo>
                      <a:pt x="41795" y="0"/>
                    </a:moveTo>
                    <a:lnTo>
                      <a:pt x="16397" y="0"/>
                    </a:lnTo>
                    <a:lnTo>
                      <a:pt x="8669" y="5207"/>
                    </a:lnTo>
                    <a:lnTo>
                      <a:pt x="2327" y="14585"/>
                    </a:lnTo>
                    <a:lnTo>
                      <a:pt x="0" y="26058"/>
                    </a:lnTo>
                    <a:lnTo>
                      <a:pt x="2327" y="37541"/>
                    </a:lnTo>
                    <a:lnTo>
                      <a:pt x="8669" y="46928"/>
                    </a:lnTo>
                    <a:lnTo>
                      <a:pt x="18061" y="53262"/>
                    </a:lnTo>
                    <a:lnTo>
                      <a:pt x="29540" y="55586"/>
                    </a:lnTo>
                    <a:lnTo>
                      <a:pt x="41795" y="55586"/>
                    </a:lnTo>
                    <a:lnTo>
                      <a:pt x="41795" y="44791"/>
                    </a:lnTo>
                    <a:lnTo>
                      <a:pt x="29540" y="44791"/>
                    </a:lnTo>
                    <a:lnTo>
                      <a:pt x="22251" y="43316"/>
                    </a:lnTo>
                    <a:lnTo>
                      <a:pt x="16297" y="39297"/>
                    </a:lnTo>
                    <a:lnTo>
                      <a:pt x="12280" y="33341"/>
                    </a:lnTo>
                    <a:lnTo>
                      <a:pt x="10807" y="26058"/>
                    </a:lnTo>
                    <a:lnTo>
                      <a:pt x="12280" y="18780"/>
                    </a:lnTo>
                    <a:lnTo>
                      <a:pt x="16297" y="12833"/>
                    </a:lnTo>
                    <a:lnTo>
                      <a:pt x="22251" y="8822"/>
                    </a:lnTo>
                    <a:lnTo>
                      <a:pt x="29540" y="7351"/>
                    </a:lnTo>
                    <a:lnTo>
                      <a:pt x="41795" y="7351"/>
                    </a:lnTo>
                    <a:lnTo>
                      <a:pt x="41795" y="0"/>
                    </a:lnTo>
                    <a:close/>
                  </a:path>
                </a:pathLst>
              </a:custGeom>
              <a:solidFill>
                <a:srgbClr val="9B9B9A"/>
              </a:solidFill>
            </p:spPr>
            <p:txBody>
              <a:bodyPr wrap="square" lIns="0" tIns="0" rIns="0" bIns="0" rtlCol="0"/>
              <a:lstStyle/>
              <a:p>
                <a:endParaRPr/>
              </a:p>
            </p:txBody>
          </p:sp>
          <p:sp>
            <p:nvSpPr>
              <p:cNvPr id="52" name="object 18"/>
              <p:cNvSpPr/>
              <p:nvPr userDrawn="1"/>
            </p:nvSpPr>
            <p:spPr>
              <a:xfrm>
                <a:off x="764726" y="4607980"/>
                <a:ext cx="41910" cy="59055"/>
              </a:xfrm>
              <a:custGeom>
                <a:avLst/>
                <a:gdLst/>
                <a:ahLst/>
                <a:cxnLst/>
                <a:rect l="l" t="t" r="r" b="b"/>
                <a:pathLst>
                  <a:path w="41909" h="59054">
                    <a:moveTo>
                      <a:pt x="12255" y="0"/>
                    </a:moveTo>
                    <a:lnTo>
                      <a:pt x="0" y="0"/>
                    </a:lnTo>
                    <a:lnTo>
                      <a:pt x="0" y="10795"/>
                    </a:lnTo>
                    <a:lnTo>
                      <a:pt x="12255" y="10795"/>
                    </a:lnTo>
                    <a:lnTo>
                      <a:pt x="19534" y="12269"/>
                    </a:lnTo>
                    <a:lnTo>
                      <a:pt x="25480" y="16289"/>
                    </a:lnTo>
                    <a:lnTo>
                      <a:pt x="29491" y="22244"/>
                    </a:lnTo>
                    <a:lnTo>
                      <a:pt x="30962" y="29527"/>
                    </a:lnTo>
                    <a:lnTo>
                      <a:pt x="29491" y="36806"/>
                    </a:lnTo>
                    <a:lnTo>
                      <a:pt x="25480" y="42752"/>
                    </a:lnTo>
                    <a:lnTo>
                      <a:pt x="19534" y="46763"/>
                    </a:lnTo>
                    <a:lnTo>
                      <a:pt x="12255" y="48234"/>
                    </a:lnTo>
                    <a:lnTo>
                      <a:pt x="0" y="48234"/>
                    </a:lnTo>
                    <a:lnTo>
                      <a:pt x="0" y="59029"/>
                    </a:lnTo>
                    <a:lnTo>
                      <a:pt x="12255" y="59029"/>
                    </a:lnTo>
                    <a:lnTo>
                      <a:pt x="23739" y="56709"/>
                    </a:lnTo>
                    <a:lnTo>
                      <a:pt x="33131" y="50384"/>
                    </a:lnTo>
                    <a:lnTo>
                      <a:pt x="39469" y="41005"/>
                    </a:lnTo>
                    <a:lnTo>
                      <a:pt x="41795" y="29527"/>
                    </a:lnTo>
                    <a:lnTo>
                      <a:pt x="39469" y="18045"/>
                    </a:lnTo>
                    <a:lnTo>
                      <a:pt x="33131" y="8658"/>
                    </a:lnTo>
                    <a:lnTo>
                      <a:pt x="23739" y="2324"/>
                    </a:lnTo>
                    <a:lnTo>
                      <a:pt x="12255" y="0"/>
                    </a:lnTo>
                    <a:close/>
                  </a:path>
                </a:pathLst>
              </a:custGeom>
              <a:solidFill>
                <a:srgbClr val="9B9B9A"/>
              </a:solidFill>
            </p:spPr>
            <p:txBody>
              <a:bodyPr wrap="square" lIns="0" tIns="0" rIns="0" bIns="0" rtlCol="0"/>
              <a:lstStyle/>
              <a:p>
                <a:endParaRPr/>
              </a:p>
            </p:txBody>
          </p:sp>
          <p:sp>
            <p:nvSpPr>
              <p:cNvPr id="53" name="object 19"/>
              <p:cNvSpPr/>
              <p:nvPr userDrawn="1"/>
            </p:nvSpPr>
            <p:spPr>
              <a:xfrm>
                <a:off x="1146030" y="4607980"/>
                <a:ext cx="41910" cy="59055"/>
              </a:xfrm>
              <a:custGeom>
                <a:avLst/>
                <a:gdLst/>
                <a:ahLst/>
                <a:cxnLst/>
                <a:rect l="l" t="t" r="r" b="b"/>
                <a:pathLst>
                  <a:path w="41909" h="59054">
                    <a:moveTo>
                      <a:pt x="12242" y="0"/>
                    </a:moveTo>
                    <a:lnTo>
                      <a:pt x="0" y="0"/>
                    </a:lnTo>
                    <a:lnTo>
                      <a:pt x="0" y="10795"/>
                    </a:lnTo>
                    <a:lnTo>
                      <a:pt x="12242" y="10795"/>
                    </a:lnTo>
                    <a:lnTo>
                      <a:pt x="19520" y="12269"/>
                    </a:lnTo>
                    <a:lnTo>
                      <a:pt x="25476" y="16289"/>
                    </a:lnTo>
                    <a:lnTo>
                      <a:pt x="29498" y="22244"/>
                    </a:lnTo>
                    <a:lnTo>
                      <a:pt x="30975" y="29527"/>
                    </a:lnTo>
                    <a:lnTo>
                      <a:pt x="29498" y="36806"/>
                    </a:lnTo>
                    <a:lnTo>
                      <a:pt x="25476" y="42752"/>
                    </a:lnTo>
                    <a:lnTo>
                      <a:pt x="19520" y="46763"/>
                    </a:lnTo>
                    <a:lnTo>
                      <a:pt x="12242" y="48234"/>
                    </a:lnTo>
                    <a:lnTo>
                      <a:pt x="0" y="48234"/>
                    </a:lnTo>
                    <a:lnTo>
                      <a:pt x="0" y="59029"/>
                    </a:lnTo>
                    <a:lnTo>
                      <a:pt x="12242" y="59029"/>
                    </a:lnTo>
                    <a:lnTo>
                      <a:pt x="23725" y="56709"/>
                    </a:lnTo>
                    <a:lnTo>
                      <a:pt x="33112" y="50384"/>
                    </a:lnTo>
                    <a:lnTo>
                      <a:pt x="39446" y="41005"/>
                    </a:lnTo>
                    <a:lnTo>
                      <a:pt x="41770" y="29527"/>
                    </a:lnTo>
                    <a:lnTo>
                      <a:pt x="39446" y="18045"/>
                    </a:lnTo>
                    <a:lnTo>
                      <a:pt x="33112" y="8658"/>
                    </a:lnTo>
                    <a:lnTo>
                      <a:pt x="23725" y="2324"/>
                    </a:lnTo>
                    <a:lnTo>
                      <a:pt x="12242" y="0"/>
                    </a:lnTo>
                    <a:close/>
                  </a:path>
                </a:pathLst>
              </a:custGeom>
              <a:solidFill>
                <a:srgbClr val="000000"/>
              </a:solidFill>
            </p:spPr>
            <p:txBody>
              <a:bodyPr wrap="square" lIns="0" tIns="0" rIns="0" bIns="0" rtlCol="0"/>
              <a:lstStyle/>
              <a:p>
                <a:endParaRPr/>
              </a:p>
            </p:txBody>
          </p:sp>
          <p:sp>
            <p:nvSpPr>
              <p:cNvPr id="54" name="object 20"/>
              <p:cNvSpPr/>
              <p:nvPr userDrawn="1"/>
            </p:nvSpPr>
            <p:spPr>
              <a:xfrm>
                <a:off x="1527322" y="4607980"/>
                <a:ext cx="41910" cy="59055"/>
              </a:xfrm>
              <a:custGeom>
                <a:avLst/>
                <a:gdLst/>
                <a:ahLst/>
                <a:cxnLst/>
                <a:rect l="l" t="t" r="r" b="b"/>
                <a:pathLst>
                  <a:path w="41909" h="59054">
                    <a:moveTo>
                      <a:pt x="12242" y="0"/>
                    </a:moveTo>
                    <a:lnTo>
                      <a:pt x="0" y="0"/>
                    </a:lnTo>
                    <a:lnTo>
                      <a:pt x="0" y="10795"/>
                    </a:lnTo>
                    <a:lnTo>
                      <a:pt x="12242" y="10795"/>
                    </a:lnTo>
                    <a:lnTo>
                      <a:pt x="19531" y="12269"/>
                    </a:lnTo>
                    <a:lnTo>
                      <a:pt x="25485" y="16289"/>
                    </a:lnTo>
                    <a:lnTo>
                      <a:pt x="29502" y="22244"/>
                    </a:lnTo>
                    <a:lnTo>
                      <a:pt x="30975" y="29527"/>
                    </a:lnTo>
                    <a:lnTo>
                      <a:pt x="29502" y="36806"/>
                    </a:lnTo>
                    <a:lnTo>
                      <a:pt x="25485" y="42752"/>
                    </a:lnTo>
                    <a:lnTo>
                      <a:pt x="19531" y="46763"/>
                    </a:lnTo>
                    <a:lnTo>
                      <a:pt x="12242" y="48234"/>
                    </a:lnTo>
                    <a:lnTo>
                      <a:pt x="0" y="48234"/>
                    </a:lnTo>
                    <a:lnTo>
                      <a:pt x="0" y="59029"/>
                    </a:lnTo>
                    <a:lnTo>
                      <a:pt x="12242" y="59029"/>
                    </a:lnTo>
                    <a:lnTo>
                      <a:pt x="23730" y="56709"/>
                    </a:lnTo>
                    <a:lnTo>
                      <a:pt x="33116" y="50384"/>
                    </a:lnTo>
                    <a:lnTo>
                      <a:pt x="39447" y="41005"/>
                    </a:lnTo>
                    <a:lnTo>
                      <a:pt x="41770" y="29527"/>
                    </a:lnTo>
                    <a:lnTo>
                      <a:pt x="39447" y="18045"/>
                    </a:lnTo>
                    <a:lnTo>
                      <a:pt x="33116" y="8658"/>
                    </a:lnTo>
                    <a:lnTo>
                      <a:pt x="23730" y="2324"/>
                    </a:lnTo>
                    <a:lnTo>
                      <a:pt x="12242" y="0"/>
                    </a:lnTo>
                    <a:close/>
                  </a:path>
                </a:pathLst>
              </a:custGeom>
              <a:solidFill>
                <a:srgbClr val="000000"/>
              </a:solidFill>
            </p:spPr>
            <p:txBody>
              <a:bodyPr wrap="square" lIns="0" tIns="0" rIns="0" bIns="0" rtlCol="0"/>
              <a:lstStyle/>
              <a:p>
                <a:endParaRPr/>
              </a:p>
            </p:txBody>
          </p:sp>
          <p:sp>
            <p:nvSpPr>
              <p:cNvPr id="55" name="object 21"/>
              <p:cNvSpPr/>
              <p:nvPr userDrawn="1"/>
            </p:nvSpPr>
            <p:spPr>
              <a:xfrm>
                <a:off x="1908614" y="4607980"/>
                <a:ext cx="41910" cy="59055"/>
              </a:xfrm>
              <a:custGeom>
                <a:avLst/>
                <a:gdLst/>
                <a:ahLst/>
                <a:cxnLst/>
                <a:rect l="l" t="t" r="r" b="b"/>
                <a:pathLst>
                  <a:path w="41910" h="59054">
                    <a:moveTo>
                      <a:pt x="12230" y="0"/>
                    </a:moveTo>
                    <a:lnTo>
                      <a:pt x="0" y="0"/>
                    </a:lnTo>
                    <a:lnTo>
                      <a:pt x="0" y="10795"/>
                    </a:lnTo>
                    <a:lnTo>
                      <a:pt x="12230" y="10795"/>
                    </a:lnTo>
                    <a:lnTo>
                      <a:pt x="19523" y="12269"/>
                    </a:lnTo>
                    <a:lnTo>
                      <a:pt x="25477" y="16289"/>
                    </a:lnTo>
                    <a:lnTo>
                      <a:pt x="29491" y="22244"/>
                    </a:lnTo>
                    <a:lnTo>
                      <a:pt x="30962" y="29527"/>
                    </a:lnTo>
                    <a:lnTo>
                      <a:pt x="29491" y="36806"/>
                    </a:lnTo>
                    <a:lnTo>
                      <a:pt x="25477" y="42752"/>
                    </a:lnTo>
                    <a:lnTo>
                      <a:pt x="19523" y="46763"/>
                    </a:lnTo>
                    <a:lnTo>
                      <a:pt x="12230" y="48234"/>
                    </a:lnTo>
                    <a:lnTo>
                      <a:pt x="0" y="48234"/>
                    </a:lnTo>
                    <a:lnTo>
                      <a:pt x="0" y="59029"/>
                    </a:lnTo>
                    <a:lnTo>
                      <a:pt x="12230" y="59029"/>
                    </a:lnTo>
                    <a:lnTo>
                      <a:pt x="23723" y="56709"/>
                    </a:lnTo>
                    <a:lnTo>
                      <a:pt x="33108" y="50384"/>
                    </a:lnTo>
                    <a:lnTo>
                      <a:pt x="39437" y="41005"/>
                    </a:lnTo>
                    <a:lnTo>
                      <a:pt x="41757" y="29527"/>
                    </a:lnTo>
                    <a:lnTo>
                      <a:pt x="39437" y="18045"/>
                    </a:lnTo>
                    <a:lnTo>
                      <a:pt x="33108" y="8658"/>
                    </a:lnTo>
                    <a:lnTo>
                      <a:pt x="23723" y="2324"/>
                    </a:lnTo>
                    <a:lnTo>
                      <a:pt x="12230" y="0"/>
                    </a:lnTo>
                    <a:close/>
                  </a:path>
                </a:pathLst>
              </a:custGeom>
              <a:solidFill>
                <a:srgbClr val="000000"/>
              </a:solidFill>
            </p:spPr>
            <p:txBody>
              <a:bodyPr wrap="square" lIns="0" tIns="0" rIns="0" bIns="0" rtlCol="0"/>
              <a:lstStyle/>
              <a:p>
                <a:endParaRPr/>
              </a:p>
            </p:txBody>
          </p:sp>
          <p:sp>
            <p:nvSpPr>
              <p:cNvPr id="56" name="object 22"/>
              <p:cNvSpPr/>
              <p:nvPr userDrawn="1"/>
            </p:nvSpPr>
            <p:spPr>
              <a:xfrm>
                <a:off x="2289905" y="4607980"/>
                <a:ext cx="41910" cy="59055"/>
              </a:xfrm>
              <a:custGeom>
                <a:avLst/>
                <a:gdLst/>
                <a:ahLst/>
                <a:cxnLst/>
                <a:rect l="l" t="t" r="r" b="b"/>
                <a:pathLst>
                  <a:path w="41910" h="59054">
                    <a:moveTo>
                      <a:pt x="12230" y="0"/>
                    </a:moveTo>
                    <a:lnTo>
                      <a:pt x="0" y="0"/>
                    </a:lnTo>
                    <a:lnTo>
                      <a:pt x="0" y="10795"/>
                    </a:lnTo>
                    <a:lnTo>
                      <a:pt x="12230" y="10795"/>
                    </a:lnTo>
                    <a:lnTo>
                      <a:pt x="19518" y="12269"/>
                    </a:lnTo>
                    <a:lnTo>
                      <a:pt x="25473" y="16289"/>
                    </a:lnTo>
                    <a:lnTo>
                      <a:pt x="29489" y="22244"/>
                    </a:lnTo>
                    <a:lnTo>
                      <a:pt x="30962" y="29527"/>
                    </a:lnTo>
                    <a:lnTo>
                      <a:pt x="29489" y="36806"/>
                    </a:lnTo>
                    <a:lnTo>
                      <a:pt x="25473" y="42752"/>
                    </a:lnTo>
                    <a:lnTo>
                      <a:pt x="19518" y="46763"/>
                    </a:lnTo>
                    <a:lnTo>
                      <a:pt x="12230" y="48234"/>
                    </a:lnTo>
                    <a:lnTo>
                      <a:pt x="0" y="48234"/>
                    </a:lnTo>
                    <a:lnTo>
                      <a:pt x="0" y="59029"/>
                    </a:lnTo>
                    <a:lnTo>
                      <a:pt x="12230" y="59029"/>
                    </a:lnTo>
                    <a:lnTo>
                      <a:pt x="23727" y="56709"/>
                    </a:lnTo>
                    <a:lnTo>
                      <a:pt x="33121" y="50384"/>
                    </a:lnTo>
                    <a:lnTo>
                      <a:pt x="39458" y="41005"/>
                    </a:lnTo>
                    <a:lnTo>
                      <a:pt x="41782" y="29527"/>
                    </a:lnTo>
                    <a:lnTo>
                      <a:pt x="39458" y="18045"/>
                    </a:lnTo>
                    <a:lnTo>
                      <a:pt x="33121" y="8658"/>
                    </a:lnTo>
                    <a:lnTo>
                      <a:pt x="23727" y="2324"/>
                    </a:lnTo>
                    <a:lnTo>
                      <a:pt x="12230" y="0"/>
                    </a:lnTo>
                    <a:close/>
                  </a:path>
                </a:pathLst>
              </a:custGeom>
              <a:solidFill>
                <a:srgbClr val="9B9B9A"/>
              </a:solidFill>
            </p:spPr>
            <p:txBody>
              <a:bodyPr wrap="square" lIns="0" tIns="0" rIns="0" bIns="0" rtlCol="0"/>
              <a:lstStyle/>
              <a:p>
                <a:endParaRPr/>
              </a:p>
            </p:txBody>
          </p:sp>
          <p:sp>
            <p:nvSpPr>
              <p:cNvPr id="57" name="object 23"/>
              <p:cNvSpPr/>
              <p:nvPr userDrawn="1"/>
            </p:nvSpPr>
            <p:spPr>
              <a:xfrm>
                <a:off x="2671183" y="4607980"/>
                <a:ext cx="41910" cy="59055"/>
              </a:xfrm>
              <a:custGeom>
                <a:avLst/>
                <a:gdLst/>
                <a:ahLst/>
                <a:cxnLst/>
                <a:rect l="l" t="t" r="r" b="b"/>
                <a:pathLst>
                  <a:path w="41910" h="59054">
                    <a:moveTo>
                      <a:pt x="12268" y="0"/>
                    </a:moveTo>
                    <a:lnTo>
                      <a:pt x="0" y="0"/>
                    </a:lnTo>
                    <a:lnTo>
                      <a:pt x="0" y="10795"/>
                    </a:lnTo>
                    <a:lnTo>
                      <a:pt x="12268" y="10795"/>
                    </a:lnTo>
                    <a:lnTo>
                      <a:pt x="19545" y="12269"/>
                    </a:lnTo>
                    <a:lnTo>
                      <a:pt x="25501" y="16289"/>
                    </a:lnTo>
                    <a:lnTo>
                      <a:pt x="29523" y="22244"/>
                    </a:lnTo>
                    <a:lnTo>
                      <a:pt x="31000" y="29527"/>
                    </a:lnTo>
                    <a:lnTo>
                      <a:pt x="29523" y="36806"/>
                    </a:lnTo>
                    <a:lnTo>
                      <a:pt x="25501" y="42752"/>
                    </a:lnTo>
                    <a:lnTo>
                      <a:pt x="19545" y="46763"/>
                    </a:lnTo>
                    <a:lnTo>
                      <a:pt x="12268" y="48234"/>
                    </a:lnTo>
                    <a:lnTo>
                      <a:pt x="0" y="48234"/>
                    </a:lnTo>
                    <a:lnTo>
                      <a:pt x="0" y="59029"/>
                    </a:lnTo>
                    <a:lnTo>
                      <a:pt x="12268" y="59029"/>
                    </a:lnTo>
                    <a:lnTo>
                      <a:pt x="23750" y="56709"/>
                    </a:lnTo>
                    <a:lnTo>
                      <a:pt x="33137" y="50384"/>
                    </a:lnTo>
                    <a:lnTo>
                      <a:pt x="39471" y="41005"/>
                    </a:lnTo>
                    <a:lnTo>
                      <a:pt x="41795" y="29527"/>
                    </a:lnTo>
                    <a:lnTo>
                      <a:pt x="39471" y="18045"/>
                    </a:lnTo>
                    <a:lnTo>
                      <a:pt x="33137" y="8658"/>
                    </a:lnTo>
                    <a:lnTo>
                      <a:pt x="23750" y="2324"/>
                    </a:lnTo>
                    <a:lnTo>
                      <a:pt x="12268" y="0"/>
                    </a:lnTo>
                    <a:close/>
                  </a:path>
                </a:pathLst>
              </a:custGeom>
              <a:solidFill>
                <a:srgbClr val="9B9B9A"/>
              </a:solidFill>
            </p:spPr>
            <p:txBody>
              <a:bodyPr wrap="square" lIns="0" tIns="0" rIns="0" bIns="0" rtlCol="0"/>
              <a:lstStyle/>
              <a:p>
                <a:endParaRPr/>
              </a:p>
            </p:txBody>
          </p:sp>
          <p:sp>
            <p:nvSpPr>
              <p:cNvPr id="58" name="object 24"/>
              <p:cNvSpPr/>
              <p:nvPr userDrawn="1"/>
            </p:nvSpPr>
            <p:spPr>
              <a:xfrm>
                <a:off x="3052500" y="4607980"/>
                <a:ext cx="41910" cy="59055"/>
              </a:xfrm>
              <a:custGeom>
                <a:avLst/>
                <a:gdLst/>
                <a:ahLst/>
                <a:cxnLst/>
                <a:rect l="l" t="t" r="r" b="b"/>
                <a:pathLst>
                  <a:path w="41910" h="59054">
                    <a:moveTo>
                      <a:pt x="12230" y="0"/>
                    </a:moveTo>
                    <a:lnTo>
                      <a:pt x="0" y="0"/>
                    </a:lnTo>
                    <a:lnTo>
                      <a:pt x="0" y="10795"/>
                    </a:lnTo>
                    <a:lnTo>
                      <a:pt x="12230" y="10795"/>
                    </a:lnTo>
                    <a:lnTo>
                      <a:pt x="19512" y="12269"/>
                    </a:lnTo>
                    <a:lnTo>
                      <a:pt x="25468" y="16289"/>
                    </a:lnTo>
                    <a:lnTo>
                      <a:pt x="29487" y="22244"/>
                    </a:lnTo>
                    <a:lnTo>
                      <a:pt x="30962" y="29527"/>
                    </a:lnTo>
                    <a:lnTo>
                      <a:pt x="29487" y="36806"/>
                    </a:lnTo>
                    <a:lnTo>
                      <a:pt x="25468" y="42752"/>
                    </a:lnTo>
                    <a:lnTo>
                      <a:pt x="19512" y="46763"/>
                    </a:lnTo>
                    <a:lnTo>
                      <a:pt x="12230" y="48234"/>
                    </a:lnTo>
                    <a:lnTo>
                      <a:pt x="0" y="48234"/>
                    </a:lnTo>
                    <a:lnTo>
                      <a:pt x="0" y="59029"/>
                    </a:lnTo>
                    <a:lnTo>
                      <a:pt x="12230" y="59029"/>
                    </a:lnTo>
                    <a:lnTo>
                      <a:pt x="23714" y="56709"/>
                    </a:lnTo>
                    <a:lnTo>
                      <a:pt x="33105" y="50384"/>
                    </a:lnTo>
                    <a:lnTo>
                      <a:pt x="39444" y="41005"/>
                    </a:lnTo>
                    <a:lnTo>
                      <a:pt x="41770" y="29527"/>
                    </a:lnTo>
                    <a:lnTo>
                      <a:pt x="39444" y="18045"/>
                    </a:lnTo>
                    <a:lnTo>
                      <a:pt x="33105" y="8658"/>
                    </a:lnTo>
                    <a:lnTo>
                      <a:pt x="23714" y="2324"/>
                    </a:lnTo>
                    <a:lnTo>
                      <a:pt x="12230" y="0"/>
                    </a:lnTo>
                    <a:close/>
                  </a:path>
                </a:pathLst>
              </a:custGeom>
              <a:solidFill>
                <a:srgbClr val="9B9B9A"/>
              </a:solidFill>
            </p:spPr>
            <p:txBody>
              <a:bodyPr wrap="square" lIns="0" tIns="0" rIns="0" bIns="0" rtlCol="0"/>
              <a:lstStyle/>
              <a:p>
                <a:endParaRPr/>
              </a:p>
            </p:txBody>
          </p:sp>
          <p:sp>
            <p:nvSpPr>
              <p:cNvPr id="59" name="object 25"/>
              <p:cNvSpPr/>
              <p:nvPr userDrawn="1"/>
            </p:nvSpPr>
            <p:spPr>
              <a:xfrm>
                <a:off x="3433791" y="4607980"/>
                <a:ext cx="41910" cy="59055"/>
              </a:xfrm>
              <a:custGeom>
                <a:avLst/>
                <a:gdLst/>
                <a:ahLst/>
                <a:cxnLst/>
                <a:rect l="l" t="t" r="r" b="b"/>
                <a:pathLst>
                  <a:path w="41910" h="59054">
                    <a:moveTo>
                      <a:pt x="12230" y="0"/>
                    </a:moveTo>
                    <a:lnTo>
                      <a:pt x="0" y="0"/>
                    </a:lnTo>
                    <a:lnTo>
                      <a:pt x="0" y="10795"/>
                    </a:lnTo>
                    <a:lnTo>
                      <a:pt x="12230" y="10795"/>
                    </a:lnTo>
                    <a:lnTo>
                      <a:pt x="19523" y="12269"/>
                    </a:lnTo>
                    <a:lnTo>
                      <a:pt x="25477" y="16289"/>
                    </a:lnTo>
                    <a:lnTo>
                      <a:pt x="29491" y="22244"/>
                    </a:lnTo>
                    <a:lnTo>
                      <a:pt x="30962" y="29527"/>
                    </a:lnTo>
                    <a:lnTo>
                      <a:pt x="29491" y="36806"/>
                    </a:lnTo>
                    <a:lnTo>
                      <a:pt x="25477" y="42752"/>
                    </a:lnTo>
                    <a:lnTo>
                      <a:pt x="19523" y="46763"/>
                    </a:lnTo>
                    <a:lnTo>
                      <a:pt x="12230" y="48234"/>
                    </a:lnTo>
                    <a:lnTo>
                      <a:pt x="0" y="48234"/>
                    </a:lnTo>
                    <a:lnTo>
                      <a:pt x="0" y="59029"/>
                    </a:lnTo>
                    <a:lnTo>
                      <a:pt x="12230" y="59029"/>
                    </a:lnTo>
                    <a:lnTo>
                      <a:pt x="23723" y="56709"/>
                    </a:lnTo>
                    <a:lnTo>
                      <a:pt x="33108" y="50384"/>
                    </a:lnTo>
                    <a:lnTo>
                      <a:pt x="39437" y="41005"/>
                    </a:lnTo>
                    <a:lnTo>
                      <a:pt x="41757" y="29527"/>
                    </a:lnTo>
                    <a:lnTo>
                      <a:pt x="39437" y="18045"/>
                    </a:lnTo>
                    <a:lnTo>
                      <a:pt x="33108" y="8658"/>
                    </a:lnTo>
                    <a:lnTo>
                      <a:pt x="23723" y="2324"/>
                    </a:lnTo>
                    <a:lnTo>
                      <a:pt x="12230" y="0"/>
                    </a:lnTo>
                    <a:close/>
                  </a:path>
                </a:pathLst>
              </a:custGeom>
              <a:solidFill>
                <a:srgbClr val="9B9B9A"/>
              </a:solidFill>
            </p:spPr>
            <p:txBody>
              <a:bodyPr wrap="square" lIns="0" tIns="0" rIns="0" bIns="0" rtlCol="0"/>
              <a:lstStyle/>
              <a:p>
                <a:endParaRPr/>
              </a:p>
            </p:txBody>
          </p:sp>
          <p:sp>
            <p:nvSpPr>
              <p:cNvPr id="60" name="object 26"/>
              <p:cNvSpPr/>
              <p:nvPr userDrawn="1"/>
            </p:nvSpPr>
            <p:spPr>
              <a:xfrm>
                <a:off x="3815071" y="4607980"/>
                <a:ext cx="41910" cy="59055"/>
              </a:xfrm>
              <a:custGeom>
                <a:avLst/>
                <a:gdLst/>
                <a:ahLst/>
                <a:cxnLst/>
                <a:rect l="l" t="t" r="r" b="b"/>
                <a:pathLst>
                  <a:path w="41910" h="59054">
                    <a:moveTo>
                      <a:pt x="12242" y="0"/>
                    </a:moveTo>
                    <a:lnTo>
                      <a:pt x="0" y="0"/>
                    </a:lnTo>
                    <a:lnTo>
                      <a:pt x="0" y="10795"/>
                    </a:lnTo>
                    <a:lnTo>
                      <a:pt x="12242" y="10795"/>
                    </a:lnTo>
                    <a:lnTo>
                      <a:pt x="19531" y="12269"/>
                    </a:lnTo>
                    <a:lnTo>
                      <a:pt x="25485" y="16289"/>
                    </a:lnTo>
                    <a:lnTo>
                      <a:pt x="29502" y="22244"/>
                    </a:lnTo>
                    <a:lnTo>
                      <a:pt x="30975" y="29527"/>
                    </a:lnTo>
                    <a:lnTo>
                      <a:pt x="29502" y="36806"/>
                    </a:lnTo>
                    <a:lnTo>
                      <a:pt x="25485" y="42752"/>
                    </a:lnTo>
                    <a:lnTo>
                      <a:pt x="19531" y="46763"/>
                    </a:lnTo>
                    <a:lnTo>
                      <a:pt x="12242" y="48234"/>
                    </a:lnTo>
                    <a:lnTo>
                      <a:pt x="0" y="48234"/>
                    </a:lnTo>
                    <a:lnTo>
                      <a:pt x="0" y="59029"/>
                    </a:lnTo>
                    <a:lnTo>
                      <a:pt x="12242" y="59029"/>
                    </a:lnTo>
                    <a:lnTo>
                      <a:pt x="23735" y="56709"/>
                    </a:lnTo>
                    <a:lnTo>
                      <a:pt x="33121" y="50384"/>
                    </a:lnTo>
                    <a:lnTo>
                      <a:pt x="39449" y="41005"/>
                    </a:lnTo>
                    <a:lnTo>
                      <a:pt x="41770" y="29527"/>
                    </a:lnTo>
                    <a:lnTo>
                      <a:pt x="39449" y="18045"/>
                    </a:lnTo>
                    <a:lnTo>
                      <a:pt x="33121" y="8658"/>
                    </a:lnTo>
                    <a:lnTo>
                      <a:pt x="23735" y="2324"/>
                    </a:lnTo>
                    <a:lnTo>
                      <a:pt x="12242" y="0"/>
                    </a:lnTo>
                    <a:close/>
                  </a:path>
                </a:pathLst>
              </a:custGeom>
              <a:solidFill>
                <a:srgbClr val="9B9B9A"/>
              </a:solidFill>
            </p:spPr>
            <p:txBody>
              <a:bodyPr wrap="square" lIns="0" tIns="0" rIns="0" bIns="0" rtlCol="0"/>
              <a:lstStyle/>
              <a:p>
                <a:endParaRPr/>
              </a:p>
            </p:txBody>
          </p:sp>
          <p:sp>
            <p:nvSpPr>
              <p:cNvPr id="61" name="object 27"/>
              <p:cNvSpPr/>
              <p:nvPr userDrawn="1"/>
            </p:nvSpPr>
            <p:spPr>
              <a:xfrm>
                <a:off x="4196362" y="4607980"/>
                <a:ext cx="41910" cy="59055"/>
              </a:xfrm>
              <a:custGeom>
                <a:avLst/>
                <a:gdLst/>
                <a:ahLst/>
                <a:cxnLst/>
                <a:rect l="l" t="t" r="r" b="b"/>
                <a:pathLst>
                  <a:path w="41910" h="59054">
                    <a:moveTo>
                      <a:pt x="12268" y="0"/>
                    </a:moveTo>
                    <a:lnTo>
                      <a:pt x="0" y="0"/>
                    </a:lnTo>
                    <a:lnTo>
                      <a:pt x="0" y="10795"/>
                    </a:lnTo>
                    <a:lnTo>
                      <a:pt x="12268" y="10795"/>
                    </a:lnTo>
                    <a:lnTo>
                      <a:pt x="19545" y="12269"/>
                    </a:lnTo>
                    <a:lnTo>
                      <a:pt x="25501" y="16289"/>
                    </a:lnTo>
                    <a:lnTo>
                      <a:pt x="29523" y="22244"/>
                    </a:lnTo>
                    <a:lnTo>
                      <a:pt x="31000" y="29527"/>
                    </a:lnTo>
                    <a:lnTo>
                      <a:pt x="29523" y="36806"/>
                    </a:lnTo>
                    <a:lnTo>
                      <a:pt x="25501" y="42752"/>
                    </a:lnTo>
                    <a:lnTo>
                      <a:pt x="19545" y="46763"/>
                    </a:lnTo>
                    <a:lnTo>
                      <a:pt x="12268" y="48234"/>
                    </a:lnTo>
                    <a:lnTo>
                      <a:pt x="0" y="48234"/>
                    </a:lnTo>
                    <a:lnTo>
                      <a:pt x="0" y="59029"/>
                    </a:lnTo>
                    <a:lnTo>
                      <a:pt x="12268" y="59029"/>
                    </a:lnTo>
                    <a:lnTo>
                      <a:pt x="23745" y="56709"/>
                    </a:lnTo>
                    <a:lnTo>
                      <a:pt x="33132" y="50384"/>
                    </a:lnTo>
                    <a:lnTo>
                      <a:pt x="39469" y="41005"/>
                    </a:lnTo>
                    <a:lnTo>
                      <a:pt x="41795" y="29527"/>
                    </a:lnTo>
                    <a:lnTo>
                      <a:pt x="39469" y="18045"/>
                    </a:lnTo>
                    <a:lnTo>
                      <a:pt x="33132" y="8658"/>
                    </a:lnTo>
                    <a:lnTo>
                      <a:pt x="23745" y="2324"/>
                    </a:lnTo>
                    <a:lnTo>
                      <a:pt x="12268" y="0"/>
                    </a:lnTo>
                    <a:close/>
                  </a:path>
                </a:pathLst>
              </a:custGeom>
              <a:solidFill>
                <a:srgbClr val="9B9B9A"/>
              </a:solidFill>
            </p:spPr>
            <p:txBody>
              <a:bodyPr wrap="square" lIns="0" tIns="0" rIns="0" bIns="0" rtlCol="0"/>
              <a:lstStyle/>
              <a:p>
                <a:endParaRPr/>
              </a:p>
            </p:txBody>
          </p:sp>
          <p:sp>
            <p:nvSpPr>
              <p:cNvPr id="62" name="object 28"/>
              <p:cNvSpPr/>
              <p:nvPr userDrawn="1"/>
            </p:nvSpPr>
            <p:spPr>
              <a:xfrm>
                <a:off x="4577679" y="4607980"/>
                <a:ext cx="41910" cy="59055"/>
              </a:xfrm>
              <a:custGeom>
                <a:avLst/>
                <a:gdLst/>
                <a:ahLst/>
                <a:cxnLst/>
                <a:rect l="l" t="t" r="r" b="b"/>
                <a:pathLst>
                  <a:path w="41910" h="59054">
                    <a:moveTo>
                      <a:pt x="12230" y="0"/>
                    </a:moveTo>
                    <a:lnTo>
                      <a:pt x="0" y="0"/>
                    </a:lnTo>
                    <a:lnTo>
                      <a:pt x="0" y="10795"/>
                    </a:lnTo>
                    <a:lnTo>
                      <a:pt x="12230" y="10795"/>
                    </a:lnTo>
                    <a:lnTo>
                      <a:pt x="19512" y="12269"/>
                    </a:lnTo>
                    <a:lnTo>
                      <a:pt x="25468" y="16289"/>
                    </a:lnTo>
                    <a:lnTo>
                      <a:pt x="29487" y="22244"/>
                    </a:lnTo>
                    <a:lnTo>
                      <a:pt x="30962" y="29527"/>
                    </a:lnTo>
                    <a:lnTo>
                      <a:pt x="29487" y="36806"/>
                    </a:lnTo>
                    <a:lnTo>
                      <a:pt x="25468" y="42752"/>
                    </a:lnTo>
                    <a:lnTo>
                      <a:pt x="19512" y="46763"/>
                    </a:lnTo>
                    <a:lnTo>
                      <a:pt x="12230" y="48234"/>
                    </a:lnTo>
                    <a:lnTo>
                      <a:pt x="0" y="48234"/>
                    </a:lnTo>
                    <a:lnTo>
                      <a:pt x="0" y="59029"/>
                    </a:lnTo>
                    <a:lnTo>
                      <a:pt x="12230" y="59029"/>
                    </a:lnTo>
                    <a:lnTo>
                      <a:pt x="23714" y="56709"/>
                    </a:lnTo>
                    <a:lnTo>
                      <a:pt x="33105" y="50384"/>
                    </a:lnTo>
                    <a:lnTo>
                      <a:pt x="39444" y="41005"/>
                    </a:lnTo>
                    <a:lnTo>
                      <a:pt x="41770" y="29527"/>
                    </a:lnTo>
                    <a:lnTo>
                      <a:pt x="39444" y="18045"/>
                    </a:lnTo>
                    <a:lnTo>
                      <a:pt x="33105" y="8658"/>
                    </a:lnTo>
                    <a:lnTo>
                      <a:pt x="23714" y="2324"/>
                    </a:lnTo>
                    <a:lnTo>
                      <a:pt x="12230" y="0"/>
                    </a:lnTo>
                    <a:close/>
                  </a:path>
                </a:pathLst>
              </a:custGeom>
              <a:solidFill>
                <a:srgbClr val="9B9B9A"/>
              </a:solidFill>
            </p:spPr>
            <p:txBody>
              <a:bodyPr wrap="square" lIns="0" tIns="0" rIns="0" bIns="0" rtlCol="0"/>
              <a:lstStyle/>
              <a:p>
                <a:endParaRPr/>
              </a:p>
            </p:txBody>
          </p:sp>
          <p:sp>
            <p:nvSpPr>
              <p:cNvPr id="63" name="object 29"/>
              <p:cNvSpPr/>
              <p:nvPr userDrawn="1"/>
            </p:nvSpPr>
            <p:spPr>
              <a:xfrm>
                <a:off x="4958957" y="4607980"/>
                <a:ext cx="41910" cy="59055"/>
              </a:xfrm>
              <a:custGeom>
                <a:avLst/>
                <a:gdLst/>
                <a:ahLst/>
                <a:cxnLst/>
                <a:rect l="l" t="t" r="r" b="b"/>
                <a:pathLst>
                  <a:path w="41910" h="59054">
                    <a:moveTo>
                      <a:pt x="12242" y="0"/>
                    </a:moveTo>
                    <a:lnTo>
                      <a:pt x="0" y="0"/>
                    </a:lnTo>
                    <a:lnTo>
                      <a:pt x="0" y="10795"/>
                    </a:lnTo>
                    <a:lnTo>
                      <a:pt x="12242" y="10795"/>
                    </a:lnTo>
                    <a:lnTo>
                      <a:pt x="19531" y="12269"/>
                    </a:lnTo>
                    <a:lnTo>
                      <a:pt x="25485" y="16289"/>
                    </a:lnTo>
                    <a:lnTo>
                      <a:pt x="29502" y="22244"/>
                    </a:lnTo>
                    <a:lnTo>
                      <a:pt x="30975" y="29527"/>
                    </a:lnTo>
                    <a:lnTo>
                      <a:pt x="29502" y="36806"/>
                    </a:lnTo>
                    <a:lnTo>
                      <a:pt x="25485" y="42752"/>
                    </a:lnTo>
                    <a:lnTo>
                      <a:pt x="19531" y="46763"/>
                    </a:lnTo>
                    <a:lnTo>
                      <a:pt x="12242" y="48234"/>
                    </a:lnTo>
                    <a:lnTo>
                      <a:pt x="0" y="48234"/>
                    </a:lnTo>
                    <a:lnTo>
                      <a:pt x="0" y="59029"/>
                    </a:lnTo>
                    <a:lnTo>
                      <a:pt x="12242" y="59029"/>
                    </a:lnTo>
                    <a:lnTo>
                      <a:pt x="23725" y="56709"/>
                    </a:lnTo>
                    <a:lnTo>
                      <a:pt x="33112" y="50384"/>
                    </a:lnTo>
                    <a:lnTo>
                      <a:pt x="39446" y="41005"/>
                    </a:lnTo>
                    <a:lnTo>
                      <a:pt x="41770" y="29527"/>
                    </a:lnTo>
                    <a:lnTo>
                      <a:pt x="39446" y="18045"/>
                    </a:lnTo>
                    <a:lnTo>
                      <a:pt x="33112" y="8658"/>
                    </a:lnTo>
                    <a:lnTo>
                      <a:pt x="23725" y="2324"/>
                    </a:lnTo>
                    <a:lnTo>
                      <a:pt x="12242" y="0"/>
                    </a:lnTo>
                    <a:close/>
                  </a:path>
                </a:pathLst>
              </a:custGeom>
              <a:solidFill>
                <a:srgbClr val="9B9B9A"/>
              </a:solidFill>
            </p:spPr>
            <p:txBody>
              <a:bodyPr wrap="square" lIns="0" tIns="0" rIns="0" bIns="0" rtlCol="0"/>
              <a:lstStyle/>
              <a:p>
                <a:endParaRPr/>
              </a:p>
            </p:txBody>
          </p:sp>
        </p:grpSp>
        <p:sp>
          <p:nvSpPr>
            <p:cNvPr id="66" name="object 6"/>
            <p:cNvSpPr/>
            <p:nvPr userDrawn="1"/>
          </p:nvSpPr>
          <p:spPr>
            <a:xfrm>
              <a:off x="6102837" y="4231906"/>
              <a:ext cx="41910" cy="55880"/>
            </a:xfrm>
            <a:custGeom>
              <a:avLst/>
              <a:gdLst/>
              <a:ahLst/>
              <a:cxnLst/>
              <a:rect l="l" t="t" r="r" b="b"/>
              <a:pathLst>
                <a:path w="41910" h="55879">
                  <a:moveTo>
                    <a:pt x="41770" y="0"/>
                  </a:moveTo>
                  <a:lnTo>
                    <a:pt x="16391" y="0"/>
                  </a:lnTo>
                  <a:lnTo>
                    <a:pt x="8664" y="5207"/>
                  </a:lnTo>
                  <a:lnTo>
                    <a:pt x="2326" y="14585"/>
                  </a:lnTo>
                  <a:lnTo>
                    <a:pt x="0" y="26058"/>
                  </a:lnTo>
                  <a:lnTo>
                    <a:pt x="2326" y="37541"/>
                  </a:lnTo>
                  <a:lnTo>
                    <a:pt x="8664" y="46928"/>
                  </a:lnTo>
                  <a:lnTo>
                    <a:pt x="18055" y="53262"/>
                  </a:lnTo>
                  <a:lnTo>
                    <a:pt x="29540" y="55586"/>
                  </a:lnTo>
                  <a:lnTo>
                    <a:pt x="41770" y="55586"/>
                  </a:lnTo>
                  <a:lnTo>
                    <a:pt x="41770" y="44791"/>
                  </a:lnTo>
                  <a:lnTo>
                    <a:pt x="29540" y="44791"/>
                  </a:lnTo>
                  <a:lnTo>
                    <a:pt x="22251" y="43316"/>
                  </a:lnTo>
                  <a:lnTo>
                    <a:pt x="16297" y="39297"/>
                  </a:lnTo>
                  <a:lnTo>
                    <a:pt x="12280" y="33341"/>
                  </a:lnTo>
                  <a:lnTo>
                    <a:pt x="10807" y="26058"/>
                  </a:lnTo>
                  <a:lnTo>
                    <a:pt x="12280" y="18780"/>
                  </a:lnTo>
                  <a:lnTo>
                    <a:pt x="16297" y="12833"/>
                  </a:lnTo>
                  <a:lnTo>
                    <a:pt x="22251" y="8822"/>
                  </a:lnTo>
                  <a:lnTo>
                    <a:pt x="29540" y="7351"/>
                  </a:lnTo>
                  <a:lnTo>
                    <a:pt x="41770" y="7351"/>
                  </a:lnTo>
                  <a:lnTo>
                    <a:pt x="41770" y="0"/>
                  </a:lnTo>
                  <a:close/>
                </a:path>
              </a:pathLst>
            </a:custGeom>
            <a:solidFill>
              <a:srgbClr val="9B9B9A"/>
            </a:solidFill>
          </p:spPr>
          <p:txBody>
            <a:bodyPr wrap="square" lIns="0" tIns="0" rIns="0" bIns="0" rtlCol="0"/>
            <a:lstStyle/>
            <a:p>
              <a:endParaRPr/>
            </a:p>
          </p:txBody>
        </p:sp>
        <p:sp>
          <p:nvSpPr>
            <p:cNvPr id="67" name="object 7"/>
            <p:cNvSpPr/>
            <p:nvPr userDrawn="1"/>
          </p:nvSpPr>
          <p:spPr>
            <a:xfrm>
              <a:off x="5721551" y="4231906"/>
              <a:ext cx="41910" cy="55880"/>
            </a:xfrm>
            <a:custGeom>
              <a:avLst/>
              <a:gdLst/>
              <a:ahLst/>
              <a:cxnLst/>
              <a:rect l="l" t="t" r="r" b="b"/>
              <a:pathLst>
                <a:path w="41910" h="55879">
                  <a:moveTo>
                    <a:pt x="41770" y="0"/>
                  </a:moveTo>
                  <a:lnTo>
                    <a:pt x="16376" y="0"/>
                  </a:lnTo>
                  <a:lnTo>
                    <a:pt x="8653" y="5207"/>
                  </a:lnTo>
                  <a:lnTo>
                    <a:pt x="2322" y="14585"/>
                  </a:lnTo>
                  <a:lnTo>
                    <a:pt x="0" y="26058"/>
                  </a:lnTo>
                  <a:lnTo>
                    <a:pt x="2322" y="37541"/>
                  </a:lnTo>
                  <a:lnTo>
                    <a:pt x="8653" y="46928"/>
                  </a:lnTo>
                  <a:lnTo>
                    <a:pt x="18039" y="53262"/>
                  </a:lnTo>
                  <a:lnTo>
                    <a:pt x="29527" y="55586"/>
                  </a:lnTo>
                  <a:lnTo>
                    <a:pt x="41770" y="55586"/>
                  </a:lnTo>
                  <a:lnTo>
                    <a:pt x="41770" y="44791"/>
                  </a:lnTo>
                  <a:lnTo>
                    <a:pt x="29527" y="44791"/>
                  </a:lnTo>
                  <a:lnTo>
                    <a:pt x="22233" y="43316"/>
                  </a:lnTo>
                  <a:lnTo>
                    <a:pt x="16279" y="39297"/>
                  </a:lnTo>
                  <a:lnTo>
                    <a:pt x="12266" y="33341"/>
                  </a:lnTo>
                  <a:lnTo>
                    <a:pt x="10794" y="26058"/>
                  </a:lnTo>
                  <a:lnTo>
                    <a:pt x="12266" y="18780"/>
                  </a:lnTo>
                  <a:lnTo>
                    <a:pt x="16279" y="12833"/>
                  </a:lnTo>
                  <a:lnTo>
                    <a:pt x="22233" y="8822"/>
                  </a:lnTo>
                  <a:lnTo>
                    <a:pt x="29527" y="7351"/>
                  </a:lnTo>
                  <a:lnTo>
                    <a:pt x="41770" y="7351"/>
                  </a:lnTo>
                  <a:lnTo>
                    <a:pt x="41770" y="0"/>
                  </a:lnTo>
                  <a:close/>
                </a:path>
              </a:pathLst>
            </a:custGeom>
            <a:solidFill>
              <a:srgbClr val="9B9B9A"/>
            </a:solidFill>
          </p:spPr>
          <p:txBody>
            <a:bodyPr wrap="square" lIns="0" tIns="0" rIns="0" bIns="0" rtlCol="0"/>
            <a:lstStyle/>
            <a:p>
              <a:endParaRPr/>
            </a:p>
          </p:txBody>
        </p:sp>
        <p:sp>
          <p:nvSpPr>
            <p:cNvPr id="68" name="object 8"/>
            <p:cNvSpPr/>
            <p:nvPr userDrawn="1"/>
          </p:nvSpPr>
          <p:spPr>
            <a:xfrm>
              <a:off x="5340235" y="4231906"/>
              <a:ext cx="41910" cy="55880"/>
            </a:xfrm>
            <a:custGeom>
              <a:avLst/>
              <a:gdLst/>
              <a:ahLst/>
              <a:cxnLst/>
              <a:rect l="l" t="t" r="r" b="b"/>
              <a:pathLst>
                <a:path w="41910" h="55879">
                  <a:moveTo>
                    <a:pt x="41795" y="0"/>
                  </a:moveTo>
                  <a:lnTo>
                    <a:pt x="16396" y="0"/>
                  </a:lnTo>
                  <a:lnTo>
                    <a:pt x="8666" y="5207"/>
                  </a:lnTo>
                  <a:lnTo>
                    <a:pt x="2326" y="14585"/>
                  </a:lnTo>
                  <a:lnTo>
                    <a:pt x="0" y="26058"/>
                  </a:lnTo>
                  <a:lnTo>
                    <a:pt x="2326" y="37541"/>
                  </a:lnTo>
                  <a:lnTo>
                    <a:pt x="8666" y="46928"/>
                  </a:lnTo>
                  <a:lnTo>
                    <a:pt x="18061" y="53262"/>
                  </a:lnTo>
                  <a:lnTo>
                    <a:pt x="29552" y="55586"/>
                  </a:lnTo>
                  <a:lnTo>
                    <a:pt x="41795" y="55586"/>
                  </a:lnTo>
                  <a:lnTo>
                    <a:pt x="41795" y="44791"/>
                  </a:lnTo>
                  <a:lnTo>
                    <a:pt x="29552" y="44791"/>
                  </a:lnTo>
                  <a:lnTo>
                    <a:pt x="22264" y="43316"/>
                  </a:lnTo>
                  <a:lnTo>
                    <a:pt x="16309" y="39297"/>
                  </a:lnTo>
                  <a:lnTo>
                    <a:pt x="12293" y="33341"/>
                  </a:lnTo>
                  <a:lnTo>
                    <a:pt x="10820" y="26058"/>
                  </a:lnTo>
                  <a:lnTo>
                    <a:pt x="12293" y="18780"/>
                  </a:lnTo>
                  <a:lnTo>
                    <a:pt x="16309" y="12833"/>
                  </a:lnTo>
                  <a:lnTo>
                    <a:pt x="22264" y="8822"/>
                  </a:lnTo>
                  <a:lnTo>
                    <a:pt x="29552" y="7351"/>
                  </a:lnTo>
                  <a:lnTo>
                    <a:pt x="41795" y="7351"/>
                  </a:lnTo>
                  <a:lnTo>
                    <a:pt x="41795" y="0"/>
                  </a:lnTo>
                  <a:close/>
                </a:path>
              </a:pathLst>
            </a:custGeom>
            <a:solidFill>
              <a:srgbClr val="9B9B9A"/>
            </a:solidFill>
          </p:spPr>
          <p:txBody>
            <a:bodyPr wrap="square" lIns="0" tIns="0" rIns="0" bIns="0" rtlCol="0"/>
            <a:lstStyle/>
            <a:p>
              <a:endParaRPr/>
            </a:p>
          </p:txBody>
        </p:sp>
        <p:sp>
          <p:nvSpPr>
            <p:cNvPr id="69" name="object 27"/>
            <p:cNvSpPr/>
            <p:nvPr userDrawn="1"/>
          </p:nvSpPr>
          <p:spPr>
            <a:xfrm>
              <a:off x="5340239" y="4607980"/>
              <a:ext cx="41910" cy="59055"/>
            </a:xfrm>
            <a:custGeom>
              <a:avLst/>
              <a:gdLst/>
              <a:ahLst/>
              <a:cxnLst/>
              <a:rect l="l" t="t" r="r" b="b"/>
              <a:pathLst>
                <a:path w="41910" h="59054">
                  <a:moveTo>
                    <a:pt x="12268" y="0"/>
                  </a:moveTo>
                  <a:lnTo>
                    <a:pt x="0" y="0"/>
                  </a:lnTo>
                  <a:lnTo>
                    <a:pt x="0" y="10795"/>
                  </a:lnTo>
                  <a:lnTo>
                    <a:pt x="12268" y="10795"/>
                  </a:lnTo>
                  <a:lnTo>
                    <a:pt x="19545" y="12269"/>
                  </a:lnTo>
                  <a:lnTo>
                    <a:pt x="25501" y="16289"/>
                  </a:lnTo>
                  <a:lnTo>
                    <a:pt x="29523" y="22244"/>
                  </a:lnTo>
                  <a:lnTo>
                    <a:pt x="31000" y="29527"/>
                  </a:lnTo>
                  <a:lnTo>
                    <a:pt x="29523" y="36806"/>
                  </a:lnTo>
                  <a:lnTo>
                    <a:pt x="25501" y="42752"/>
                  </a:lnTo>
                  <a:lnTo>
                    <a:pt x="19545" y="46763"/>
                  </a:lnTo>
                  <a:lnTo>
                    <a:pt x="12268" y="48234"/>
                  </a:lnTo>
                  <a:lnTo>
                    <a:pt x="0" y="48234"/>
                  </a:lnTo>
                  <a:lnTo>
                    <a:pt x="0" y="59029"/>
                  </a:lnTo>
                  <a:lnTo>
                    <a:pt x="12268" y="59029"/>
                  </a:lnTo>
                  <a:lnTo>
                    <a:pt x="23745" y="56709"/>
                  </a:lnTo>
                  <a:lnTo>
                    <a:pt x="33132" y="50384"/>
                  </a:lnTo>
                  <a:lnTo>
                    <a:pt x="39469" y="41005"/>
                  </a:lnTo>
                  <a:lnTo>
                    <a:pt x="41795" y="29527"/>
                  </a:lnTo>
                  <a:lnTo>
                    <a:pt x="39469" y="18045"/>
                  </a:lnTo>
                  <a:lnTo>
                    <a:pt x="33132" y="8658"/>
                  </a:lnTo>
                  <a:lnTo>
                    <a:pt x="23745" y="2324"/>
                  </a:lnTo>
                  <a:lnTo>
                    <a:pt x="12268" y="0"/>
                  </a:lnTo>
                  <a:close/>
                </a:path>
              </a:pathLst>
            </a:custGeom>
            <a:solidFill>
              <a:srgbClr val="9B9B9A"/>
            </a:solidFill>
          </p:spPr>
          <p:txBody>
            <a:bodyPr wrap="square" lIns="0" tIns="0" rIns="0" bIns="0" rtlCol="0"/>
            <a:lstStyle/>
            <a:p>
              <a:endParaRPr/>
            </a:p>
          </p:txBody>
        </p:sp>
        <p:sp>
          <p:nvSpPr>
            <p:cNvPr id="70" name="object 28"/>
            <p:cNvSpPr/>
            <p:nvPr userDrawn="1"/>
          </p:nvSpPr>
          <p:spPr>
            <a:xfrm>
              <a:off x="5721556" y="4607980"/>
              <a:ext cx="41910" cy="59055"/>
            </a:xfrm>
            <a:custGeom>
              <a:avLst/>
              <a:gdLst/>
              <a:ahLst/>
              <a:cxnLst/>
              <a:rect l="l" t="t" r="r" b="b"/>
              <a:pathLst>
                <a:path w="41910" h="59054">
                  <a:moveTo>
                    <a:pt x="12230" y="0"/>
                  </a:moveTo>
                  <a:lnTo>
                    <a:pt x="0" y="0"/>
                  </a:lnTo>
                  <a:lnTo>
                    <a:pt x="0" y="10795"/>
                  </a:lnTo>
                  <a:lnTo>
                    <a:pt x="12230" y="10795"/>
                  </a:lnTo>
                  <a:lnTo>
                    <a:pt x="19512" y="12269"/>
                  </a:lnTo>
                  <a:lnTo>
                    <a:pt x="25468" y="16289"/>
                  </a:lnTo>
                  <a:lnTo>
                    <a:pt x="29487" y="22244"/>
                  </a:lnTo>
                  <a:lnTo>
                    <a:pt x="30962" y="29527"/>
                  </a:lnTo>
                  <a:lnTo>
                    <a:pt x="29487" y="36806"/>
                  </a:lnTo>
                  <a:lnTo>
                    <a:pt x="25468" y="42752"/>
                  </a:lnTo>
                  <a:lnTo>
                    <a:pt x="19512" y="46763"/>
                  </a:lnTo>
                  <a:lnTo>
                    <a:pt x="12230" y="48234"/>
                  </a:lnTo>
                  <a:lnTo>
                    <a:pt x="0" y="48234"/>
                  </a:lnTo>
                  <a:lnTo>
                    <a:pt x="0" y="59029"/>
                  </a:lnTo>
                  <a:lnTo>
                    <a:pt x="12230" y="59029"/>
                  </a:lnTo>
                  <a:lnTo>
                    <a:pt x="23714" y="56709"/>
                  </a:lnTo>
                  <a:lnTo>
                    <a:pt x="33105" y="50384"/>
                  </a:lnTo>
                  <a:lnTo>
                    <a:pt x="39444" y="41005"/>
                  </a:lnTo>
                  <a:lnTo>
                    <a:pt x="41770" y="29527"/>
                  </a:lnTo>
                  <a:lnTo>
                    <a:pt x="39444" y="18045"/>
                  </a:lnTo>
                  <a:lnTo>
                    <a:pt x="33105" y="8658"/>
                  </a:lnTo>
                  <a:lnTo>
                    <a:pt x="23714" y="2324"/>
                  </a:lnTo>
                  <a:lnTo>
                    <a:pt x="12230" y="0"/>
                  </a:lnTo>
                  <a:close/>
                </a:path>
              </a:pathLst>
            </a:custGeom>
            <a:solidFill>
              <a:srgbClr val="9B9B9A"/>
            </a:solidFill>
          </p:spPr>
          <p:txBody>
            <a:bodyPr wrap="square" lIns="0" tIns="0" rIns="0" bIns="0" rtlCol="0"/>
            <a:lstStyle/>
            <a:p>
              <a:endParaRPr/>
            </a:p>
          </p:txBody>
        </p:sp>
        <p:sp>
          <p:nvSpPr>
            <p:cNvPr id="71" name="object 29"/>
            <p:cNvSpPr/>
            <p:nvPr userDrawn="1"/>
          </p:nvSpPr>
          <p:spPr>
            <a:xfrm>
              <a:off x="6102834" y="4607980"/>
              <a:ext cx="41910" cy="59055"/>
            </a:xfrm>
            <a:custGeom>
              <a:avLst/>
              <a:gdLst/>
              <a:ahLst/>
              <a:cxnLst/>
              <a:rect l="l" t="t" r="r" b="b"/>
              <a:pathLst>
                <a:path w="41910" h="59054">
                  <a:moveTo>
                    <a:pt x="12242" y="0"/>
                  </a:moveTo>
                  <a:lnTo>
                    <a:pt x="0" y="0"/>
                  </a:lnTo>
                  <a:lnTo>
                    <a:pt x="0" y="10795"/>
                  </a:lnTo>
                  <a:lnTo>
                    <a:pt x="12242" y="10795"/>
                  </a:lnTo>
                  <a:lnTo>
                    <a:pt x="19531" y="12269"/>
                  </a:lnTo>
                  <a:lnTo>
                    <a:pt x="25485" y="16289"/>
                  </a:lnTo>
                  <a:lnTo>
                    <a:pt x="29502" y="22244"/>
                  </a:lnTo>
                  <a:lnTo>
                    <a:pt x="30975" y="29527"/>
                  </a:lnTo>
                  <a:lnTo>
                    <a:pt x="29502" y="36806"/>
                  </a:lnTo>
                  <a:lnTo>
                    <a:pt x="25485" y="42752"/>
                  </a:lnTo>
                  <a:lnTo>
                    <a:pt x="19531" y="46763"/>
                  </a:lnTo>
                  <a:lnTo>
                    <a:pt x="12242" y="48234"/>
                  </a:lnTo>
                  <a:lnTo>
                    <a:pt x="0" y="48234"/>
                  </a:lnTo>
                  <a:lnTo>
                    <a:pt x="0" y="59029"/>
                  </a:lnTo>
                  <a:lnTo>
                    <a:pt x="12242" y="59029"/>
                  </a:lnTo>
                  <a:lnTo>
                    <a:pt x="23725" y="56709"/>
                  </a:lnTo>
                  <a:lnTo>
                    <a:pt x="33112" y="50384"/>
                  </a:lnTo>
                  <a:lnTo>
                    <a:pt x="39446" y="41005"/>
                  </a:lnTo>
                  <a:lnTo>
                    <a:pt x="41770" y="29527"/>
                  </a:lnTo>
                  <a:lnTo>
                    <a:pt x="39446" y="18045"/>
                  </a:lnTo>
                  <a:lnTo>
                    <a:pt x="33112" y="8658"/>
                  </a:lnTo>
                  <a:lnTo>
                    <a:pt x="23725" y="2324"/>
                  </a:lnTo>
                  <a:lnTo>
                    <a:pt x="12242" y="0"/>
                  </a:lnTo>
                  <a:close/>
                </a:path>
              </a:pathLst>
            </a:custGeom>
            <a:solidFill>
              <a:srgbClr val="9B9B9A"/>
            </a:solidFill>
          </p:spPr>
          <p:txBody>
            <a:bodyPr wrap="square" lIns="0" tIns="0" rIns="0" bIns="0" rtlCol="0"/>
            <a:lstStyle/>
            <a:p>
              <a:endParaRPr/>
            </a:p>
          </p:txBody>
        </p:sp>
      </p:grpSp>
    </p:spTree>
    <p:extLst>
      <p:ext uri="{BB962C8B-B14F-4D97-AF65-F5344CB8AC3E}">
        <p14:creationId xmlns:p14="http://schemas.microsoft.com/office/powerpoint/2010/main" val="27340389"/>
      </p:ext>
    </p:extLst>
  </p:cSld>
  <p:clrMapOvr>
    <a:masterClrMapping/>
  </p:clrMapOvr>
  <p:extLst>
    <p:ext uri="{DCECCB84-F9BA-43D5-87BE-67443E8EF086}">
      <p15:sldGuideLst xmlns:p15="http://schemas.microsoft.com/office/powerpoint/2012/main">
        <p15:guide id="1" orient="horz" pos="2381" userDrawn="1">
          <p15:clr>
            <a:srgbClr val="FBAE40"/>
          </p15:clr>
        </p15:guide>
        <p15:guide id="2" pos="4233"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5_Заголовок и объект">
    <p:spTree>
      <p:nvGrpSpPr>
        <p:cNvPr id="1" name=""/>
        <p:cNvGrpSpPr/>
        <p:nvPr/>
      </p:nvGrpSpPr>
      <p:grpSpPr>
        <a:xfrm>
          <a:off x="0" y="0"/>
          <a:ext cx="0" cy="0"/>
          <a:chOff x="0" y="0"/>
          <a:chExt cx="0" cy="0"/>
        </a:xfrm>
      </p:grpSpPr>
      <p:sp>
        <p:nvSpPr>
          <p:cNvPr id="4" name="Title 9"/>
          <p:cNvSpPr>
            <a:spLocks noGrp="1"/>
          </p:cNvSpPr>
          <p:nvPr>
            <p:ph type="title" hasCustomPrompt="1"/>
          </p:nvPr>
        </p:nvSpPr>
        <p:spPr>
          <a:xfrm>
            <a:off x="562554" y="441550"/>
            <a:ext cx="11053043" cy="415146"/>
          </a:xfrm>
          <a:prstGeom prst="rect">
            <a:avLst/>
          </a:prstGeom>
        </p:spPr>
        <p:txBody>
          <a:bodyPr>
            <a:noAutofit/>
          </a:bodyPr>
          <a:lstStyle>
            <a:lvl1pPr>
              <a:defRPr sz="2600" b="1" baseline="0">
                <a:solidFill>
                  <a:srgbClr val="000000"/>
                </a:solidFill>
                <a:latin typeface="+mj-lt"/>
              </a:defRPr>
            </a:lvl1pPr>
          </a:lstStyle>
          <a:p>
            <a:r>
              <a:rPr lang="uk-UA"/>
              <a:t>Заголовок слайда</a:t>
            </a:r>
            <a:endParaRPr lang="ru-RU"/>
          </a:p>
        </p:txBody>
      </p:sp>
      <p:sp>
        <p:nvSpPr>
          <p:cNvPr id="6" name="Содержимое 2"/>
          <p:cNvSpPr>
            <a:spLocks noGrp="1"/>
          </p:cNvSpPr>
          <p:nvPr>
            <p:ph idx="1"/>
          </p:nvPr>
        </p:nvSpPr>
        <p:spPr>
          <a:xfrm>
            <a:off x="552697" y="952187"/>
            <a:ext cx="12411865" cy="5830641"/>
          </a:xfrm>
          <a:prstGeom prst="rect">
            <a:avLst/>
          </a:prstGeom>
        </p:spPr>
        <p:txBody>
          <a:bodyPr/>
          <a:lstStyle>
            <a:lvl1pPr>
              <a:defRPr sz="2400">
                <a:solidFill>
                  <a:srgbClr val="000000"/>
                </a:solidFill>
                <a:latin typeface="+mn-lt"/>
              </a:defRPr>
            </a:lvl1pPr>
            <a:lvl2pPr>
              <a:defRPr sz="2001">
                <a:solidFill>
                  <a:srgbClr val="000000"/>
                </a:solidFill>
                <a:latin typeface="+mn-lt"/>
              </a:defRPr>
            </a:lvl2pPr>
            <a:lvl3pPr>
              <a:defRPr sz="1601">
                <a:solidFill>
                  <a:srgbClr val="000000"/>
                </a:solidFill>
                <a:latin typeface="+mn-lt"/>
              </a:defRPr>
            </a:lvl3pPr>
            <a:lvl4pPr>
              <a:defRPr sz="1401">
                <a:solidFill>
                  <a:srgbClr val="000000"/>
                </a:solidFill>
                <a:latin typeface="+mn-lt"/>
              </a:defRPr>
            </a:lvl4pPr>
            <a:lvl5pPr>
              <a:defRPr sz="1199">
                <a:solidFill>
                  <a:srgbClr val="000000"/>
                </a:solidFill>
                <a:latin typeface="+mn-lt"/>
              </a:defRPr>
            </a:lvl5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401128831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4_Титульный слайд">
    <p:spTree>
      <p:nvGrpSpPr>
        <p:cNvPr id="1" name=""/>
        <p:cNvGrpSpPr/>
        <p:nvPr/>
      </p:nvGrpSpPr>
      <p:grpSpPr>
        <a:xfrm>
          <a:off x="0" y="0"/>
          <a:ext cx="0" cy="0"/>
          <a:chOff x="0" y="0"/>
          <a:chExt cx="0" cy="0"/>
        </a:xfrm>
      </p:grpSpPr>
      <p:graphicFrame>
        <p:nvGraphicFramePr>
          <p:cNvPr id="2" name="Объект 1" hidden="1">
            <a:extLst>
              <a:ext uri="{FF2B5EF4-FFF2-40B4-BE49-F238E27FC236}">
                <a16:creationId xmlns:a16="http://schemas.microsoft.com/office/drawing/2014/main" id="{4BF15483-6E74-4AEF-BA59-6721AB1A53D3}"/>
              </a:ext>
            </a:extLst>
          </p:cNvPr>
          <p:cNvGraphicFramePr>
            <a:graphicFrameLocks noChangeAspect="1"/>
          </p:cNvGraphicFramePr>
          <p:nvPr userDrawn="1">
            <p:custDataLst>
              <p:tags r:id="rId1"/>
            </p:custDataLst>
          </p:nvPr>
        </p:nvGraphicFramePr>
        <p:xfrm>
          <a:off x="3114" y="2335"/>
          <a:ext cx="3112" cy="2334"/>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2" name="Объект 1" hidden="1">
                        <a:extLst>
                          <a:ext uri="{FF2B5EF4-FFF2-40B4-BE49-F238E27FC236}">
                            <a16:creationId xmlns:a16="http://schemas.microsoft.com/office/drawing/2014/main" id="{4BF15483-6E74-4AEF-BA59-6721AB1A53D3}"/>
                          </a:ext>
                        </a:extLst>
                      </p:cNvPr>
                      <p:cNvPicPr/>
                      <p:nvPr/>
                    </p:nvPicPr>
                    <p:blipFill>
                      <a:blip r:embed="rId5"/>
                      <a:stretch>
                        <a:fillRect/>
                      </a:stretch>
                    </p:blipFill>
                    <p:spPr>
                      <a:xfrm>
                        <a:off x="3114" y="2335"/>
                        <a:ext cx="3112" cy="2334"/>
                      </a:xfrm>
                      <a:prstGeom prst="rect">
                        <a:avLst/>
                      </a:prstGeom>
                    </p:spPr>
                  </p:pic>
                </p:oleObj>
              </mc:Fallback>
            </mc:AlternateContent>
          </a:graphicData>
        </a:graphic>
      </p:graphicFrame>
      <p:sp>
        <p:nvSpPr>
          <p:cNvPr id="4" name="Rectangle 3" hidden="1"/>
          <p:cNvSpPr/>
          <p:nvPr userDrawn="1">
            <p:custDataLst>
              <p:tags r:id="rId2"/>
            </p:custDataLst>
          </p:nvPr>
        </p:nvSpPr>
        <p:spPr>
          <a:xfrm>
            <a:off x="0" y="1"/>
            <a:ext cx="311107" cy="23332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772" b="0" i="0" baseline="0">
              <a:latin typeface="Calibri Light (Heading)"/>
              <a:ea typeface="+mj-ea"/>
              <a:cs typeface="+mj-cs"/>
              <a:sym typeface="Calibri Light (Heading)"/>
            </a:endParaRPr>
          </a:p>
        </p:txBody>
      </p:sp>
      <p:sp>
        <p:nvSpPr>
          <p:cNvPr id="9" name="Title Placeholder 1"/>
          <p:cNvSpPr txBox="1">
            <a:spLocks/>
          </p:cNvSpPr>
          <p:nvPr userDrawn="1"/>
        </p:nvSpPr>
        <p:spPr>
          <a:xfrm>
            <a:off x="813059" y="739040"/>
            <a:ext cx="10485423" cy="559141"/>
          </a:xfrm>
          <a:prstGeom prst="rect">
            <a:avLst/>
          </a:prstGeom>
        </p:spPr>
        <p:txBody>
          <a:bodyPr vert="horz" lIns="81267" tIns="40634" rIns="81267" bIns="40634" rtlCol="0" anchor="ctr">
            <a:normAutofit/>
          </a:bodyPr>
          <a:lstStyle>
            <a:lvl1pPr algn="l" defTabSz="1007943" rtl="0" eaLnBrk="1" latinLnBrk="0" hangingPunct="1">
              <a:lnSpc>
                <a:spcPct val="90000"/>
              </a:lnSpc>
              <a:spcBef>
                <a:spcPct val="0"/>
              </a:spcBef>
              <a:buNone/>
              <a:defRPr sz="2800" kern="1200">
                <a:solidFill>
                  <a:schemeClr val="tx1"/>
                </a:solidFill>
                <a:latin typeface="+mj-lt"/>
                <a:ea typeface="+mj-ea"/>
                <a:cs typeface="+mj-cs"/>
              </a:defRPr>
            </a:lvl1pPr>
          </a:lstStyle>
          <a:p>
            <a:endParaRPr lang="en-US" sz="2133">
              <a:solidFill>
                <a:schemeClr val="tx1">
                  <a:lumMod val="75000"/>
                  <a:lumOff val="25000"/>
                </a:schemeClr>
              </a:solidFill>
              <a:latin typeface="Calibri" panose="020F0502020204030204" pitchFamily="34" charset="0"/>
              <a:cs typeface="Calibri" panose="020F0502020204030204" pitchFamily="34" charset="0"/>
            </a:endParaRPr>
          </a:p>
        </p:txBody>
      </p:sp>
      <p:sp>
        <p:nvSpPr>
          <p:cNvPr id="7" name="Прямоугольник 6"/>
          <p:cNvSpPr/>
          <p:nvPr userDrawn="1"/>
        </p:nvSpPr>
        <p:spPr>
          <a:xfrm>
            <a:off x="585660" y="1"/>
            <a:ext cx="952371" cy="888275"/>
          </a:xfrm>
          <a:prstGeom prst="rect">
            <a:avLst/>
          </a:prstGeom>
          <a:solidFill>
            <a:srgbClr val="FED1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ru-RU" sz="1601"/>
          </a:p>
        </p:txBody>
      </p:sp>
    </p:spTree>
    <p:extLst>
      <p:ext uri="{BB962C8B-B14F-4D97-AF65-F5344CB8AC3E}">
        <p14:creationId xmlns:p14="http://schemas.microsoft.com/office/powerpoint/2010/main" val="124896989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Title and SmartA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4CF0B1-5FBF-6F99-DA2D-C2AE165C78B8}"/>
              </a:ext>
            </a:extLst>
          </p:cNvPr>
          <p:cNvSpPr>
            <a:spLocks noGrp="1"/>
          </p:cNvSpPr>
          <p:nvPr>
            <p:ph type="title" hasCustomPrompt="1"/>
          </p:nvPr>
        </p:nvSpPr>
        <p:spPr>
          <a:xfrm>
            <a:off x="861616" y="310146"/>
            <a:ext cx="11732924" cy="1007957"/>
          </a:xfrm>
        </p:spPr>
        <p:txBody>
          <a:bodyPr/>
          <a:lstStyle>
            <a:lvl1pPr>
              <a:defRPr cap="all" baseline="0"/>
            </a:lvl1pPr>
          </a:lstStyle>
          <a:p>
            <a:r>
              <a:rPr lang="en-US" b="0">
                <a:solidFill>
                  <a:schemeClr val="bg1"/>
                </a:solidFill>
              </a:rPr>
              <a:t>CLICK TO ADD TITLE</a:t>
            </a:r>
            <a:endParaRPr lang="en-US">
              <a:solidFill>
                <a:schemeClr val="bg1"/>
              </a:solidFill>
            </a:endParaRPr>
          </a:p>
        </p:txBody>
      </p:sp>
      <p:sp>
        <p:nvSpPr>
          <p:cNvPr id="6" name="SmartArt Placeholder 5">
            <a:extLst>
              <a:ext uri="{FF2B5EF4-FFF2-40B4-BE49-F238E27FC236}">
                <a16:creationId xmlns:a16="http://schemas.microsoft.com/office/drawing/2014/main" id="{88D67B3A-7763-7946-C85A-D14F3AC99EFB}"/>
              </a:ext>
            </a:extLst>
          </p:cNvPr>
          <p:cNvSpPr>
            <a:spLocks noGrp="1"/>
          </p:cNvSpPr>
          <p:nvPr>
            <p:ph type="dgm" sz="quarter" idx="10"/>
          </p:nvPr>
        </p:nvSpPr>
        <p:spPr>
          <a:xfrm>
            <a:off x="881985" y="1317696"/>
            <a:ext cx="11675805" cy="5603259"/>
          </a:xfrm>
          <a:ln w="19050">
            <a:noFill/>
          </a:ln>
        </p:spPr>
        <p:txBody>
          <a:bodyPr/>
          <a:lstStyle>
            <a:lvl1pPr marL="0" indent="0" algn="ctr">
              <a:buNone/>
              <a:defRPr/>
            </a:lvl1pPr>
          </a:lstStyle>
          <a:p>
            <a:endParaRPr lang="en-US"/>
          </a:p>
        </p:txBody>
      </p:sp>
      <p:sp>
        <p:nvSpPr>
          <p:cNvPr id="7" name="Text Placeholder 6">
            <a:extLst>
              <a:ext uri="{FF2B5EF4-FFF2-40B4-BE49-F238E27FC236}">
                <a16:creationId xmlns:a16="http://schemas.microsoft.com/office/drawing/2014/main" id="{11E0B3DD-01F4-FA08-2C93-4F4AC2329837}"/>
              </a:ext>
            </a:extLst>
          </p:cNvPr>
          <p:cNvSpPr>
            <a:spLocks noGrp="1"/>
          </p:cNvSpPr>
          <p:nvPr>
            <p:ph type="body" sz="quarter" idx="15" hasCustomPrompt="1"/>
          </p:nvPr>
        </p:nvSpPr>
        <p:spPr>
          <a:xfrm>
            <a:off x="3158041" y="1906075"/>
            <a:ext cx="755987" cy="755968"/>
          </a:xfrm>
          <a:prstGeom prst="ellipse">
            <a:avLst/>
          </a:prstGeom>
          <a:solidFill>
            <a:schemeClr val="tx1">
              <a:lumMod val="75000"/>
              <a:lumOff val="25000"/>
            </a:schemeClr>
          </a:solidFill>
          <a:ln w="25400">
            <a:solidFill>
              <a:schemeClr val="tx1">
                <a:lumMod val="75000"/>
                <a:lumOff val="25000"/>
              </a:schemeClr>
            </a:solidFill>
          </a:ln>
        </p:spPr>
        <p:txBody>
          <a:bodyPr lIns="0" tIns="0" rIns="0" bIns="0" anchor="ctr">
            <a:noAutofit/>
          </a:bodyPr>
          <a:lstStyle>
            <a:lvl1pPr marL="0" indent="0" algn="ctr">
              <a:lnSpc>
                <a:spcPct val="100000"/>
              </a:lnSpc>
              <a:spcBef>
                <a:spcPts val="0"/>
              </a:spcBef>
              <a:buNone/>
              <a:defRPr sz="4189" b="0">
                <a:solidFill>
                  <a:schemeClr val="accent1"/>
                </a:solidFill>
                <a:latin typeface="+mn-lt"/>
              </a:defRPr>
            </a:lvl1pPr>
            <a:lvl2pPr marL="503975" indent="0">
              <a:buNone/>
              <a:defRPr b="1">
                <a:latin typeface="+mj-lt"/>
              </a:defRPr>
            </a:lvl2pPr>
            <a:lvl3pPr marL="1007950" indent="0">
              <a:buNone/>
              <a:defRPr b="1">
                <a:latin typeface="+mj-lt"/>
              </a:defRPr>
            </a:lvl3pPr>
            <a:lvl4pPr marL="1511925" indent="0">
              <a:buNone/>
              <a:defRPr b="1">
                <a:latin typeface="+mj-lt"/>
              </a:defRPr>
            </a:lvl4pPr>
            <a:lvl5pPr marL="2015899" indent="0">
              <a:buNone/>
              <a:defRPr b="1">
                <a:latin typeface="+mj-lt"/>
              </a:defRPr>
            </a:lvl5pPr>
          </a:lstStyle>
          <a:p>
            <a:pPr lvl="0"/>
            <a:r>
              <a:rPr lang="en-US"/>
              <a:t>0</a:t>
            </a:r>
          </a:p>
        </p:txBody>
      </p:sp>
      <p:sp>
        <p:nvSpPr>
          <p:cNvPr id="11" name="Text Placeholder 6">
            <a:extLst>
              <a:ext uri="{FF2B5EF4-FFF2-40B4-BE49-F238E27FC236}">
                <a16:creationId xmlns:a16="http://schemas.microsoft.com/office/drawing/2014/main" id="{BF56F623-4FDE-B4E0-5A66-17B29BEA109E}"/>
              </a:ext>
            </a:extLst>
          </p:cNvPr>
          <p:cNvSpPr>
            <a:spLocks noGrp="1"/>
          </p:cNvSpPr>
          <p:nvPr>
            <p:ph type="body" sz="quarter" idx="16" hasCustomPrompt="1"/>
          </p:nvPr>
        </p:nvSpPr>
        <p:spPr>
          <a:xfrm>
            <a:off x="3182040" y="3791837"/>
            <a:ext cx="755987" cy="755968"/>
          </a:xfrm>
          <a:prstGeom prst="ellipse">
            <a:avLst/>
          </a:prstGeom>
          <a:solidFill>
            <a:schemeClr val="tx1">
              <a:lumMod val="75000"/>
              <a:lumOff val="25000"/>
            </a:schemeClr>
          </a:solidFill>
          <a:ln w="25400">
            <a:solidFill>
              <a:schemeClr val="tx1">
                <a:lumMod val="75000"/>
                <a:lumOff val="25000"/>
              </a:schemeClr>
            </a:solidFill>
          </a:ln>
        </p:spPr>
        <p:txBody>
          <a:bodyPr lIns="0" tIns="0" rIns="0" bIns="0" anchor="ctr">
            <a:noAutofit/>
          </a:bodyPr>
          <a:lstStyle>
            <a:lvl1pPr marL="0" indent="0" algn="ctr">
              <a:lnSpc>
                <a:spcPct val="100000"/>
              </a:lnSpc>
              <a:spcBef>
                <a:spcPts val="0"/>
              </a:spcBef>
              <a:buNone/>
              <a:defRPr sz="4189" b="0">
                <a:solidFill>
                  <a:schemeClr val="accent2"/>
                </a:solidFill>
                <a:latin typeface="+mn-lt"/>
              </a:defRPr>
            </a:lvl1pPr>
            <a:lvl2pPr marL="503975" indent="0">
              <a:buNone/>
              <a:defRPr b="1">
                <a:latin typeface="+mj-lt"/>
              </a:defRPr>
            </a:lvl2pPr>
            <a:lvl3pPr marL="1007950" indent="0">
              <a:buNone/>
              <a:defRPr b="1">
                <a:latin typeface="+mj-lt"/>
              </a:defRPr>
            </a:lvl3pPr>
            <a:lvl4pPr marL="1511925" indent="0">
              <a:buNone/>
              <a:defRPr b="1">
                <a:latin typeface="+mj-lt"/>
              </a:defRPr>
            </a:lvl4pPr>
            <a:lvl5pPr marL="2015899" indent="0">
              <a:buNone/>
              <a:defRPr b="1">
                <a:latin typeface="+mj-lt"/>
              </a:defRPr>
            </a:lvl5pPr>
          </a:lstStyle>
          <a:p>
            <a:pPr lvl="0"/>
            <a:r>
              <a:rPr lang="en-US"/>
              <a:t>0</a:t>
            </a:r>
          </a:p>
        </p:txBody>
      </p:sp>
      <p:sp>
        <p:nvSpPr>
          <p:cNvPr id="16" name="Text Placeholder 6">
            <a:extLst>
              <a:ext uri="{FF2B5EF4-FFF2-40B4-BE49-F238E27FC236}">
                <a16:creationId xmlns:a16="http://schemas.microsoft.com/office/drawing/2014/main" id="{C94380A0-C940-A82F-E9C8-F63EF03D8914}"/>
              </a:ext>
            </a:extLst>
          </p:cNvPr>
          <p:cNvSpPr>
            <a:spLocks noGrp="1"/>
          </p:cNvSpPr>
          <p:nvPr>
            <p:ph type="body" sz="quarter" idx="17" hasCustomPrompt="1"/>
          </p:nvPr>
        </p:nvSpPr>
        <p:spPr>
          <a:xfrm>
            <a:off x="3160983" y="5653599"/>
            <a:ext cx="755987" cy="755968"/>
          </a:xfrm>
          <a:prstGeom prst="ellipse">
            <a:avLst/>
          </a:prstGeom>
          <a:solidFill>
            <a:schemeClr val="tx1">
              <a:lumMod val="75000"/>
              <a:lumOff val="25000"/>
            </a:schemeClr>
          </a:solidFill>
          <a:ln w="25400">
            <a:solidFill>
              <a:schemeClr val="tx1">
                <a:lumMod val="75000"/>
                <a:lumOff val="25000"/>
              </a:schemeClr>
            </a:solidFill>
          </a:ln>
        </p:spPr>
        <p:txBody>
          <a:bodyPr lIns="0" tIns="0" rIns="0" bIns="0" anchor="ctr">
            <a:noAutofit/>
          </a:bodyPr>
          <a:lstStyle>
            <a:lvl1pPr marL="0" indent="0" algn="ctr">
              <a:lnSpc>
                <a:spcPct val="100000"/>
              </a:lnSpc>
              <a:spcBef>
                <a:spcPts val="0"/>
              </a:spcBef>
              <a:buNone/>
              <a:defRPr sz="4189" b="0">
                <a:solidFill>
                  <a:schemeClr val="accent4"/>
                </a:solidFill>
                <a:latin typeface="+mn-lt"/>
              </a:defRPr>
            </a:lvl1pPr>
            <a:lvl2pPr marL="503975" indent="0">
              <a:buNone/>
              <a:defRPr b="1">
                <a:latin typeface="+mj-lt"/>
              </a:defRPr>
            </a:lvl2pPr>
            <a:lvl3pPr marL="1007950" indent="0">
              <a:buNone/>
              <a:defRPr b="1">
                <a:latin typeface="+mj-lt"/>
              </a:defRPr>
            </a:lvl3pPr>
            <a:lvl4pPr marL="1511925" indent="0">
              <a:buNone/>
              <a:defRPr b="1">
                <a:latin typeface="+mj-lt"/>
              </a:defRPr>
            </a:lvl4pPr>
            <a:lvl5pPr marL="2015899" indent="0">
              <a:buNone/>
              <a:defRPr b="1">
                <a:latin typeface="+mj-lt"/>
              </a:defRPr>
            </a:lvl5pPr>
          </a:lstStyle>
          <a:p>
            <a:pPr lvl="0"/>
            <a:r>
              <a:rPr lang="en-US"/>
              <a:t>0</a:t>
            </a:r>
          </a:p>
        </p:txBody>
      </p:sp>
    </p:spTree>
    <p:extLst>
      <p:ext uri="{BB962C8B-B14F-4D97-AF65-F5344CB8AC3E}">
        <p14:creationId xmlns:p14="http://schemas.microsoft.com/office/powerpoint/2010/main" val="96475443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Mileston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4CF0B1-5FBF-6F99-DA2D-C2AE165C78B8}"/>
              </a:ext>
            </a:extLst>
          </p:cNvPr>
          <p:cNvSpPr>
            <a:spLocks noGrp="1"/>
          </p:cNvSpPr>
          <p:nvPr>
            <p:ph type="title" hasCustomPrompt="1"/>
          </p:nvPr>
        </p:nvSpPr>
        <p:spPr>
          <a:xfrm>
            <a:off x="861616" y="310146"/>
            <a:ext cx="11732924" cy="1007957"/>
          </a:xfrm>
        </p:spPr>
        <p:txBody>
          <a:bodyPr/>
          <a:lstStyle>
            <a:lvl1pPr>
              <a:defRPr cap="all" baseline="0"/>
            </a:lvl1pPr>
          </a:lstStyle>
          <a:p>
            <a:r>
              <a:rPr lang="en-US" b="0">
                <a:solidFill>
                  <a:schemeClr val="bg1"/>
                </a:solidFill>
              </a:rPr>
              <a:t>CLICK TO ADD TITLE</a:t>
            </a:r>
            <a:endParaRPr lang="en-US">
              <a:solidFill>
                <a:schemeClr val="bg1"/>
              </a:solidFill>
            </a:endParaRPr>
          </a:p>
        </p:txBody>
      </p:sp>
      <p:cxnSp>
        <p:nvCxnSpPr>
          <p:cNvPr id="3" name="Straight Connector 2">
            <a:extLst>
              <a:ext uri="{FF2B5EF4-FFF2-40B4-BE49-F238E27FC236}">
                <a16:creationId xmlns:a16="http://schemas.microsoft.com/office/drawing/2014/main" id="{2FFF060A-09C6-5B83-D598-922FBC00B35B}"/>
              </a:ext>
              <a:ext uri="{C183D7F6-B498-43B3-948B-1728B52AA6E4}">
                <adec:decorative xmlns:adec="http://schemas.microsoft.com/office/drawing/2017/decorative" val="1"/>
              </a:ext>
            </a:extLst>
          </p:cNvPr>
          <p:cNvCxnSpPr>
            <a:cxnSpLocks/>
          </p:cNvCxnSpPr>
          <p:nvPr userDrawn="1"/>
        </p:nvCxnSpPr>
        <p:spPr>
          <a:xfrm>
            <a:off x="3538846" y="3625231"/>
            <a:ext cx="451548"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967118EA-0679-56DB-30AA-15366D841B28}"/>
              </a:ext>
              <a:ext uri="{C183D7F6-B498-43B3-948B-1728B52AA6E4}">
                <adec:decorative xmlns:adec="http://schemas.microsoft.com/office/drawing/2017/decorative" val="1"/>
              </a:ext>
            </a:extLst>
          </p:cNvPr>
          <p:cNvCxnSpPr>
            <a:cxnSpLocks/>
          </p:cNvCxnSpPr>
          <p:nvPr userDrawn="1"/>
        </p:nvCxnSpPr>
        <p:spPr>
          <a:xfrm>
            <a:off x="6427827" y="3625231"/>
            <a:ext cx="451548"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757D4C26-298D-B369-3923-22B4E0751783}"/>
              </a:ext>
              <a:ext uri="{C183D7F6-B498-43B3-948B-1728B52AA6E4}">
                <adec:decorative xmlns:adec="http://schemas.microsoft.com/office/drawing/2017/decorative" val="1"/>
              </a:ext>
            </a:extLst>
          </p:cNvPr>
          <p:cNvCxnSpPr>
            <a:cxnSpLocks/>
          </p:cNvCxnSpPr>
          <p:nvPr userDrawn="1"/>
        </p:nvCxnSpPr>
        <p:spPr>
          <a:xfrm>
            <a:off x="9300392" y="3625231"/>
            <a:ext cx="451548"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F1524A62-C119-A675-F4F4-B43997BF7414}"/>
              </a:ext>
              <a:ext uri="{C183D7F6-B498-43B3-948B-1728B52AA6E4}">
                <adec:decorative xmlns:adec="http://schemas.microsoft.com/office/drawing/2017/decorative" val="1"/>
              </a:ext>
            </a:extLst>
          </p:cNvPr>
          <p:cNvCxnSpPr>
            <a:cxnSpLocks/>
          </p:cNvCxnSpPr>
          <p:nvPr userDrawn="1"/>
        </p:nvCxnSpPr>
        <p:spPr>
          <a:xfrm>
            <a:off x="658793" y="3625231"/>
            <a:ext cx="451548"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
        <p:nvSpPr>
          <p:cNvPr id="16" name="Text Placeholder 6">
            <a:extLst>
              <a:ext uri="{FF2B5EF4-FFF2-40B4-BE49-F238E27FC236}">
                <a16:creationId xmlns:a16="http://schemas.microsoft.com/office/drawing/2014/main" id="{43F9D051-5615-6520-C9FE-2194E5F47661}"/>
              </a:ext>
            </a:extLst>
          </p:cNvPr>
          <p:cNvSpPr>
            <a:spLocks noGrp="1"/>
          </p:cNvSpPr>
          <p:nvPr>
            <p:ph type="body" sz="quarter" idx="10" hasCustomPrompt="1"/>
          </p:nvPr>
        </p:nvSpPr>
        <p:spPr>
          <a:xfrm>
            <a:off x="1250935" y="2799799"/>
            <a:ext cx="1585694" cy="491602"/>
          </a:xfrm>
        </p:spPr>
        <p:txBody>
          <a:bodyPr anchor="b">
            <a:normAutofit/>
          </a:bodyPr>
          <a:lstStyle>
            <a:lvl1pPr marL="0" indent="0">
              <a:buNone/>
              <a:defRPr sz="1543" b="1" cap="all" baseline="0">
                <a:latin typeface="+mn-lt"/>
              </a:defRPr>
            </a:lvl1pPr>
            <a:lvl2pPr marL="503975" indent="0">
              <a:buNone/>
              <a:defRPr b="1">
                <a:latin typeface="+mj-lt"/>
              </a:defRPr>
            </a:lvl2pPr>
            <a:lvl3pPr marL="1007950" indent="0">
              <a:buNone/>
              <a:defRPr b="1">
                <a:latin typeface="+mj-lt"/>
              </a:defRPr>
            </a:lvl3pPr>
            <a:lvl4pPr marL="1511925" indent="0">
              <a:buNone/>
              <a:defRPr b="1">
                <a:latin typeface="+mj-lt"/>
              </a:defRPr>
            </a:lvl4pPr>
            <a:lvl5pPr marL="2015899" indent="0">
              <a:buNone/>
              <a:defRPr b="1">
                <a:latin typeface="+mj-lt"/>
              </a:defRPr>
            </a:lvl5pPr>
          </a:lstStyle>
          <a:p>
            <a:pPr lvl="0"/>
            <a:r>
              <a:rPr lang="en-US"/>
              <a:t>ADD TEXT</a:t>
            </a:r>
          </a:p>
        </p:txBody>
      </p:sp>
      <p:sp>
        <p:nvSpPr>
          <p:cNvPr id="24" name="Text Placeholder 6">
            <a:extLst>
              <a:ext uri="{FF2B5EF4-FFF2-40B4-BE49-F238E27FC236}">
                <a16:creationId xmlns:a16="http://schemas.microsoft.com/office/drawing/2014/main" id="{2D33364F-212C-47CD-61DB-B968966244FA}"/>
              </a:ext>
            </a:extLst>
          </p:cNvPr>
          <p:cNvSpPr>
            <a:spLocks noGrp="1"/>
          </p:cNvSpPr>
          <p:nvPr>
            <p:ph type="body" sz="quarter" idx="15" hasCustomPrompt="1"/>
          </p:nvPr>
        </p:nvSpPr>
        <p:spPr>
          <a:xfrm>
            <a:off x="1250935" y="3254983"/>
            <a:ext cx="1585694" cy="722512"/>
          </a:xfrm>
        </p:spPr>
        <p:txBody>
          <a:bodyPr lIns="91440" tIns="0" rIns="91440" bIns="0" anchor="t">
            <a:noAutofit/>
          </a:bodyPr>
          <a:lstStyle>
            <a:lvl1pPr marL="0" indent="0">
              <a:buNone/>
              <a:defRPr sz="5952" b="1" cap="all" baseline="0">
                <a:latin typeface="+mn-lt"/>
              </a:defRPr>
            </a:lvl1pPr>
            <a:lvl2pPr marL="503975" indent="0">
              <a:buNone/>
              <a:defRPr b="1">
                <a:latin typeface="+mj-lt"/>
              </a:defRPr>
            </a:lvl2pPr>
            <a:lvl3pPr marL="1007950" indent="0">
              <a:buNone/>
              <a:defRPr b="1">
                <a:latin typeface="+mj-lt"/>
              </a:defRPr>
            </a:lvl3pPr>
            <a:lvl4pPr marL="1511925" indent="0">
              <a:buNone/>
              <a:defRPr b="1">
                <a:latin typeface="+mj-lt"/>
              </a:defRPr>
            </a:lvl4pPr>
            <a:lvl5pPr marL="2015899" indent="0">
              <a:buNone/>
              <a:defRPr b="1">
                <a:latin typeface="+mj-lt"/>
              </a:defRPr>
            </a:lvl5pPr>
          </a:lstStyle>
          <a:p>
            <a:pPr lvl="0"/>
            <a:r>
              <a:rPr lang="en-US"/>
              <a:t>00</a:t>
            </a:r>
          </a:p>
        </p:txBody>
      </p:sp>
      <p:sp>
        <p:nvSpPr>
          <p:cNvPr id="19" name="Text Placeholder 18">
            <a:extLst>
              <a:ext uri="{FF2B5EF4-FFF2-40B4-BE49-F238E27FC236}">
                <a16:creationId xmlns:a16="http://schemas.microsoft.com/office/drawing/2014/main" id="{B1A2BC30-6C99-2F27-33C0-75369E2DB4B6}"/>
              </a:ext>
            </a:extLst>
          </p:cNvPr>
          <p:cNvSpPr>
            <a:spLocks noGrp="1"/>
          </p:cNvSpPr>
          <p:nvPr>
            <p:ph type="body" sz="quarter" idx="30" hasCustomPrompt="1"/>
          </p:nvPr>
        </p:nvSpPr>
        <p:spPr>
          <a:xfrm>
            <a:off x="908170" y="3820156"/>
            <a:ext cx="2812273" cy="2337802"/>
          </a:xfrm>
          <a:custGeom>
            <a:avLst/>
            <a:gdLst>
              <a:gd name="connsiteX0" fmla="*/ 0 w 2066101"/>
              <a:gd name="connsiteY0" fmla="*/ 0 h 2704392"/>
              <a:gd name="connsiteX1" fmla="*/ 2066101 w 2066101"/>
              <a:gd name="connsiteY1" fmla="*/ 0 h 2704392"/>
              <a:gd name="connsiteX2" fmla="*/ 2066101 w 2066101"/>
              <a:gd name="connsiteY2" fmla="*/ 2704392 h 2704392"/>
              <a:gd name="connsiteX3" fmla="*/ 0 w 2066101"/>
              <a:gd name="connsiteY3" fmla="*/ 2704392 h 2704392"/>
            </a:gdLst>
            <a:ahLst/>
            <a:cxnLst>
              <a:cxn ang="0">
                <a:pos x="connsiteX0" y="connsiteY0"/>
              </a:cxn>
              <a:cxn ang="0">
                <a:pos x="connsiteX1" y="connsiteY1"/>
              </a:cxn>
              <a:cxn ang="0">
                <a:pos x="connsiteX2" y="connsiteY2"/>
              </a:cxn>
              <a:cxn ang="0">
                <a:pos x="connsiteX3" y="connsiteY3"/>
              </a:cxn>
            </a:cxnLst>
            <a:rect l="l" t="t" r="r" b="b"/>
            <a:pathLst>
              <a:path w="2066101" h="2704392">
                <a:moveTo>
                  <a:pt x="0" y="0"/>
                </a:moveTo>
                <a:lnTo>
                  <a:pt x="2066101" y="0"/>
                </a:lnTo>
                <a:lnTo>
                  <a:pt x="2066101" y="2704392"/>
                </a:lnTo>
                <a:lnTo>
                  <a:pt x="0" y="2704392"/>
                </a:lnTo>
                <a:close/>
              </a:path>
            </a:pathLst>
          </a:custGeom>
          <a:solidFill>
            <a:schemeClr val="tx1">
              <a:lumMod val="75000"/>
              <a:lumOff val="25000"/>
            </a:schemeClr>
          </a:solidFill>
          <a:ln>
            <a:noFill/>
          </a:ln>
          <a:effectLst>
            <a:outerShdw blurRad="50800" dist="508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5760" tIns="274320" rtlCol="0" anchor="t">
            <a:normAutofit/>
          </a:bodyPr>
          <a:lstStyle>
            <a:lvl1pPr marL="0" indent="0" algn="l">
              <a:buFont typeface="Arial" panose="020B0604020202020204" pitchFamily="34" charset="0"/>
              <a:buNone/>
              <a:defRPr lang="en-US" sz="1323" dirty="0">
                <a:solidFill>
                  <a:schemeClr val="lt1"/>
                </a:solidFill>
              </a:defRPr>
            </a:lvl1pPr>
          </a:lstStyle>
          <a:p>
            <a:pPr marL="0" lvl="0" algn="ctr"/>
            <a:r>
              <a:rPr lang="en-US"/>
              <a:t>Add text here</a:t>
            </a:r>
          </a:p>
        </p:txBody>
      </p:sp>
      <p:sp>
        <p:nvSpPr>
          <p:cNvPr id="21" name="Text Placeholder 6">
            <a:extLst>
              <a:ext uri="{FF2B5EF4-FFF2-40B4-BE49-F238E27FC236}">
                <a16:creationId xmlns:a16="http://schemas.microsoft.com/office/drawing/2014/main" id="{CC9A1613-1BBF-BD90-BEEE-BD897E949767}"/>
              </a:ext>
            </a:extLst>
          </p:cNvPr>
          <p:cNvSpPr>
            <a:spLocks noGrp="1"/>
          </p:cNvSpPr>
          <p:nvPr>
            <p:ph type="body" sz="quarter" idx="11" hasCustomPrompt="1"/>
          </p:nvPr>
        </p:nvSpPr>
        <p:spPr>
          <a:xfrm>
            <a:off x="4102754" y="2799799"/>
            <a:ext cx="1585694" cy="491602"/>
          </a:xfrm>
        </p:spPr>
        <p:txBody>
          <a:bodyPr anchor="b">
            <a:normAutofit/>
          </a:bodyPr>
          <a:lstStyle>
            <a:lvl1pPr marL="0" indent="0">
              <a:buNone/>
              <a:defRPr sz="1543" b="1" cap="all" baseline="0">
                <a:latin typeface="+mn-lt"/>
              </a:defRPr>
            </a:lvl1pPr>
            <a:lvl2pPr marL="503975" indent="0">
              <a:buNone/>
              <a:defRPr b="1">
                <a:latin typeface="+mj-lt"/>
              </a:defRPr>
            </a:lvl2pPr>
            <a:lvl3pPr marL="1007950" indent="0">
              <a:buNone/>
              <a:defRPr b="1">
                <a:latin typeface="+mj-lt"/>
              </a:defRPr>
            </a:lvl3pPr>
            <a:lvl4pPr marL="1511925" indent="0">
              <a:buNone/>
              <a:defRPr b="1">
                <a:latin typeface="+mj-lt"/>
              </a:defRPr>
            </a:lvl4pPr>
            <a:lvl5pPr marL="2015899" indent="0">
              <a:buNone/>
              <a:defRPr b="1">
                <a:latin typeface="+mj-lt"/>
              </a:defRPr>
            </a:lvl5pPr>
          </a:lstStyle>
          <a:p>
            <a:pPr lvl="0"/>
            <a:r>
              <a:rPr lang="en-US"/>
              <a:t>ADD TEXT</a:t>
            </a:r>
          </a:p>
        </p:txBody>
      </p:sp>
      <p:sp>
        <p:nvSpPr>
          <p:cNvPr id="25" name="Text Placeholder 6">
            <a:extLst>
              <a:ext uri="{FF2B5EF4-FFF2-40B4-BE49-F238E27FC236}">
                <a16:creationId xmlns:a16="http://schemas.microsoft.com/office/drawing/2014/main" id="{5304FCD1-A30E-46B1-D7C8-DE1BE7FFAE8E}"/>
              </a:ext>
            </a:extLst>
          </p:cNvPr>
          <p:cNvSpPr>
            <a:spLocks noGrp="1"/>
          </p:cNvSpPr>
          <p:nvPr>
            <p:ph type="body" sz="quarter" idx="16" hasCustomPrompt="1"/>
          </p:nvPr>
        </p:nvSpPr>
        <p:spPr>
          <a:xfrm>
            <a:off x="4102754" y="3254983"/>
            <a:ext cx="1585694" cy="722512"/>
          </a:xfrm>
        </p:spPr>
        <p:txBody>
          <a:bodyPr lIns="91440" tIns="0" rIns="91440" bIns="0" anchor="t">
            <a:noAutofit/>
          </a:bodyPr>
          <a:lstStyle>
            <a:lvl1pPr marL="0" indent="0">
              <a:buNone/>
              <a:defRPr sz="5952" b="1" cap="all" baseline="0">
                <a:latin typeface="+mn-lt"/>
              </a:defRPr>
            </a:lvl1pPr>
            <a:lvl2pPr marL="503975" indent="0">
              <a:buNone/>
              <a:defRPr b="1">
                <a:latin typeface="+mj-lt"/>
              </a:defRPr>
            </a:lvl2pPr>
            <a:lvl3pPr marL="1007950" indent="0">
              <a:buNone/>
              <a:defRPr b="1">
                <a:latin typeface="+mj-lt"/>
              </a:defRPr>
            </a:lvl3pPr>
            <a:lvl4pPr marL="1511925" indent="0">
              <a:buNone/>
              <a:defRPr b="1">
                <a:latin typeface="+mj-lt"/>
              </a:defRPr>
            </a:lvl4pPr>
            <a:lvl5pPr marL="2015899" indent="0">
              <a:buNone/>
              <a:defRPr b="1">
                <a:latin typeface="+mj-lt"/>
              </a:defRPr>
            </a:lvl5pPr>
          </a:lstStyle>
          <a:p>
            <a:pPr lvl="0"/>
            <a:r>
              <a:rPr lang="en-US"/>
              <a:t>00</a:t>
            </a:r>
          </a:p>
        </p:txBody>
      </p:sp>
      <p:sp>
        <p:nvSpPr>
          <p:cNvPr id="20" name="Text Placeholder 19">
            <a:extLst>
              <a:ext uri="{FF2B5EF4-FFF2-40B4-BE49-F238E27FC236}">
                <a16:creationId xmlns:a16="http://schemas.microsoft.com/office/drawing/2014/main" id="{2D540769-785D-73F3-BFE4-6B3BD5E50731}"/>
              </a:ext>
            </a:extLst>
          </p:cNvPr>
          <p:cNvSpPr>
            <a:spLocks noGrp="1"/>
          </p:cNvSpPr>
          <p:nvPr>
            <p:ph type="body" sz="quarter" idx="31" hasCustomPrompt="1"/>
          </p:nvPr>
        </p:nvSpPr>
        <p:spPr>
          <a:xfrm>
            <a:off x="3789131" y="3820156"/>
            <a:ext cx="2812273" cy="2337802"/>
          </a:xfrm>
          <a:custGeom>
            <a:avLst/>
            <a:gdLst>
              <a:gd name="connsiteX0" fmla="*/ 0 w 2066101"/>
              <a:gd name="connsiteY0" fmla="*/ 0 h 2704392"/>
              <a:gd name="connsiteX1" fmla="*/ 2066101 w 2066101"/>
              <a:gd name="connsiteY1" fmla="*/ 0 h 2704392"/>
              <a:gd name="connsiteX2" fmla="*/ 2066101 w 2066101"/>
              <a:gd name="connsiteY2" fmla="*/ 2704392 h 2704392"/>
              <a:gd name="connsiteX3" fmla="*/ 0 w 2066101"/>
              <a:gd name="connsiteY3" fmla="*/ 2704392 h 2704392"/>
            </a:gdLst>
            <a:ahLst/>
            <a:cxnLst>
              <a:cxn ang="0">
                <a:pos x="connsiteX0" y="connsiteY0"/>
              </a:cxn>
              <a:cxn ang="0">
                <a:pos x="connsiteX1" y="connsiteY1"/>
              </a:cxn>
              <a:cxn ang="0">
                <a:pos x="connsiteX2" y="connsiteY2"/>
              </a:cxn>
              <a:cxn ang="0">
                <a:pos x="connsiteX3" y="connsiteY3"/>
              </a:cxn>
            </a:cxnLst>
            <a:rect l="l" t="t" r="r" b="b"/>
            <a:pathLst>
              <a:path w="2066101" h="2704392">
                <a:moveTo>
                  <a:pt x="0" y="0"/>
                </a:moveTo>
                <a:lnTo>
                  <a:pt x="2066101" y="0"/>
                </a:lnTo>
                <a:lnTo>
                  <a:pt x="2066101" y="2704392"/>
                </a:lnTo>
                <a:lnTo>
                  <a:pt x="0" y="2704392"/>
                </a:lnTo>
                <a:close/>
              </a:path>
            </a:pathLst>
          </a:custGeom>
          <a:solidFill>
            <a:schemeClr val="tx1">
              <a:lumMod val="75000"/>
              <a:lumOff val="25000"/>
            </a:schemeClr>
          </a:solidFill>
          <a:ln>
            <a:noFill/>
          </a:ln>
          <a:effectLst>
            <a:outerShdw blurRad="50800" dist="508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5760" tIns="274320" rtlCol="0" anchor="t">
            <a:normAutofit/>
          </a:bodyPr>
          <a:lstStyle>
            <a:lvl1pPr marL="0" indent="0" algn="l">
              <a:buFont typeface="Arial" panose="020B0604020202020204" pitchFamily="34" charset="0"/>
              <a:buNone/>
              <a:defRPr lang="en-US" sz="1323" dirty="0">
                <a:solidFill>
                  <a:schemeClr val="lt1"/>
                </a:solidFill>
              </a:defRPr>
            </a:lvl1pPr>
          </a:lstStyle>
          <a:p>
            <a:pPr marL="0" lvl="0" algn="ctr"/>
            <a:r>
              <a:rPr lang="en-US"/>
              <a:t>Add text here</a:t>
            </a:r>
          </a:p>
        </p:txBody>
      </p:sp>
      <p:sp>
        <p:nvSpPr>
          <p:cNvPr id="22" name="Text Placeholder 6">
            <a:extLst>
              <a:ext uri="{FF2B5EF4-FFF2-40B4-BE49-F238E27FC236}">
                <a16:creationId xmlns:a16="http://schemas.microsoft.com/office/drawing/2014/main" id="{4B3A9FF4-06B5-103D-E04A-59C091EC5AE9}"/>
              </a:ext>
            </a:extLst>
          </p:cNvPr>
          <p:cNvSpPr>
            <a:spLocks noGrp="1"/>
          </p:cNvSpPr>
          <p:nvPr>
            <p:ph type="body" sz="quarter" idx="12" hasCustomPrompt="1"/>
          </p:nvPr>
        </p:nvSpPr>
        <p:spPr>
          <a:xfrm>
            <a:off x="6987427" y="2799799"/>
            <a:ext cx="1585694" cy="491602"/>
          </a:xfrm>
        </p:spPr>
        <p:txBody>
          <a:bodyPr anchor="b">
            <a:normAutofit/>
          </a:bodyPr>
          <a:lstStyle>
            <a:lvl1pPr marL="0" indent="0">
              <a:buNone/>
              <a:defRPr sz="1543" b="1" cap="all" baseline="0">
                <a:latin typeface="+mn-lt"/>
              </a:defRPr>
            </a:lvl1pPr>
            <a:lvl2pPr marL="503975" indent="0">
              <a:buNone/>
              <a:defRPr b="1">
                <a:latin typeface="+mj-lt"/>
              </a:defRPr>
            </a:lvl2pPr>
            <a:lvl3pPr marL="1007950" indent="0">
              <a:buNone/>
              <a:defRPr b="1">
                <a:latin typeface="+mj-lt"/>
              </a:defRPr>
            </a:lvl3pPr>
            <a:lvl4pPr marL="1511925" indent="0">
              <a:buNone/>
              <a:defRPr b="1">
                <a:latin typeface="+mj-lt"/>
              </a:defRPr>
            </a:lvl4pPr>
            <a:lvl5pPr marL="2015899" indent="0">
              <a:buNone/>
              <a:defRPr b="1">
                <a:latin typeface="+mj-lt"/>
              </a:defRPr>
            </a:lvl5pPr>
          </a:lstStyle>
          <a:p>
            <a:pPr lvl="0"/>
            <a:r>
              <a:rPr lang="en-US"/>
              <a:t>ADD TEXT</a:t>
            </a:r>
          </a:p>
        </p:txBody>
      </p:sp>
      <p:sp>
        <p:nvSpPr>
          <p:cNvPr id="26" name="Text Placeholder 6">
            <a:extLst>
              <a:ext uri="{FF2B5EF4-FFF2-40B4-BE49-F238E27FC236}">
                <a16:creationId xmlns:a16="http://schemas.microsoft.com/office/drawing/2014/main" id="{D86C2B1E-2069-E1E8-1D55-F06FEC402540}"/>
              </a:ext>
            </a:extLst>
          </p:cNvPr>
          <p:cNvSpPr>
            <a:spLocks noGrp="1"/>
          </p:cNvSpPr>
          <p:nvPr>
            <p:ph type="body" sz="quarter" idx="17" hasCustomPrompt="1"/>
          </p:nvPr>
        </p:nvSpPr>
        <p:spPr>
          <a:xfrm>
            <a:off x="6987427" y="3254983"/>
            <a:ext cx="1585694" cy="722512"/>
          </a:xfrm>
        </p:spPr>
        <p:txBody>
          <a:bodyPr lIns="91440" tIns="0" rIns="91440" bIns="0" anchor="t">
            <a:noAutofit/>
          </a:bodyPr>
          <a:lstStyle>
            <a:lvl1pPr marL="0" indent="0">
              <a:buNone/>
              <a:defRPr sz="5952" b="1" cap="all" baseline="0">
                <a:latin typeface="+mn-lt"/>
              </a:defRPr>
            </a:lvl1pPr>
            <a:lvl2pPr marL="503975" indent="0">
              <a:buNone/>
              <a:defRPr b="1">
                <a:latin typeface="+mj-lt"/>
              </a:defRPr>
            </a:lvl2pPr>
            <a:lvl3pPr marL="1007950" indent="0">
              <a:buNone/>
              <a:defRPr b="1">
                <a:latin typeface="+mj-lt"/>
              </a:defRPr>
            </a:lvl3pPr>
            <a:lvl4pPr marL="1511925" indent="0">
              <a:buNone/>
              <a:defRPr b="1">
                <a:latin typeface="+mj-lt"/>
              </a:defRPr>
            </a:lvl4pPr>
            <a:lvl5pPr marL="2015899" indent="0">
              <a:buNone/>
              <a:defRPr b="1">
                <a:latin typeface="+mj-lt"/>
              </a:defRPr>
            </a:lvl5pPr>
          </a:lstStyle>
          <a:p>
            <a:pPr lvl="0"/>
            <a:r>
              <a:rPr lang="en-US"/>
              <a:t>00</a:t>
            </a:r>
          </a:p>
        </p:txBody>
      </p:sp>
      <p:sp>
        <p:nvSpPr>
          <p:cNvPr id="30" name="Text Placeholder 29">
            <a:extLst>
              <a:ext uri="{FF2B5EF4-FFF2-40B4-BE49-F238E27FC236}">
                <a16:creationId xmlns:a16="http://schemas.microsoft.com/office/drawing/2014/main" id="{28F6B4AA-751C-B5D8-6672-3774E22E3497}"/>
              </a:ext>
            </a:extLst>
          </p:cNvPr>
          <p:cNvSpPr>
            <a:spLocks noGrp="1"/>
          </p:cNvSpPr>
          <p:nvPr>
            <p:ph type="body" sz="quarter" idx="32" hasCustomPrompt="1"/>
          </p:nvPr>
        </p:nvSpPr>
        <p:spPr>
          <a:xfrm>
            <a:off x="6670092" y="3820156"/>
            <a:ext cx="2812273" cy="2337802"/>
          </a:xfrm>
          <a:custGeom>
            <a:avLst/>
            <a:gdLst>
              <a:gd name="connsiteX0" fmla="*/ 0 w 2066101"/>
              <a:gd name="connsiteY0" fmla="*/ 0 h 2704392"/>
              <a:gd name="connsiteX1" fmla="*/ 2066101 w 2066101"/>
              <a:gd name="connsiteY1" fmla="*/ 0 h 2704392"/>
              <a:gd name="connsiteX2" fmla="*/ 2066101 w 2066101"/>
              <a:gd name="connsiteY2" fmla="*/ 2704392 h 2704392"/>
              <a:gd name="connsiteX3" fmla="*/ 0 w 2066101"/>
              <a:gd name="connsiteY3" fmla="*/ 2704392 h 2704392"/>
            </a:gdLst>
            <a:ahLst/>
            <a:cxnLst>
              <a:cxn ang="0">
                <a:pos x="connsiteX0" y="connsiteY0"/>
              </a:cxn>
              <a:cxn ang="0">
                <a:pos x="connsiteX1" y="connsiteY1"/>
              </a:cxn>
              <a:cxn ang="0">
                <a:pos x="connsiteX2" y="connsiteY2"/>
              </a:cxn>
              <a:cxn ang="0">
                <a:pos x="connsiteX3" y="connsiteY3"/>
              </a:cxn>
            </a:cxnLst>
            <a:rect l="l" t="t" r="r" b="b"/>
            <a:pathLst>
              <a:path w="2066101" h="2704392">
                <a:moveTo>
                  <a:pt x="0" y="0"/>
                </a:moveTo>
                <a:lnTo>
                  <a:pt x="2066101" y="0"/>
                </a:lnTo>
                <a:lnTo>
                  <a:pt x="2066101" y="2704392"/>
                </a:lnTo>
                <a:lnTo>
                  <a:pt x="0" y="2704392"/>
                </a:lnTo>
                <a:close/>
              </a:path>
            </a:pathLst>
          </a:custGeom>
          <a:solidFill>
            <a:schemeClr val="tx1">
              <a:lumMod val="75000"/>
              <a:lumOff val="25000"/>
            </a:schemeClr>
          </a:solidFill>
          <a:ln>
            <a:noFill/>
          </a:ln>
          <a:effectLst>
            <a:outerShdw blurRad="50800" dist="508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5760" tIns="274320" rtlCol="0" anchor="t">
            <a:normAutofit/>
          </a:bodyPr>
          <a:lstStyle>
            <a:lvl1pPr marL="0" indent="0" algn="l">
              <a:buFont typeface="Arial" panose="020B0604020202020204" pitchFamily="34" charset="0"/>
              <a:buNone/>
              <a:defRPr lang="en-US" sz="1323" dirty="0">
                <a:solidFill>
                  <a:schemeClr val="lt1"/>
                </a:solidFill>
              </a:defRPr>
            </a:lvl1pPr>
          </a:lstStyle>
          <a:p>
            <a:pPr marL="0" lvl="0" algn="ctr"/>
            <a:r>
              <a:rPr lang="en-US"/>
              <a:t>Add text here</a:t>
            </a:r>
          </a:p>
        </p:txBody>
      </p:sp>
      <p:sp>
        <p:nvSpPr>
          <p:cNvPr id="23" name="Text Placeholder 6">
            <a:extLst>
              <a:ext uri="{FF2B5EF4-FFF2-40B4-BE49-F238E27FC236}">
                <a16:creationId xmlns:a16="http://schemas.microsoft.com/office/drawing/2014/main" id="{4AE3F56D-0C35-24AD-243F-104C2FD0A1D8}"/>
              </a:ext>
            </a:extLst>
          </p:cNvPr>
          <p:cNvSpPr>
            <a:spLocks noGrp="1"/>
          </p:cNvSpPr>
          <p:nvPr>
            <p:ph type="body" sz="quarter" idx="13" hasCustomPrompt="1"/>
          </p:nvPr>
        </p:nvSpPr>
        <p:spPr>
          <a:xfrm>
            <a:off x="9857933" y="2799799"/>
            <a:ext cx="1585694" cy="491602"/>
          </a:xfrm>
        </p:spPr>
        <p:txBody>
          <a:bodyPr anchor="b">
            <a:normAutofit/>
          </a:bodyPr>
          <a:lstStyle>
            <a:lvl1pPr marL="0" indent="0">
              <a:buNone/>
              <a:defRPr sz="1543" b="1" cap="all" baseline="0">
                <a:latin typeface="+mn-lt"/>
              </a:defRPr>
            </a:lvl1pPr>
            <a:lvl2pPr marL="503975" indent="0">
              <a:buNone/>
              <a:defRPr b="1">
                <a:latin typeface="+mj-lt"/>
              </a:defRPr>
            </a:lvl2pPr>
            <a:lvl3pPr marL="1007950" indent="0">
              <a:buNone/>
              <a:defRPr b="1">
                <a:latin typeface="+mj-lt"/>
              </a:defRPr>
            </a:lvl3pPr>
            <a:lvl4pPr marL="1511925" indent="0">
              <a:buNone/>
              <a:defRPr b="1">
                <a:latin typeface="+mj-lt"/>
              </a:defRPr>
            </a:lvl4pPr>
            <a:lvl5pPr marL="2015899" indent="0">
              <a:buNone/>
              <a:defRPr b="1">
                <a:latin typeface="+mj-lt"/>
              </a:defRPr>
            </a:lvl5pPr>
          </a:lstStyle>
          <a:p>
            <a:pPr lvl="0"/>
            <a:r>
              <a:rPr lang="en-US"/>
              <a:t>ADD TEXT</a:t>
            </a:r>
          </a:p>
        </p:txBody>
      </p:sp>
      <p:sp>
        <p:nvSpPr>
          <p:cNvPr id="27" name="Text Placeholder 6">
            <a:extLst>
              <a:ext uri="{FF2B5EF4-FFF2-40B4-BE49-F238E27FC236}">
                <a16:creationId xmlns:a16="http://schemas.microsoft.com/office/drawing/2014/main" id="{F7E2EDC6-8ADC-73F3-2B50-F76AAE96B312}"/>
              </a:ext>
            </a:extLst>
          </p:cNvPr>
          <p:cNvSpPr>
            <a:spLocks noGrp="1"/>
          </p:cNvSpPr>
          <p:nvPr>
            <p:ph type="body" sz="quarter" idx="18" hasCustomPrompt="1"/>
          </p:nvPr>
        </p:nvSpPr>
        <p:spPr>
          <a:xfrm>
            <a:off x="9857933" y="3254983"/>
            <a:ext cx="1585694" cy="722512"/>
          </a:xfrm>
        </p:spPr>
        <p:txBody>
          <a:bodyPr lIns="91440" tIns="0" rIns="91440" bIns="0" anchor="t">
            <a:noAutofit/>
          </a:bodyPr>
          <a:lstStyle>
            <a:lvl1pPr marL="0" indent="0">
              <a:buNone/>
              <a:defRPr sz="5952" b="1" cap="all" baseline="0">
                <a:latin typeface="+mn-lt"/>
              </a:defRPr>
            </a:lvl1pPr>
            <a:lvl2pPr marL="503975" indent="0">
              <a:buNone/>
              <a:defRPr b="1">
                <a:latin typeface="+mj-lt"/>
              </a:defRPr>
            </a:lvl2pPr>
            <a:lvl3pPr marL="1007950" indent="0">
              <a:buNone/>
              <a:defRPr b="1">
                <a:latin typeface="+mj-lt"/>
              </a:defRPr>
            </a:lvl3pPr>
            <a:lvl4pPr marL="1511925" indent="0">
              <a:buNone/>
              <a:defRPr b="1">
                <a:latin typeface="+mj-lt"/>
              </a:defRPr>
            </a:lvl4pPr>
            <a:lvl5pPr marL="2015899" indent="0">
              <a:buNone/>
              <a:defRPr b="1">
                <a:latin typeface="+mj-lt"/>
              </a:defRPr>
            </a:lvl5pPr>
          </a:lstStyle>
          <a:p>
            <a:pPr lvl="0"/>
            <a:r>
              <a:rPr lang="en-US"/>
              <a:t>00</a:t>
            </a:r>
          </a:p>
        </p:txBody>
      </p:sp>
      <p:sp>
        <p:nvSpPr>
          <p:cNvPr id="32" name="Text Placeholder 31">
            <a:extLst>
              <a:ext uri="{FF2B5EF4-FFF2-40B4-BE49-F238E27FC236}">
                <a16:creationId xmlns:a16="http://schemas.microsoft.com/office/drawing/2014/main" id="{AFB0834E-950B-9510-9239-74E1A443E8C5}"/>
              </a:ext>
            </a:extLst>
          </p:cNvPr>
          <p:cNvSpPr>
            <a:spLocks noGrp="1"/>
          </p:cNvSpPr>
          <p:nvPr>
            <p:ph type="body" sz="quarter" idx="34" hasCustomPrompt="1"/>
          </p:nvPr>
        </p:nvSpPr>
        <p:spPr>
          <a:xfrm>
            <a:off x="9551053" y="3820156"/>
            <a:ext cx="2812273" cy="2337802"/>
          </a:xfrm>
          <a:custGeom>
            <a:avLst/>
            <a:gdLst>
              <a:gd name="connsiteX0" fmla="*/ 0 w 2066101"/>
              <a:gd name="connsiteY0" fmla="*/ 0 h 2704392"/>
              <a:gd name="connsiteX1" fmla="*/ 2066101 w 2066101"/>
              <a:gd name="connsiteY1" fmla="*/ 0 h 2704392"/>
              <a:gd name="connsiteX2" fmla="*/ 2066101 w 2066101"/>
              <a:gd name="connsiteY2" fmla="*/ 2704392 h 2704392"/>
              <a:gd name="connsiteX3" fmla="*/ 0 w 2066101"/>
              <a:gd name="connsiteY3" fmla="*/ 2704392 h 2704392"/>
            </a:gdLst>
            <a:ahLst/>
            <a:cxnLst>
              <a:cxn ang="0">
                <a:pos x="connsiteX0" y="connsiteY0"/>
              </a:cxn>
              <a:cxn ang="0">
                <a:pos x="connsiteX1" y="connsiteY1"/>
              </a:cxn>
              <a:cxn ang="0">
                <a:pos x="connsiteX2" y="connsiteY2"/>
              </a:cxn>
              <a:cxn ang="0">
                <a:pos x="connsiteX3" y="connsiteY3"/>
              </a:cxn>
            </a:cxnLst>
            <a:rect l="l" t="t" r="r" b="b"/>
            <a:pathLst>
              <a:path w="2066101" h="2704392">
                <a:moveTo>
                  <a:pt x="0" y="0"/>
                </a:moveTo>
                <a:lnTo>
                  <a:pt x="2066101" y="0"/>
                </a:lnTo>
                <a:lnTo>
                  <a:pt x="2066101" y="2704392"/>
                </a:lnTo>
                <a:lnTo>
                  <a:pt x="0" y="2704392"/>
                </a:lnTo>
                <a:close/>
              </a:path>
            </a:pathLst>
          </a:custGeom>
          <a:solidFill>
            <a:schemeClr val="tx1">
              <a:lumMod val="75000"/>
              <a:lumOff val="25000"/>
            </a:schemeClr>
          </a:solidFill>
          <a:ln>
            <a:noFill/>
          </a:ln>
          <a:effectLst>
            <a:outerShdw blurRad="50800" dist="508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5760" tIns="274320" rtlCol="0" anchor="t">
            <a:normAutofit/>
          </a:bodyPr>
          <a:lstStyle>
            <a:lvl1pPr marL="0" indent="0" algn="l">
              <a:buFont typeface="Arial" panose="020B0604020202020204" pitchFamily="34" charset="0"/>
              <a:buNone/>
              <a:defRPr lang="en-US" sz="1323" dirty="0">
                <a:solidFill>
                  <a:schemeClr val="lt1"/>
                </a:solidFill>
              </a:defRPr>
            </a:lvl1pPr>
          </a:lstStyle>
          <a:p>
            <a:pPr marL="0" lvl="0" algn="ctr"/>
            <a:r>
              <a:rPr lang="en-US"/>
              <a:t>Add text here</a:t>
            </a:r>
          </a:p>
        </p:txBody>
      </p:sp>
      <p:sp>
        <p:nvSpPr>
          <p:cNvPr id="5" name="Rectangle 4">
            <a:extLst>
              <a:ext uri="{FF2B5EF4-FFF2-40B4-BE49-F238E27FC236}">
                <a16:creationId xmlns:a16="http://schemas.microsoft.com/office/drawing/2014/main" id="{46126906-4BEC-F0D8-22BD-C6C108D18F9A}"/>
              </a:ext>
            </a:extLst>
          </p:cNvPr>
          <p:cNvSpPr/>
          <p:nvPr userDrawn="1"/>
        </p:nvSpPr>
        <p:spPr>
          <a:xfrm>
            <a:off x="872887" y="6319930"/>
            <a:ext cx="2891129" cy="17178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1"/>
          </a:p>
        </p:txBody>
      </p:sp>
      <p:sp>
        <p:nvSpPr>
          <p:cNvPr id="6" name="Rectangle 5">
            <a:extLst>
              <a:ext uri="{FF2B5EF4-FFF2-40B4-BE49-F238E27FC236}">
                <a16:creationId xmlns:a16="http://schemas.microsoft.com/office/drawing/2014/main" id="{15F0CF95-AB40-7CFB-D346-0A33C3A61D15}"/>
              </a:ext>
            </a:extLst>
          </p:cNvPr>
          <p:cNvSpPr/>
          <p:nvPr userDrawn="1"/>
        </p:nvSpPr>
        <p:spPr>
          <a:xfrm>
            <a:off x="3764014" y="6319930"/>
            <a:ext cx="2892912" cy="17178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1"/>
          </a:p>
        </p:txBody>
      </p:sp>
      <p:sp>
        <p:nvSpPr>
          <p:cNvPr id="28" name="Rectangle 27">
            <a:extLst>
              <a:ext uri="{FF2B5EF4-FFF2-40B4-BE49-F238E27FC236}">
                <a16:creationId xmlns:a16="http://schemas.microsoft.com/office/drawing/2014/main" id="{1E368B47-D4FA-1A66-35F1-370E15D0131A}"/>
              </a:ext>
            </a:extLst>
          </p:cNvPr>
          <p:cNvSpPr/>
          <p:nvPr userDrawn="1"/>
        </p:nvSpPr>
        <p:spPr>
          <a:xfrm>
            <a:off x="6645898" y="6319930"/>
            <a:ext cx="2892912" cy="17178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1"/>
          </a:p>
        </p:txBody>
      </p:sp>
      <p:sp>
        <p:nvSpPr>
          <p:cNvPr id="29" name="Rectangle 28">
            <a:extLst>
              <a:ext uri="{FF2B5EF4-FFF2-40B4-BE49-F238E27FC236}">
                <a16:creationId xmlns:a16="http://schemas.microsoft.com/office/drawing/2014/main" id="{D9DFE37F-30BF-A89F-B95A-83D7A6BC8643}"/>
              </a:ext>
            </a:extLst>
          </p:cNvPr>
          <p:cNvSpPr/>
          <p:nvPr userDrawn="1"/>
        </p:nvSpPr>
        <p:spPr>
          <a:xfrm>
            <a:off x="9536051" y="6319930"/>
            <a:ext cx="2892912" cy="17178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1"/>
          </a:p>
        </p:txBody>
      </p:sp>
      <p:cxnSp>
        <p:nvCxnSpPr>
          <p:cNvPr id="8" name="Straight Connector 7">
            <a:extLst>
              <a:ext uri="{FF2B5EF4-FFF2-40B4-BE49-F238E27FC236}">
                <a16:creationId xmlns:a16="http://schemas.microsoft.com/office/drawing/2014/main" id="{0482BC64-B49A-DA09-3131-8F5EF49ABD6B}"/>
              </a:ext>
              <a:ext uri="{C183D7F6-B498-43B3-948B-1728B52AA6E4}">
                <adec:decorative xmlns:adec="http://schemas.microsoft.com/office/drawing/2017/decorative" val="1"/>
              </a:ext>
            </a:extLst>
          </p:cNvPr>
          <p:cNvCxnSpPr>
            <a:cxnSpLocks/>
          </p:cNvCxnSpPr>
          <p:nvPr userDrawn="1"/>
        </p:nvCxnSpPr>
        <p:spPr>
          <a:xfrm>
            <a:off x="3770693" y="3637752"/>
            <a:ext cx="1709" cy="2704517"/>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6FB48953-E009-62AA-4880-0862543394B6}"/>
              </a:ext>
              <a:ext uri="{C183D7F6-B498-43B3-948B-1728B52AA6E4}">
                <adec:decorative xmlns:adec="http://schemas.microsoft.com/office/drawing/2017/decorative" val="1"/>
              </a:ext>
            </a:extLst>
          </p:cNvPr>
          <p:cNvCxnSpPr>
            <a:cxnSpLocks/>
          </p:cNvCxnSpPr>
          <p:nvPr userDrawn="1"/>
        </p:nvCxnSpPr>
        <p:spPr>
          <a:xfrm>
            <a:off x="6653601" y="3625233"/>
            <a:ext cx="1709" cy="2704517"/>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CCC83577-42FC-383D-02D2-51AC91ADBA63}"/>
              </a:ext>
              <a:ext uri="{C183D7F6-B498-43B3-948B-1728B52AA6E4}">
                <adec:decorative xmlns:adec="http://schemas.microsoft.com/office/drawing/2017/decorative" val="1"/>
              </a:ext>
            </a:extLst>
          </p:cNvPr>
          <p:cNvCxnSpPr>
            <a:cxnSpLocks/>
          </p:cNvCxnSpPr>
          <p:nvPr userDrawn="1"/>
        </p:nvCxnSpPr>
        <p:spPr>
          <a:xfrm>
            <a:off x="9526166" y="3625233"/>
            <a:ext cx="1709" cy="2704517"/>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3DFA8576-3F2E-23B4-2B15-01C4378C1C43}"/>
              </a:ext>
              <a:ext uri="{C183D7F6-B498-43B3-948B-1728B52AA6E4}">
                <adec:decorative xmlns:adec="http://schemas.microsoft.com/office/drawing/2017/decorative" val="1"/>
              </a:ext>
            </a:extLst>
          </p:cNvPr>
          <p:cNvCxnSpPr>
            <a:cxnSpLocks/>
          </p:cNvCxnSpPr>
          <p:nvPr userDrawn="1"/>
        </p:nvCxnSpPr>
        <p:spPr>
          <a:xfrm>
            <a:off x="879529" y="3625233"/>
            <a:ext cx="1709" cy="2704517"/>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1825317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3_Пользовательский макет">
    <p:spTree>
      <p:nvGrpSpPr>
        <p:cNvPr id="1" name=""/>
        <p:cNvGrpSpPr/>
        <p:nvPr/>
      </p:nvGrpSpPr>
      <p:grpSpPr>
        <a:xfrm>
          <a:off x="0" y="0"/>
          <a:ext cx="0" cy="0"/>
          <a:chOff x="0" y="0"/>
          <a:chExt cx="0" cy="0"/>
        </a:xfrm>
      </p:grpSpPr>
      <p:graphicFrame>
        <p:nvGraphicFramePr>
          <p:cNvPr id="3" name="Объект 2" hidden="1"/>
          <p:cNvGraphicFramePr>
            <a:graphicFrameLocks noChangeAspect="1"/>
          </p:cNvGraphicFramePr>
          <p:nvPr userDrawn="1">
            <p:custDataLst>
              <p:tags r:id="rId1"/>
            </p:custDataLst>
          </p:nvPr>
        </p:nvGraphicFramePr>
        <p:xfrm>
          <a:off x="1997" y="1593"/>
          <a:ext cx="1996" cy="1590"/>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3" name="Объект 2" hidden="1"/>
                      <p:cNvPicPr/>
                      <p:nvPr/>
                    </p:nvPicPr>
                    <p:blipFill>
                      <a:blip r:embed="rId5"/>
                      <a:stretch>
                        <a:fillRect/>
                      </a:stretch>
                    </p:blipFill>
                    <p:spPr>
                      <a:xfrm>
                        <a:off x="1997" y="1593"/>
                        <a:ext cx="1996" cy="1590"/>
                      </a:xfrm>
                      <a:prstGeom prst="rect">
                        <a:avLst/>
                      </a:prstGeom>
                    </p:spPr>
                  </p:pic>
                </p:oleObj>
              </mc:Fallback>
            </mc:AlternateContent>
          </a:graphicData>
        </a:graphic>
      </p:graphicFrame>
      <p:sp>
        <p:nvSpPr>
          <p:cNvPr id="2" name="Прямоугольник 1" hidden="1"/>
          <p:cNvSpPr/>
          <p:nvPr userDrawn="1">
            <p:custDataLst>
              <p:tags r:id="rId2"/>
            </p:custDataLst>
          </p:nvPr>
        </p:nvSpPr>
        <p:spPr>
          <a:xfrm>
            <a:off x="2" y="4"/>
            <a:ext cx="19955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ru-RU" sz="4704" b="1" i="0" baseline="0">
              <a:latin typeface="Calibri" panose="020F0502020204030204" pitchFamily="34" charset="0"/>
              <a:ea typeface="+mj-ea"/>
              <a:cs typeface="+mj-cs"/>
              <a:sym typeface="Calibri" panose="020F0502020204030204" pitchFamily="34" charset="0"/>
            </a:endParaRPr>
          </a:p>
        </p:txBody>
      </p:sp>
      <p:sp>
        <p:nvSpPr>
          <p:cNvPr id="36" name="Прямоугольник 35"/>
          <p:cNvSpPr/>
          <p:nvPr userDrawn="1"/>
        </p:nvSpPr>
        <p:spPr>
          <a:xfrm>
            <a:off x="618310" y="-1500"/>
            <a:ext cx="56605" cy="3979816"/>
          </a:xfrm>
          <a:prstGeom prst="rect">
            <a:avLst/>
          </a:prstGeom>
          <a:solidFill>
            <a:srgbClr val="FED1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ru-RU" sz="1796"/>
          </a:p>
        </p:txBody>
      </p:sp>
      <p:pic>
        <p:nvPicPr>
          <p:cNvPr id="37" name="Рисунок 36"/>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2018775" y="6917893"/>
            <a:ext cx="935877" cy="318774"/>
          </a:xfrm>
          <a:prstGeom prst="rect">
            <a:avLst/>
          </a:prstGeom>
        </p:spPr>
      </p:pic>
      <p:sp>
        <p:nvSpPr>
          <p:cNvPr id="64" name="Текст 4"/>
          <p:cNvSpPr>
            <a:spLocks noGrp="1"/>
          </p:cNvSpPr>
          <p:nvPr>
            <p:ph type="body" sz="quarter" idx="10" hasCustomPrompt="1"/>
          </p:nvPr>
        </p:nvSpPr>
        <p:spPr>
          <a:xfrm>
            <a:off x="697820" y="2100263"/>
            <a:ext cx="5338293" cy="1204252"/>
          </a:xfrm>
          <a:prstGeom prst="rect">
            <a:avLst/>
          </a:prstGeom>
        </p:spPr>
        <p:txBody>
          <a:bodyPr/>
          <a:lstStyle>
            <a:lvl1pPr marL="0" marR="0" indent="0" algn="l" defTabSz="1007428" rtl="0" eaLnBrk="1" fontAlgn="auto" latinLnBrk="0" hangingPunct="1">
              <a:lnSpc>
                <a:spcPct val="100000"/>
              </a:lnSpc>
              <a:spcBef>
                <a:spcPts val="0"/>
              </a:spcBef>
              <a:spcAft>
                <a:spcPts val="0"/>
              </a:spcAft>
              <a:buClrTx/>
              <a:buSzTx/>
              <a:buFont typeface="Arial" panose="020B0604020202020204" pitchFamily="34" charset="0"/>
              <a:buNone/>
              <a:tabLst/>
              <a:defRPr sz="3601" baseline="0">
                <a:solidFill>
                  <a:srgbClr val="000000"/>
                </a:solidFill>
              </a:defRPr>
            </a:lvl1pPr>
          </a:lstStyle>
          <a:p>
            <a:pPr lvl="0"/>
            <a:r>
              <a:rPr lang="uk-UA"/>
              <a:t>Назва розділу</a:t>
            </a:r>
            <a:endParaRPr lang="en-US"/>
          </a:p>
          <a:p>
            <a:pPr lvl="0"/>
            <a:endParaRPr lang="ru-RU"/>
          </a:p>
        </p:txBody>
      </p:sp>
      <p:sp>
        <p:nvSpPr>
          <p:cNvPr id="65" name="Текст 4"/>
          <p:cNvSpPr>
            <a:spLocks noGrp="1"/>
          </p:cNvSpPr>
          <p:nvPr>
            <p:ph type="body" sz="quarter" idx="11" hasCustomPrompt="1"/>
          </p:nvPr>
        </p:nvSpPr>
        <p:spPr>
          <a:xfrm>
            <a:off x="697820" y="3354124"/>
            <a:ext cx="5338293" cy="624196"/>
          </a:xfrm>
          <a:prstGeom prst="rect">
            <a:avLst/>
          </a:prstGeom>
        </p:spPr>
        <p:txBody>
          <a:bodyPr/>
          <a:lstStyle>
            <a:lvl1pPr marL="0" marR="0" indent="0" algn="l" defTabSz="1007428" rtl="0" eaLnBrk="1" fontAlgn="auto" latinLnBrk="0" hangingPunct="1">
              <a:lnSpc>
                <a:spcPct val="100000"/>
              </a:lnSpc>
              <a:spcBef>
                <a:spcPts val="0"/>
              </a:spcBef>
              <a:spcAft>
                <a:spcPts val="0"/>
              </a:spcAft>
              <a:buClrTx/>
              <a:buSzTx/>
              <a:buFont typeface="Arial" panose="020B0604020202020204" pitchFamily="34" charset="0"/>
              <a:buNone/>
              <a:tabLst/>
              <a:defRPr lang="ru-RU" sz="2004" kern="1200" baseline="0" dirty="0" smtClean="0">
                <a:solidFill>
                  <a:srgbClr val="000000"/>
                </a:solidFill>
                <a:latin typeface="+mn-lt"/>
                <a:ea typeface="+mn-ea"/>
                <a:cs typeface="+mn-cs"/>
              </a:defRPr>
            </a:lvl1pPr>
          </a:lstStyle>
          <a:p>
            <a:pPr marL="0" marR="0" lvl="0" indent="0" algn="l" defTabSz="1007428" rtl="0" eaLnBrk="1" fontAlgn="auto" latinLnBrk="0" hangingPunct="1">
              <a:lnSpc>
                <a:spcPct val="100000"/>
              </a:lnSpc>
              <a:spcBef>
                <a:spcPts val="0"/>
              </a:spcBef>
              <a:spcAft>
                <a:spcPts val="0"/>
              </a:spcAft>
              <a:buClrTx/>
              <a:buSzTx/>
              <a:buFont typeface="Arial" panose="020B0604020202020204" pitchFamily="34" charset="0"/>
              <a:buNone/>
              <a:tabLst/>
              <a:defRPr/>
            </a:pPr>
            <a:r>
              <a:rPr lang="uk-UA"/>
              <a:t>Підзаголовок слайда</a:t>
            </a:r>
            <a:endParaRPr lang="ru-RU"/>
          </a:p>
          <a:p>
            <a:pPr marL="0" marR="0" lvl="0" indent="0" algn="l" defTabSz="1007428" rtl="0" eaLnBrk="1" fontAlgn="auto" latinLnBrk="0" hangingPunct="1">
              <a:lnSpc>
                <a:spcPct val="100000"/>
              </a:lnSpc>
              <a:spcBef>
                <a:spcPts val="0"/>
              </a:spcBef>
              <a:spcAft>
                <a:spcPts val="0"/>
              </a:spcAft>
              <a:buClrTx/>
              <a:buSzTx/>
              <a:buFont typeface="Arial" panose="020B0604020202020204" pitchFamily="34" charset="0"/>
              <a:buNone/>
              <a:tabLst/>
              <a:defRPr/>
            </a:pPr>
            <a:endParaRPr lang="ru-RU"/>
          </a:p>
        </p:txBody>
      </p:sp>
      <p:grpSp>
        <p:nvGrpSpPr>
          <p:cNvPr id="4" name="Группа 3"/>
          <p:cNvGrpSpPr/>
          <p:nvPr userDrawn="1"/>
        </p:nvGrpSpPr>
        <p:grpSpPr>
          <a:xfrm>
            <a:off x="764722" y="4231907"/>
            <a:ext cx="5380026" cy="435129"/>
            <a:chOff x="764722" y="4231906"/>
            <a:chExt cx="5380025" cy="435129"/>
          </a:xfrm>
        </p:grpSpPr>
        <p:grpSp>
          <p:nvGrpSpPr>
            <p:cNvPr id="39" name="Группа 38"/>
            <p:cNvGrpSpPr/>
            <p:nvPr userDrawn="1"/>
          </p:nvGrpSpPr>
          <p:grpSpPr>
            <a:xfrm>
              <a:off x="764722" y="4231906"/>
              <a:ext cx="4236148" cy="435129"/>
              <a:chOff x="764722" y="4231906"/>
              <a:chExt cx="4236148" cy="435129"/>
            </a:xfrm>
          </p:grpSpPr>
          <p:sp>
            <p:nvSpPr>
              <p:cNvPr id="40" name="object 6"/>
              <p:cNvSpPr/>
              <p:nvPr userDrawn="1"/>
            </p:nvSpPr>
            <p:spPr>
              <a:xfrm>
                <a:off x="4958960" y="4231906"/>
                <a:ext cx="41910" cy="55880"/>
              </a:xfrm>
              <a:custGeom>
                <a:avLst/>
                <a:gdLst/>
                <a:ahLst/>
                <a:cxnLst/>
                <a:rect l="l" t="t" r="r" b="b"/>
                <a:pathLst>
                  <a:path w="41910" h="55879">
                    <a:moveTo>
                      <a:pt x="41770" y="0"/>
                    </a:moveTo>
                    <a:lnTo>
                      <a:pt x="16391" y="0"/>
                    </a:lnTo>
                    <a:lnTo>
                      <a:pt x="8664" y="5207"/>
                    </a:lnTo>
                    <a:lnTo>
                      <a:pt x="2326" y="14585"/>
                    </a:lnTo>
                    <a:lnTo>
                      <a:pt x="0" y="26058"/>
                    </a:lnTo>
                    <a:lnTo>
                      <a:pt x="2326" y="37541"/>
                    </a:lnTo>
                    <a:lnTo>
                      <a:pt x="8664" y="46928"/>
                    </a:lnTo>
                    <a:lnTo>
                      <a:pt x="18055" y="53262"/>
                    </a:lnTo>
                    <a:lnTo>
                      <a:pt x="29540" y="55586"/>
                    </a:lnTo>
                    <a:lnTo>
                      <a:pt x="41770" y="55586"/>
                    </a:lnTo>
                    <a:lnTo>
                      <a:pt x="41770" y="44791"/>
                    </a:lnTo>
                    <a:lnTo>
                      <a:pt x="29540" y="44791"/>
                    </a:lnTo>
                    <a:lnTo>
                      <a:pt x="22251" y="43316"/>
                    </a:lnTo>
                    <a:lnTo>
                      <a:pt x="16297" y="39297"/>
                    </a:lnTo>
                    <a:lnTo>
                      <a:pt x="12280" y="33341"/>
                    </a:lnTo>
                    <a:lnTo>
                      <a:pt x="10807" y="26058"/>
                    </a:lnTo>
                    <a:lnTo>
                      <a:pt x="12280" y="18780"/>
                    </a:lnTo>
                    <a:lnTo>
                      <a:pt x="16297" y="12833"/>
                    </a:lnTo>
                    <a:lnTo>
                      <a:pt x="22251" y="8822"/>
                    </a:lnTo>
                    <a:lnTo>
                      <a:pt x="29540" y="7351"/>
                    </a:lnTo>
                    <a:lnTo>
                      <a:pt x="41770" y="7351"/>
                    </a:lnTo>
                    <a:lnTo>
                      <a:pt x="41770" y="0"/>
                    </a:lnTo>
                    <a:close/>
                  </a:path>
                </a:pathLst>
              </a:custGeom>
              <a:solidFill>
                <a:srgbClr val="9B9B9A"/>
              </a:solidFill>
            </p:spPr>
            <p:txBody>
              <a:bodyPr wrap="square" lIns="0" tIns="0" rIns="0" bIns="0" rtlCol="0"/>
              <a:lstStyle/>
              <a:p>
                <a:endParaRPr sz="1796"/>
              </a:p>
            </p:txBody>
          </p:sp>
          <p:sp>
            <p:nvSpPr>
              <p:cNvPr id="41" name="object 7"/>
              <p:cNvSpPr/>
              <p:nvPr userDrawn="1"/>
            </p:nvSpPr>
            <p:spPr>
              <a:xfrm>
                <a:off x="4577674" y="4231906"/>
                <a:ext cx="41910" cy="55880"/>
              </a:xfrm>
              <a:custGeom>
                <a:avLst/>
                <a:gdLst/>
                <a:ahLst/>
                <a:cxnLst/>
                <a:rect l="l" t="t" r="r" b="b"/>
                <a:pathLst>
                  <a:path w="41910" h="55879">
                    <a:moveTo>
                      <a:pt x="41770" y="0"/>
                    </a:moveTo>
                    <a:lnTo>
                      <a:pt x="16376" y="0"/>
                    </a:lnTo>
                    <a:lnTo>
                      <a:pt x="8653" y="5207"/>
                    </a:lnTo>
                    <a:lnTo>
                      <a:pt x="2322" y="14585"/>
                    </a:lnTo>
                    <a:lnTo>
                      <a:pt x="0" y="26058"/>
                    </a:lnTo>
                    <a:lnTo>
                      <a:pt x="2322" y="37541"/>
                    </a:lnTo>
                    <a:lnTo>
                      <a:pt x="8653" y="46928"/>
                    </a:lnTo>
                    <a:lnTo>
                      <a:pt x="18039" y="53262"/>
                    </a:lnTo>
                    <a:lnTo>
                      <a:pt x="29527" y="55586"/>
                    </a:lnTo>
                    <a:lnTo>
                      <a:pt x="41770" y="55586"/>
                    </a:lnTo>
                    <a:lnTo>
                      <a:pt x="41770" y="44791"/>
                    </a:lnTo>
                    <a:lnTo>
                      <a:pt x="29527" y="44791"/>
                    </a:lnTo>
                    <a:lnTo>
                      <a:pt x="22233" y="43316"/>
                    </a:lnTo>
                    <a:lnTo>
                      <a:pt x="16279" y="39297"/>
                    </a:lnTo>
                    <a:lnTo>
                      <a:pt x="12266" y="33341"/>
                    </a:lnTo>
                    <a:lnTo>
                      <a:pt x="10794" y="26058"/>
                    </a:lnTo>
                    <a:lnTo>
                      <a:pt x="12266" y="18780"/>
                    </a:lnTo>
                    <a:lnTo>
                      <a:pt x="16279" y="12833"/>
                    </a:lnTo>
                    <a:lnTo>
                      <a:pt x="22233" y="8822"/>
                    </a:lnTo>
                    <a:lnTo>
                      <a:pt x="29527" y="7351"/>
                    </a:lnTo>
                    <a:lnTo>
                      <a:pt x="41770" y="7351"/>
                    </a:lnTo>
                    <a:lnTo>
                      <a:pt x="41770" y="0"/>
                    </a:lnTo>
                    <a:close/>
                  </a:path>
                </a:pathLst>
              </a:custGeom>
              <a:solidFill>
                <a:srgbClr val="9B9B9A"/>
              </a:solidFill>
            </p:spPr>
            <p:txBody>
              <a:bodyPr wrap="square" lIns="0" tIns="0" rIns="0" bIns="0" rtlCol="0"/>
              <a:lstStyle/>
              <a:p>
                <a:endParaRPr sz="1796"/>
              </a:p>
            </p:txBody>
          </p:sp>
          <p:sp>
            <p:nvSpPr>
              <p:cNvPr id="42" name="object 8"/>
              <p:cNvSpPr/>
              <p:nvPr userDrawn="1"/>
            </p:nvSpPr>
            <p:spPr>
              <a:xfrm>
                <a:off x="4196358" y="4231906"/>
                <a:ext cx="41910" cy="55880"/>
              </a:xfrm>
              <a:custGeom>
                <a:avLst/>
                <a:gdLst/>
                <a:ahLst/>
                <a:cxnLst/>
                <a:rect l="l" t="t" r="r" b="b"/>
                <a:pathLst>
                  <a:path w="41910" h="55879">
                    <a:moveTo>
                      <a:pt x="41795" y="0"/>
                    </a:moveTo>
                    <a:lnTo>
                      <a:pt x="16396" y="0"/>
                    </a:lnTo>
                    <a:lnTo>
                      <a:pt x="8666" y="5207"/>
                    </a:lnTo>
                    <a:lnTo>
                      <a:pt x="2326" y="14585"/>
                    </a:lnTo>
                    <a:lnTo>
                      <a:pt x="0" y="26058"/>
                    </a:lnTo>
                    <a:lnTo>
                      <a:pt x="2326" y="37541"/>
                    </a:lnTo>
                    <a:lnTo>
                      <a:pt x="8666" y="46928"/>
                    </a:lnTo>
                    <a:lnTo>
                      <a:pt x="18061" y="53262"/>
                    </a:lnTo>
                    <a:lnTo>
                      <a:pt x="29552" y="55586"/>
                    </a:lnTo>
                    <a:lnTo>
                      <a:pt x="41795" y="55586"/>
                    </a:lnTo>
                    <a:lnTo>
                      <a:pt x="41795" y="44791"/>
                    </a:lnTo>
                    <a:lnTo>
                      <a:pt x="29552" y="44791"/>
                    </a:lnTo>
                    <a:lnTo>
                      <a:pt x="22264" y="43316"/>
                    </a:lnTo>
                    <a:lnTo>
                      <a:pt x="16309" y="39297"/>
                    </a:lnTo>
                    <a:lnTo>
                      <a:pt x="12293" y="33341"/>
                    </a:lnTo>
                    <a:lnTo>
                      <a:pt x="10820" y="26058"/>
                    </a:lnTo>
                    <a:lnTo>
                      <a:pt x="12293" y="18780"/>
                    </a:lnTo>
                    <a:lnTo>
                      <a:pt x="16309" y="12833"/>
                    </a:lnTo>
                    <a:lnTo>
                      <a:pt x="22264" y="8822"/>
                    </a:lnTo>
                    <a:lnTo>
                      <a:pt x="29552" y="7351"/>
                    </a:lnTo>
                    <a:lnTo>
                      <a:pt x="41795" y="7351"/>
                    </a:lnTo>
                    <a:lnTo>
                      <a:pt x="41795" y="0"/>
                    </a:lnTo>
                    <a:close/>
                  </a:path>
                </a:pathLst>
              </a:custGeom>
              <a:solidFill>
                <a:srgbClr val="9B9B9A"/>
              </a:solidFill>
            </p:spPr>
            <p:txBody>
              <a:bodyPr wrap="square" lIns="0" tIns="0" rIns="0" bIns="0" rtlCol="0"/>
              <a:lstStyle/>
              <a:p>
                <a:endParaRPr sz="1796"/>
              </a:p>
            </p:txBody>
          </p:sp>
          <p:sp>
            <p:nvSpPr>
              <p:cNvPr id="43" name="object 9"/>
              <p:cNvSpPr/>
              <p:nvPr userDrawn="1"/>
            </p:nvSpPr>
            <p:spPr>
              <a:xfrm>
                <a:off x="3815065" y="4231906"/>
                <a:ext cx="41910" cy="55880"/>
              </a:xfrm>
              <a:custGeom>
                <a:avLst/>
                <a:gdLst/>
                <a:ahLst/>
                <a:cxnLst/>
                <a:rect l="l" t="t" r="r" b="b"/>
                <a:pathLst>
                  <a:path w="41910" h="55879">
                    <a:moveTo>
                      <a:pt x="41795" y="0"/>
                    </a:moveTo>
                    <a:lnTo>
                      <a:pt x="16391" y="0"/>
                    </a:lnTo>
                    <a:lnTo>
                      <a:pt x="8664" y="5207"/>
                    </a:lnTo>
                    <a:lnTo>
                      <a:pt x="2326" y="14585"/>
                    </a:lnTo>
                    <a:lnTo>
                      <a:pt x="0" y="26058"/>
                    </a:lnTo>
                    <a:lnTo>
                      <a:pt x="2326" y="37541"/>
                    </a:lnTo>
                    <a:lnTo>
                      <a:pt x="8664" y="46928"/>
                    </a:lnTo>
                    <a:lnTo>
                      <a:pt x="18055" y="53262"/>
                    </a:lnTo>
                    <a:lnTo>
                      <a:pt x="29540" y="55586"/>
                    </a:lnTo>
                    <a:lnTo>
                      <a:pt x="41795" y="55586"/>
                    </a:lnTo>
                    <a:lnTo>
                      <a:pt x="41795" y="44791"/>
                    </a:lnTo>
                    <a:lnTo>
                      <a:pt x="29540" y="44791"/>
                    </a:lnTo>
                    <a:lnTo>
                      <a:pt x="22257" y="43316"/>
                    </a:lnTo>
                    <a:lnTo>
                      <a:pt x="16302" y="39297"/>
                    </a:lnTo>
                    <a:lnTo>
                      <a:pt x="12282" y="33341"/>
                    </a:lnTo>
                    <a:lnTo>
                      <a:pt x="10807" y="26058"/>
                    </a:lnTo>
                    <a:lnTo>
                      <a:pt x="12282" y="18780"/>
                    </a:lnTo>
                    <a:lnTo>
                      <a:pt x="16302" y="12833"/>
                    </a:lnTo>
                    <a:lnTo>
                      <a:pt x="22257" y="8822"/>
                    </a:lnTo>
                    <a:lnTo>
                      <a:pt x="29540" y="7351"/>
                    </a:lnTo>
                    <a:lnTo>
                      <a:pt x="41795" y="7351"/>
                    </a:lnTo>
                    <a:lnTo>
                      <a:pt x="41795" y="0"/>
                    </a:lnTo>
                    <a:close/>
                  </a:path>
                </a:pathLst>
              </a:custGeom>
              <a:solidFill>
                <a:srgbClr val="9B9B9A"/>
              </a:solidFill>
            </p:spPr>
            <p:txBody>
              <a:bodyPr wrap="square" lIns="0" tIns="0" rIns="0" bIns="0" rtlCol="0"/>
              <a:lstStyle/>
              <a:p>
                <a:endParaRPr sz="1796"/>
              </a:p>
            </p:txBody>
          </p:sp>
          <p:sp>
            <p:nvSpPr>
              <p:cNvPr id="44" name="object 10"/>
              <p:cNvSpPr/>
              <p:nvPr userDrawn="1"/>
            </p:nvSpPr>
            <p:spPr>
              <a:xfrm>
                <a:off x="3433788" y="4231906"/>
                <a:ext cx="41910" cy="55880"/>
              </a:xfrm>
              <a:custGeom>
                <a:avLst/>
                <a:gdLst/>
                <a:ahLst/>
                <a:cxnLst/>
                <a:rect l="l" t="t" r="r" b="b"/>
                <a:pathLst>
                  <a:path w="41910" h="55879">
                    <a:moveTo>
                      <a:pt x="41795" y="0"/>
                    </a:moveTo>
                    <a:lnTo>
                      <a:pt x="16382" y="0"/>
                    </a:lnTo>
                    <a:lnTo>
                      <a:pt x="8658" y="5207"/>
                    </a:lnTo>
                    <a:lnTo>
                      <a:pt x="2324" y="14585"/>
                    </a:lnTo>
                    <a:lnTo>
                      <a:pt x="0" y="26058"/>
                    </a:lnTo>
                    <a:lnTo>
                      <a:pt x="2324" y="37541"/>
                    </a:lnTo>
                    <a:lnTo>
                      <a:pt x="8658" y="46928"/>
                    </a:lnTo>
                    <a:lnTo>
                      <a:pt x="18045" y="53262"/>
                    </a:lnTo>
                    <a:lnTo>
                      <a:pt x="29527" y="55586"/>
                    </a:lnTo>
                    <a:lnTo>
                      <a:pt x="41795" y="55586"/>
                    </a:lnTo>
                    <a:lnTo>
                      <a:pt x="41795" y="44791"/>
                    </a:lnTo>
                    <a:lnTo>
                      <a:pt x="29527" y="44791"/>
                    </a:lnTo>
                    <a:lnTo>
                      <a:pt x="22244" y="43316"/>
                    </a:lnTo>
                    <a:lnTo>
                      <a:pt x="16289" y="39297"/>
                    </a:lnTo>
                    <a:lnTo>
                      <a:pt x="12269" y="33341"/>
                    </a:lnTo>
                    <a:lnTo>
                      <a:pt x="10794" y="26058"/>
                    </a:lnTo>
                    <a:lnTo>
                      <a:pt x="12269" y="18780"/>
                    </a:lnTo>
                    <a:lnTo>
                      <a:pt x="16289" y="12833"/>
                    </a:lnTo>
                    <a:lnTo>
                      <a:pt x="22244" y="8822"/>
                    </a:lnTo>
                    <a:lnTo>
                      <a:pt x="29527" y="7351"/>
                    </a:lnTo>
                    <a:lnTo>
                      <a:pt x="41795" y="7351"/>
                    </a:lnTo>
                    <a:lnTo>
                      <a:pt x="41795" y="0"/>
                    </a:lnTo>
                    <a:close/>
                  </a:path>
                </a:pathLst>
              </a:custGeom>
              <a:solidFill>
                <a:srgbClr val="9B9B9A"/>
              </a:solidFill>
            </p:spPr>
            <p:txBody>
              <a:bodyPr wrap="square" lIns="0" tIns="0" rIns="0" bIns="0" rtlCol="0"/>
              <a:lstStyle/>
              <a:p>
                <a:endParaRPr sz="1796"/>
              </a:p>
            </p:txBody>
          </p:sp>
          <p:sp>
            <p:nvSpPr>
              <p:cNvPr id="45" name="object 11"/>
              <p:cNvSpPr/>
              <p:nvPr userDrawn="1"/>
            </p:nvSpPr>
            <p:spPr>
              <a:xfrm>
                <a:off x="3052497" y="4231906"/>
                <a:ext cx="41910" cy="55880"/>
              </a:xfrm>
              <a:custGeom>
                <a:avLst/>
                <a:gdLst/>
                <a:ahLst/>
                <a:cxnLst/>
                <a:rect l="l" t="t" r="r" b="b"/>
                <a:pathLst>
                  <a:path w="41910" h="55879">
                    <a:moveTo>
                      <a:pt x="41770" y="0"/>
                    </a:moveTo>
                    <a:lnTo>
                      <a:pt x="16382" y="0"/>
                    </a:lnTo>
                    <a:lnTo>
                      <a:pt x="8658" y="5207"/>
                    </a:lnTo>
                    <a:lnTo>
                      <a:pt x="2324" y="14585"/>
                    </a:lnTo>
                    <a:lnTo>
                      <a:pt x="0" y="26058"/>
                    </a:lnTo>
                    <a:lnTo>
                      <a:pt x="2324" y="37541"/>
                    </a:lnTo>
                    <a:lnTo>
                      <a:pt x="8658" y="46928"/>
                    </a:lnTo>
                    <a:lnTo>
                      <a:pt x="18045" y="53262"/>
                    </a:lnTo>
                    <a:lnTo>
                      <a:pt x="29527" y="55586"/>
                    </a:lnTo>
                    <a:lnTo>
                      <a:pt x="41770" y="55586"/>
                    </a:lnTo>
                    <a:lnTo>
                      <a:pt x="41770" y="44791"/>
                    </a:lnTo>
                    <a:lnTo>
                      <a:pt x="29527" y="44791"/>
                    </a:lnTo>
                    <a:lnTo>
                      <a:pt x="22239" y="43316"/>
                    </a:lnTo>
                    <a:lnTo>
                      <a:pt x="16284" y="39297"/>
                    </a:lnTo>
                    <a:lnTo>
                      <a:pt x="12268" y="33341"/>
                    </a:lnTo>
                    <a:lnTo>
                      <a:pt x="10794" y="26058"/>
                    </a:lnTo>
                    <a:lnTo>
                      <a:pt x="12268" y="18780"/>
                    </a:lnTo>
                    <a:lnTo>
                      <a:pt x="16284" y="12833"/>
                    </a:lnTo>
                    <a:lnTo>
                      <a:pt x="22239" y="8822"/>
                    </a:lnTo>
                    <a:lnTo>
                      <a:pt x="29527" y="7351"/>
                    </a:lnTo>
                    <a:lnTo>
                      <a:pt x="41770" y="7351"/>
                    </a:lnTo>
                    <a:lnTo>
                      <a:pt x="41770" y="0"/>
                    </a:lnTo>
                    <a:close/>
                  </a:path>
                </a:pathLst>
              </a:custGeom>
              <a:solidFill>
                <a:srgbClr val="9B9B9A"/>
              </a:solidFill>
            </p:spPr>
            <p:txBody>
              <a:bodyPr wrap="square" lIns="0" tIns="0" rIns="0" bIns="0" rtlCol="0"/>
              <a:lstStyle/>
              <a:p>
                <a:endParaRPr sz="1796"/>
              </a:p>
            </p:txBody>
          </p:sp>
          <p:sp>
            <p:nvSpPr>
              <p:cNvPr id="46" name="object 12"/>
              <p:cNvSpPr/>
              <p:nvPr userDrawn="1"/>
            </p:nvSpPr>
            <p:spPr>
              <a:xfrm>
                <a:off x="2671204" y="4231906"/>
                <a:ext cx="41910" cy="55880"/>
              </a:xfrm>
              <a:custGeom>
                <a:avLst/>
                <a:gdLst/>
                <a:ahLst/>
                <a:cxnLst/>
                <a:rect l="l" t="t" r="r" b="b"/>
                <a:pathLst>
                  <a:path w="41910" h="55879">
                    <a:moveTo>
                      <a:pt x="41770" y="0"/>
                    </a:moveTo>
                    <a:lnTo>
                      <a:pt x="16391" y="0"/>
                    </a:lnTo>
                    <a:lnTo>
                      <a:pt x="8664" y="5207"/>
                    </a:lnTo>
                    <a:lnTo>
                      <a:pt x="2326" y="14585"/>
                    </a:lnTo>
                    <a:lnTo>
                      <a:pt x="0" y="26058"/>
                    </a:lnTo>
                    <a:lnTo>
                      <a:pt x="2326" y="37541"/>
                    </a:lnTo>
                    <a:lnTo>
                      <a:pt x="8664" y="46928"/>
                    </a:lnTo>
                    <a:lnTo>
                      <a:pt x="18055" y="53262"/>
                    </a:lnTo>
                    <a:lnTo>
                      <a:pt x="29540" y="55586"/>
                    </a:lnTo>
                    <a:lnTo>
                      <a:pt x="41770" y="55586"/>
                    </a:lnTo>
                    <a:lnTo>
                      <a:pt x="41770" y="44791"/>
                    </a:lnTo>
                    <a:lnTo>
                      <a:pt x="29540" y="44791"/>
                    </a:lnTo>
                    <a:lnTo>
                      <a:pt x="22246" y="43316"/>
                    </a:lnTo>
                    <a:lnTo>
                      <a:pt x="16292" y="39297"/>
                    </a:lnTo>
                    <a:lnTo>
                      <a:pt x="12279" y="33341"/>
                    </a:lnTo>
                    <a:lnTo>
                      <a:pt x="10807" y="26058"/>
                    </a:lnTo>
                    <a:lnTo>
                      <a:pt x="12279" y="18780"/>
                    </a:lnTo>
                    <a:lnTo>
                      <a:pt x="16292" y="12833"/>
                    </a:lnTo>
                    <a:lnTo>
                      <a:pt x="22246" y="8822"/>
                    </a:lnTo>
                    <a:lnTo>
                      <a:pt x="29540" y="7351"/>
                    </a:lnTo>
                    <a:lnTo>
                      <a:pt x="41770" y="7351"/>
                    </a:lnTo>
                    <a:lnTo>
                      <a:pt x="41770" y="0"/>
                    </a:lnTo>
                    <a:close/>
                  </a:path>
                </a:pathLst>
              </a:custGeom>
              <a:solidFill>
                <a:srgbClr val="9B9B9A"/>
              </a:solidFill>
            </p:spPr>
            <p:txBody>
              <a:bodyPr wrap="square" lIns="0" tIns="0" rIns="0" bIns="0" rtlCol="0"/>
              <a:lstStyle/>
              <a:p>
                <a:endParaRPr sz="1796"/>
              </a:p>
            </p:txBody>
          </p:sp>
          <p:sp>
            <p:nvSpPr>
              <p:cNvPr id="47" name="object 13"/>
              <p:cNvSpPr/>
              <p:nvPr userDrawn="1"/>
            </p:nvSpPr>
            <p:spPr>
              <a:xfrm>
                <a:off x="2289901" y="4231906"/>
                <a:ext cx="41910" cy="55880"/>
              </a:xfrm>
              <a:custGeom>
                <a:avLst/>
                <a:gdLst/>
                <a:ahLst/>
                <a:cxnLst/>
                <a:rect l="l" t="t" r="r" b="b"/>
                <a:pathLst>
                  <a:path w="41910" h="55879">
                    <a:moveTo>
                      <a:pt x="41782" y="0"/>
                    </a:moveTo>
                    <a:lnTo>
                      <a:pt x="16382" y="0"/>
                    </a:lnTo>
                    <a:lnTo>
                      <a:pt x="8658" y="5207"/>
                    </a:lnTo>
                    <a:lnTo>
                      <a:pt x="2324" y="14585"/>
                    </a:lnTo>
                    <a:lnTo>
                      <a:pt x="0" y="26058"/>
                    </a:lnTo>
                    <a:lnTo>
                      <a:pt x="2324" y="37541"/>
                    </a:lnTo>
                    <a:lnTo>
                      <a:pt x="8658" y="46928"/>
                    </a:lnTo>
                    <a:lnTo>
                      <a:pt x="18045" y="53262"/>
                    </a:lnTo>
                    <a:lnTo>
                      <a:pt x="29527" y="55586"/>
                    </a:lnTo>
                    <a:lnTo>
                      <a:pt x="41782" y="55586"/>
                    </a:lnTo>
                    <a:lnTo>
                      <a:pt x="41782" y="44791"/>
                    </a:lnTo>
                    <a:lnTo>
                      <a:pt x="29527" y="44791"/>
                    </a:lnTo>
                    <a:lnTo>
                      <a:pt x="22244" y="43316"/>
                    </a:lnTo>
                    <a:lnTo>
                      <a:pt x="16289" y="39297"/>
                    </a:lnTo>
                    <a:lnTo>
                      <a:pt x="12269" y="33341"/>
                    </a:lnTo>
                    <a:lnTo>
                      <a:pt x="10794" y="26058"/>
                    </a:lnTo>
                    <a:lnTo>
                      <a:pt x="12269" y="18780"/>
                    </a:lnTo>
                    <a:lnTo>
                      <a:pt x="16289" y="12833"/>
                    </a:lnTo>
                    <a:lnTo>
                      <a:pt x="22244" y="8822"/>
                    </a:lnTo>
                    <a:lnTo>
                      <a:pt x="29527" y="7351"/>
                    </a:lnTo>
                    <a:lnTo>
                      <a:pt x="41782" y="7351"/>
                    </a:lnTo>
                    <a:lnTo>
                      <a:pt x="41782" y="0"/>
                    </a:lnTo>
                    <a:close/>
                  </a:path>
                </a:pathLst>
              </a:custGeom>
              <a:solidFill>
                <a:srgbClr val="9B9B9A"/>
              </a:solidFill>
            </p:spPr>
            <p:txBody>
              <a:bodyPr wrap="square" lIns="0" tIns="0" rIns="0" bIns="0" rtlCol="0"/>
              <a:lstStyle/>
              <a:p>
                <a:endParaRPr sz="1796"/>
              </a:p>
            </p:txBody>
          </p:sp>
          <p:sp>
            <p:nvSpPr>
              <p:cNvPr id="48" name="object 14"/>
              <p:cNvSpPr/>
              <p:nvPr userDrawn="1"/>
            </p:nvSpPr>
            <p:spPr>
              <a:xfrm>
                <a:off x="1908617" y="4231906"/>
                <a:ext cx="41910" cy="55880"/>
              </a:xfrm>
              <a:custGeom>
                <a:avLst/>
                <a:gdLst/>
                <a:ahLst/>
                <a:cxnLst/>
                <a:rect l="l" t="t" r="r" b="b"/>
                <a:pathLst>
                  <a:path w="41910" h="55879">
                    <a:moveTo>
                      <a:pt x="41757" y="0"/>
                    </a:moveTo>
                    <a:lnTo>
                      <a:pt x="16382" y="0"/>
                    </a:lnTo>
                    <a:lnTo>
                      <a:pt x="8658" y="5207"/>
                    </a:lnTo>
                    <a:lnTo>
                      <a:pt x="2324" y="14585"/>
                    </a:lnTo>
                    <a:lnTo>
                      <a:pt x="0" y="26058"/>
                    </a:lnTo>
                    <a:lnTo>
                      <a:pt x="2324" y="37541"/>
                    </a:lnTo>
                    <a:lnTo>
                      <a:pt x="8658" y="46928"/>
                    </a:lnTo>
                    <a:lnTo>
                      <a:pt x="18045" y="53262"/>
                    </a:lnTo>
                    <a:lnTo>
                      <a:pt x="29527" y="55586"/>
                    </a:lnTo>
                    <a:lnTo>
                      <a:pt x="41757" y="55586"/>
                    </a:lnTo>
                    <a:lnTo>
                      <a:pt x="41757" y="44791"/>
                    </a:lnTo>
                    <a:lnTo>
                      <a:pt x="29527" y="44791"/>
                    </a:lnTo>
                    <a:lnTo>
                      <a:pt x="22244" y="43316"/>
                    </a:lnTo>
                    <a:lnTo>
                      <a:pt x="16289" y="39297"/>
                    </a:lnTo>
                    <a:lnTo>
                      <a:pt x="12269" y="33341"/>
                    </a:lnTo>
                    <a:lnTo>
                      <a:pt x="10795" y="26058"/>
                    </a:lnTo>
                    <a:lnTo>
                      <a:pt x="12269" y="18780"/>
                    </a:lnTo>
                    <a:lnTo>
                      <a:pt x="16289" y="12833"/>
                    </a:lnTo>
                    <a:lnTo>
                      <a:pt x="22244" y="8822"/>
                    </a:lnTo>
                    <a:lnTo>
                      <a:pt x="29527" y="7351"/>
                    </a:lnTo>
                    <a:lnTo>
                      <a:pt x="41757" y="7351"/>
                    </a:lnTo>
                    <a:lnTo>
                      <a:pt x="41757" y="0"/>
                    </a:lnTo>
                    <a:close/>
                  </a:path>
                </a:pathLst>
              </a:custGeom>
              <a:solidFill>
                <a:srgbClr val="9B9B9A"/>
              </a:solidFill>
            </p:spPr>
            <p:txBody>
              <a:bodyPr wrap="square" lIns="0" tIns="0" rIns="0" bIns="0" rtlCol="0"/>
              <a:lstStyle/>
              <a:p>
                <a:endParaRPr sz="1796"/>
              </a:p>
            </p:txBody>
          </p:sp>
          <p:sp>
            <p:nvSpPr>
              <p:cNvPr id="49" name="object 15"/>
              <p:cNvSpPr/>
              <p:nvPr userDrawn="1"/>
            </p:nvSpPr>
            <p:spPr>
              <a:xfrm>
                <a:off x="1527318" y="4231906"/>
                <a:ext cx="41910" cy="55880"/>
              </a:xfrm>
              <a:custGeom>
                <a:avLst/>
                <a:gdLst/>
                <a:ahLst/>
                <a:cxnLst/>
                <a:rect l="l" t="t" r="r" b="b"/>
                <a:pathLst>
                  <a:path w="41909" h="55879">
                    <a:moveTo>
                      <a:pt x="41770" y="0"/>
                    </a:moveTo>
                    <a:lnTo>
                      <a:pt x="16391" y="0"/>
                    </a:lnTo>
                    <a:lnTo>
                      <a:pt x="8664" y="5207"/>
                    </a:lnTo>
                    <a:lnTo>
                      <a:pt x="2326" y="14585"/>
                    </a:lnTo>
                    <a:lnTo>
                      <a:pt x="0" y="26058"/>
                    </a:lnTo>
                    <a:lnTo>
                      <a:pt x="2326" y="37541"/>
                    </a:lnTo>
                    <a:lnTo>
                      <a:pt x="8664" y="46928"/>
                    </a:lnTo>
                    <a:lnTo>
                      <a:pt x="18055" y="53262"/>
                    </a:lnTo>
                    <a:lnTo>
                      <a:pt x="29540" y="55586"/>
                    </a:lnTo>
                    <a:lnTo>
                      <a:pt x="41770" y="55586"/>
                    </a:lnTo>
                    <a:lnTo>
                      <a:pt x="41770" y="44791"/>
                    </a:lnTo>
                    <a:lnTo>
                      <a:pt x="29540" y="44791"/>
                    </a:lnTo>
                    <a:lnTo>
                      <a:pt x="22246" y="43316"/>
                    </a:lnTo>
                    <a:lnTo>
                      <a:pt x="16292" y="39297"/>
                    </a:lnTo>
                    <a:lnTo>
                      <a:pt x="12279" y="33341"/>
                    </a:lnTo>
                    <a:lnTo>
                      <a:pt x="10807" y="26058"/>
                    </a:lnTo>
                    <a:lnTo>
                      <a:pt x="12279" y="18780"/>
                    </a:lnTo>
                    <a:lnTo>
                      <a:pt x="16292" y="12833"/>
                    </a:lnTo>
                    <a:lnTo>
                      <a:pt x="22246" y="8822"/>
                    </a:lnTo>
                    <a:lnTo>
                      <a:pt x="29540" y="7351"/>
                    </a:lnTo>
                    <a:lnTo>
                      <a:pt x="41770" y="7351"/>
                    </a:lnTo>
                    <a:lnTo>
                      <a:pt x="41770" y="0"/>
                    </a:lnTo>
                    <a:close/>
                  </a:path>
                </a:pathLst>
              </a:custGeom>
              <a:solidFill>
                <a:srgbClr val="9B9B9A"/>
              </a:solidFill>
            </p:spPr>
            <p:txBody>
              <a:bodyPr wrap="square" lIns="0" tIns="0" rIns="0" bIns="0" rtlCol="0"/>
              <a:lstStyle/>
              <a:p>
                <a:endParaRPr sz="1796"/>
              </a:p>
            </p:txBody>
          </p:sp>
          <p:sp>
            <p:nvSpPr>
              <p:cNvPr id="50" name="object 16"/>
              <p:cNvSpPr/>
              <p:nvPr userDrawn="1"/>
            </p:nvSpPr>
            <p:spPr>
              <a:xfrm>
                <a:off x="1146032" y="4231906"/>
                <a:ext cx="41910" cy="55880"/>
              </a:xfrm>
              <a:custGeom>
                <a:avLst/>
                <a:gdLst/>
                <a:ahLst/>
                <a:cxnLst/>
                <a:rect l="l" t="t" r="r" b="b"/>
                <a:pathLst>
                  <a:path w="41909" h="55879">
                    <a:moveTo>
                      <a:pt x="41770" y="0"/>
                    </a:moveTo>
                    <a:lnTo>
                      <a:pt x="16391" y="0"/>
                    </a:lnTo>
                    <a:lnTo>
                      <a:pt x="8664" y="5207"/>
                    </a:lnTo>
                    <a:lnTo>
                      <a:pt x="2326" y="14585"/>
                    </a:lnTo>
                    <a:lnTo>
                      <a:pt x="0" y="26058"/>
                    </a:lnTo>
                    <a:lnTo>
                      <a:pt x="2326" y="37541"/>
                    </a:lnTo>
                    <a:lnTo>
                      <a:pt x="8664" y="46928"/>
                    </a:lnTo>
                    <a:lnTo>
                      <a:pt x="18055" y="53262"/>
                    </a:lnTo>
                    <a:lnTo>
                      <a:pt x="29540" y="55586"/>
                    </a:lnTo>
                    <a:lnTo>
                      <a:pt x="41770" y="55586"/>
                    </a:lnTo>
                    <a:lnTo>
                      <a:pt x="41770" y="44791"/>
                    </a:lnTo>
                    <a:lnTo>
                      <a:pt x="29540" y="44791"/>
                    </a:lnTo>
                    <a:lnTo>
                      <a:pt x="22246" y="43316"/>
                    </a:lnTo>
                    <a:lnTo>
                      <a:pt x="16292" y="39297"/>
                    </a:lnTo>
                    <a:lnTo>
                      <a:pt x="12279" y="33341"/>
                    </a:lnTo>
                    <a:lnTo>
                      <a:pt x="10807" y="26058"/>
                    </a:lnTo>
                    <a:lnTo>
                      <a:pt x="12279" y="18780"/>
                    </a:lnTo>
                    <a:lnTo>
                      <a:pt x="16292" y="12833"/>
                    </a:lnTo>
                    <a:lnTo>
                      <a:pt x="22246" y="8822"/>
                    </a:lnTo>
                    <a:lnTo>
                      <a:pt x="29540" y="7351"/>
                    </a:lnTo>
                    <a:lnTo>
                      <a:pt x="41770" y="7351"/>
                    </a:lnTo>
                    <a:lnTo>
                      <a:pt x="41770" y="0"/>
                    </a:lnTo>
                    <a:close/>
                  </a:path>
                </a:pathLst>
              </a:custGeom>
              <a:solidFill>
                <a:srgbClr val="9B9B9A"/>
              </a:solidFill>
            </p:spPr>
            <p:txBody>
              <a:bodyPr wrap="square" lIns="0" tIns="0" rIns="0" bIns="0" rtlCol="0"/>
              <a:lstStyle/>
              <a:p>
                <a:endParaRPr sz="1796"/>
              </a:p>
            </p:txBody>
          </p:sp>
          <p:sp>
            <p:nvSpPr>
              <p:cNvPr id="51" name="object 17"/>
              <p:cNvSpPr/>
              <p:nvPr userDrawn="1"/>
            </p:nvSpPr>
            <p:spPr>
              <a:xfrm>
                <a:off x="764722" y="4231906"/>
                <a:ext cx="41910" cy="55880"/>
              </a:xfrm>
              <a:custGeom>
                <a:avLst/>
                <a:gdLst/>
                <a:ahLst/>
                <a:cxnLst/>
                <a:rect l="l" t="t" r="r" b="b"/>
                <a:pathLst>
                  <a:path w="41909" h="55879">
                    <a:moveTo>
                      <a:pt x="41795" y="0"/>
                    </a:moveTo>
                    <a:lnTo>
                      <a:pt x="16397" y="0"/>
                    </a:lnTo>
                    <a:lnTo>
                      <a:pt x="8669" y="5207"/>
                    </a:lnTo>
                    <a:lnTo>
                      <a:pt x="2327" y="14585"/>
                    </a:lnTo>
                    <a:lnTo>
                      <a:pt x="0" y="26058"/>
                    </a:lnTo>
                    <a:lnTo>
                      <a:pt x="2327" y="37541"/>
                    </a:lnTo>
                    <a:lnTo>
                      <a:pt x="8669" y="46928"/>
                    </a:lnTo>
                    <a:lnTo>
                      <a:pt x="18061" y="53262"/>
                    </a:lnTo>
                    <a:lnTo>
                      <a:pt x="29540" y="55586"/>
                    </a:lnTo>
                    <a:lnTo>
                      <a:pt x="41795" y="55586"/>
                    </a:lnTo>
                    <a:lnTo>
                      <a:pt x="41795" y="44791"/>
                    </a:lnTo>
                    <a:lnTo>
                      <a:pt x="29540" y="44791"/>
                    </a:lnTo>
                    <a:lnTo>
                      <a:pt x="22251" y="43316"/>
                    </a:lnTo>
                    <a:lnTo>
                      <a:pt x="16297" y="39297"/>
                    </a:lnTo>
                    <a:lnTo>
                      <a:pt x="12280" y="33341"/>
                    </a:lnTo>
                    <a:lnTo>
                      <a:pt x="10807" y="26058"/>
                    </a:lnTo>
                    <a:lnTo>
                      <a:pt x="12280" y="18780"/>
                    </a:lnTo>
                    <a:lnTo>
                      <a:pt x="16297" y="12833"/>
                    </a:lnTo>
                    <a:lnTo>
                      <a:pt x="22251" y="8822"/>
                    </a:lnTo>
                    <a:lnTo>
                      <a:pt x="29540" y="7351"/>
                    </a:lnTo>
                    <a:lnTo>
                      <a:pt x="41795" y="7351"/>
                    </a:lnTo>
                    <a:lnTo>
                      <a:pt x="41795" y="0"/>
                    </a:lnTo>
                    <a:close/>
                  </a:path>
                </a:pathLst>
              </a:custGeom>
              <a:solidFill>
                <a:srgbClr val="9B9B9A"/>
              </a:solidFill>
            </p:spPr>
            <p:txBody>
              <a:bodyPr wrap="square" lIns="0" tIns="0" rIns="0" bIns="0" rtlCol="0"/>
              <a:lstStyle/>
              <a:p>
                <a:endParaRPr sz="1796"/>
              </a:p>
            </p:txBody>
          </p:sp>
          <p:sp>
            <p:nvSpPr>
              <p:cNvPr id="52" name="object 18"/>
              <p:cNvSpPr/>
              <p:nvPr userDrawn="1"/>
            </p:nvSpPr>
            <p:spPr>
              <a:xfrm>
                <a:off x="764726" y="4607980"/>
                <a:ext cx="41910" cy="59055"/>
              </a:xfrm>
              <a:custGeom>
                <a:avLst/>
                <a:gdLst/>
                <a:ahLst/>
                <a:cxnLst/>
                <a:rect l="l" t="t" r="r" b="b"/>
                <a:pathLst>
                  <a:path w="41909" h="59054">
                    <a:moveTo>
                      <a:pt x="12255" y="0"/>
                    </a:moveTo>
                    <a:lnTo>
                      <a:pt x="0" y="0"/>
                    </a:lnTo>
                    <a:lnTo>
                      <a:pt x="0" y="10795"/>
                    </a:lnTo>
                    <a:lnTo>
                      <a:pt x="12255" y="10795"/>
                    </a:lnTo>
                    <a:lnTo>
                      <a:pt x="19534" y="12269"/>
                    </a:lnTo>
                    <a:lnTo>
                      <a:pt x="25480" y="16289"/>
                    </a:lnTo>
                    <a:lnTo>
                      <a:pt x="29491" y="22244"/>
                    </a:lnTo>
                    <a:lnTo>
                      <a:pt x="30962" y="29527"/>
                    </a:lnTo>
                    <a:lnTo>
                      <a:pt x="29491" y="36806"/>
                    </a:lnTo>
                    <a:lnTo>
                      <a:pt x="25480" y="42752"/>
                    </a:lnTo>
                    <a:lnTo>
                      <a:pt x="19534" y="46763"/>
                    </a:lnTo>
                    <a:lnTo>
                      <a:pt x="12255" y="48234"/>
                    </a:lnTo>
                    <a:lnTo>
                      <a:pt x="0" y="48234"/>
                    </a:lnTo>
                    <a:lnTo>
                      <a:pt x="0" y="59029"/>
                    </a:lnTo>
                    <a:lnTo>
                      <a:pt x="12255" y="59029"/>
                    </a:lnTo>
                    <a:lnTo>
                      <a:pt x="23739" y="56709"/>
                    </a:lnTo>
                    <a:lnTo>
                      <a:pt x="33131" y="50384"/>
                    </a:lnTo>
                    <a:lnTo>
                      <a:pt x="39469" y="41005"/>
                    </a:lnTo>
                    <a:lnTo>
                      <a:pt x="41795" y="29527"/>
                    </a:lnTo>
                    <a:lnTo>
                      <a:pt x="39469" y="18045"/>
                    </a:lnTo>
                    <a:lnTo>
                      <a:pt x="33131" y="8658"/>
                    </a:lnTo>
                    <a:lnTo>
                      <a:pt x="23739" y="2324"/>
                    </a:lnTo>
                    <a:lnTo>
                      <a:pt x="12255" y="0"/>
                    </a:lnTo>
                    <a:close/>
                  </a:path>
                </a:pathLst>
              </a:custGeom>
              <a:solidFill>
                <a:srgbClr val="9B9B9A"/>
              </a:solidFill>
            </p:spPr>
            <p:txBody>
              <a:bodyPr wrap="square" lIns="0" tIns="0" rIns="0" bIns="0" rtlCol="0"/>
              <a:lstStyle/>
              <a:p>
                <a:endParaRPr sz="1796"/>
              </a:p>
            </p:txBody>
          </p:sp>
          <p:sp>
            <p:nvSpPr>
              <p:cNvPr id="53" name="object 19"/>
              <p:cNvSpPr/>
              <p:nvPr userDrawn="1"/>
            </p:nvSpPr>
            <p:spPr>
              <a:xfrm>
                <a:off x="1146030" y="4607980"/>
                <a:ext cx="41910" cy="59055"/>
              </a:xfrm>
              <a:custGeom>
                <a:avLst/>
                <a:gdLst/>
                <a:ahLst/>
                <a:cxnLst/>
                <a:rect l="l" t="t" r="r" b="b"/>
                <a:pathLst>
                  <a:path w="41909" h="59054">
                    <a:moveTo>
                      <a:pt x="12242" y="0"/>
                    </a:moveTo>
                    <a:lnTo>
                      <a:pt x="0" y="0"/>
                    </a:lnTo>
                    <a:lnTo>
                      <a:pt x="0" y="10795"/>
                    </a:lnTo>
                    <a:lnTo>
                      <a:pt x="12242" y="10795"/>
                    </a:lnTo>
                    <a:lnTo>
                      <a:pt x="19520" y="12269"/>
                    </a:lnTo>
                    <a:lnTo>
                      <a:pt x="25476" y="16289"/>
                    </a:lnTo>
                    <a:lnTo>
                      <a:pt x="29498" y="22244"/>
                    </a:lnTo>
                    <a:lnTo>
                      <a:pt x="30975" y="29527"/>
                    </a:lnTo>
                    <a:lnTo>
                      <a:pt x="29498" y="36806"/>
                    </a:lnTo>
                    <a:lnTo>
                      <a:pt x="25476" y="42752"/>
                    </a:lnTo>
                    <a:lnTo>
                      <a:pt x="19520" y="46763"/>
                    </a:lnTo>
                    <a:lnTo>
                      <a:pt x="12242" y="48234"/>
                    </a:lnTo>
                    <a:lnTo>
                      <a:pt x="0" y="48234"/>
                    </a:lnTo>
                    <a:lnTo>
                      <a:pt x="0" y="59029"/>
                    </a:lnTo>
                    <a:lnTo>
                      <a:pt x="12242" y="59029"/>
                    </a:lnTo>
                    <a:lnTo>
                      <a:pt x="23725" y="56709"/>
                    </a:lnTo>
                    <a:lnTo>
                      <a:pt x="33112" y="50384"/>
                    </a:lnTo>
                    <a:lnTo>
                      <a:pt x="39446" y="41005"/>
                    </a:lnTo>
                    <a:lnTo>
                      <a:pt x="41770" y="29527"/>
                    </a:lnTo>
                    <a:lnTo>
                      <a:pt x="39446" y="18045"/>
                    </a:lnTo>
                    <a:lnTo>
                      <a:pt x="33112" y="8658"/>
                    </a:lnTo>
                    <a:lnTo>
                      <a:pt x="23725" y="2324"/>
                    </a:lnTo>
                    <a:lnTo>
                      <a:pt x="12242" y="0"/>
                    </a:lnTo>
                    <a:close/>
                  </a:path>
                </a:pathLst>
              </a:custGeom>
              <a:solidFill>
                <a:srgbClr val="000000"/>
              </a:solidFill>
            </p:spPr>
            <p:txBody>
              <a:bodyPr wrap="square" lIns="0" tIns="0" rIns="0" bIns="0" rtlCol="0"/>
              <a:lstStyle/>
              <a:p>
                <a:endParaRPr sz="1796"/>
              </a:p>
            </p:txBody>
          </p:sp>
          <p:sp>
            <p:nvSpPr>
              <p:cNvPr id="54" name="object 20"/>
              <p:cNvSpPr/>
              <p:nvPr userDrawn="1"/>
            </p:nvSpPr>
            <p:spPr>
              <a:xfrm>
                <a:off x="1527322" y="4607980"/>
                <a:ext cx="41910" cy="59055"/>
              </a:xfrm>
              <a:custGeom>
                <a:avLst/>
                <a:gdLst/>
                <a:ahLst/>
                <a:cxnLst/>
                <a:rect l="l" t="t" r="r" b="b"/>
                <a:pathLst>
                  <a:path w="41909" h="59054">
                    <a:moveTo>
                      <a:pt x="12242" y="0"/>
                    </a:moveTo>
                    <a:lnTo>
                      <a:pt x="0" y="0"/>
                    </a:lnTo>
                    <a:lnTo>
                      <a:pt x="0" y="10795"/>
                    </a:lnTo>
                    <a:lnTo>
                      <a:pt x="12242" y="10795"/>
                    </a:lnTo>
                    <a:lnTo>
                      <a:pt x="19531" y="12269"/>
                    </a:lnTo>
                    <a:lnTo>
                      <a:pt x="25485" y="16289"/>
                    </a:lnTo>
                    <a:lnTo>
                      <a:pt x="29502" y="22244"/>
                    </a:lnTo>
                    <a:lnTo>
                      <a:pt x="30975" y="29527"/>
                    </a:lnTo>
                    <a:lnTo>
                      <a:pt x="29502" y="36806"/>
                    </a:lnTo>
                    <a:lnTo>
                      <a:pt x="25485" y="42752"/>
                    </a:lnTo>
                    <a:lnTo>
                      <a:pt x="19531" y="46763"/>
                    </a:lnTo>
                    <a:lnTo>
                      <a:pt x="12242" y="48234"/>
                    </a:lnTo>
                    <a:lnTo>
                      <a:pt x="0" y="48234"/>
                    </a:lnTo>
                    <a:lnTo>
                      <a:pt x="0" y="59029"/>
                    </a:lnTo>
                    <a:lnTo>
                      <a:pt x="12242" y="59029"/>
                    </a:lnTo>
                    <a:lnTo>
                      <a:pt x="23730" y="56709"/>
                    </a:lnTo>
                    <a:lnTo>
                      <a:pt x="33116" y="50384"/>
                    </a:lnTo>
                    <a:lnTo>
                      <a:pt x="39447" y="41005"/>
                    </a:lnTo>
                    <a:lnTo>
                      <a:pt x="41770" y="29527"/>
                    </a:lnTo>
                    <a:lnTo>
                      <a:pt x="39447" y="18045"/>
                    </a:lnTo>
                    <a:lnTo>
                      <a:pt x="33116" y="8658"/>
                    </a:lnTo>
                    <a:lnTo>
                      <a:pt x="23730" y="2324"/>
                    </a:lnTo>
                    <a:lnTo>
                      <a:pt x="12242" y="0"/>
                    </a:lnTo>
                    <a:close/>
                  </a:path>
                </a:pathLst>
              </a:custGeom>
              <a:solidFill>
                <a:srgbClr val="000000"/>
              </a:solidFill>
            </p:spPr>
            <p:txBody>
              <a:bodyPr wrap="square" lIns="0" tIns="0" rIns="0" bIns="0" rtlCol="0"/>
              <a:lstStyle/>
              <a:p>
                <a:endParaRPr sz="1796"/>
              </a:p>
            </p:txBody>
          </p:sp>
          <p:sp>
            <p:nvSpPr>
              <p:cNvPr id="55" name="object 21"/>
              <p:cNvSpPr/>
              <p:nvPr userDrawn="1"/>
            </p:nvSpPr>
            <p:spPr>
              <a:xfrm>
                <a:off x="1908614" y="4607980"/>
                <a:ext cx="41910" cy="59055"/>
              </a:xfrm>
              <a:custGeom>
                <a:avLst/>
                <a:gdLst/>
                <a:ahLst/>
                <a:cxnLst/>
                <a:rect l="l" t="t" r="r" b="b"/>
                <a:pathLst>
                  <a:path w="41910" h="59054">
                    <a:moveTo>
                      <a:pt x="12230" y="0"/>
                    </a:moveTo>
                    <a:lnTo>
                      <a:pt x="0" y="0"/>
                    </a:lnTo>
                    <a:lnTo>
                      <a:pt x="0" y="10795"/>
                    </a:lnTo>
                    <a:lnTo>
                      <a:pt x="12230" y="10795"/>
                    </a:lnTo>
                    <a:lnTo>
                      <a:pt x="19523" y="12269"/>
                    </a:lnTo>
                    <a:lnTo>
                      <a:pt x="25477" y="16289"/>
                    </a:lnTo>
                    <a:lnTo>
                      <a:pt x="29491" y="22244"/>
                    </a:lnTo>
                    <a:lnTo>
                      <a:pt x="30962" y="29527"/>
                    </a:lnTo>
                    <a:lnTo>
                      <a:pt x="29491" y="36806"/>
                    </a:lnTo>
                    <a:lnTo>
                      <a:pt x="25477" y="42752"/>
                    </a:lnTo>
                    <a:lnTo>
                      <a:pt x="19523" y="46763"/>
                    </a:lnTo>
                    <a:lnTo>
                      <a:pt x="12230" y="48234"/>
                    </a:lnTo>
                    <a:lnTo>
                      <a:pt x="0" y="48234"/>
                    </a:lnTo>
                    <a:lnTo>
                      <a:pt x="0" y="59029"/>
                    </a:lnTo>
                    <a:lnTo>
                      <a:pt x="12230" y="59029"/>
                    </a:lnTo>
                    <a:lnTo>
                      <a:pt x="23723" y="56709"/>
                    </a:lnTo>
                    <a:lnTo>
                      <a:pt x="33108" y="50384"/>
                    </a:lnTo>
                    <a:lnTo>
                      <a:pt x="39437" y="41005"/>
                    </a:lnTo>
                    <a:lnTo>
                      <a:pt x="41757" y="29527"/>
                    </a:lnTo>
                    <a:lnTo>
                      <a:pt x="39437" y="18045"/>
                    </a:lnTo>
                    <a:lnTo>
                      <a:pt x="33108" y="8658"/>
                    </a:lnTo>
                    <a:lnTo>
                      <a:pt x="23723" y="2324"/>
                    </a:lnTo>
                    <a:lnTo>
                      <a:pt x="12230" y="0"/>
                    </a:lnTo>
                    <a:close/>
                  </a:path>
                </a:pathLst>
              </a:custGeom>
              <a:solidFill>
                <a:srgbClr val="000000"/>
              </a:solidFill>
            </p:spPr>
            <p:txBody>
              <a:bodyPr wrap="square" lIns="0" tIns="0" rIns="0" bIns="0" rtlCol="0"/>
              <a:lstStyle/>
              <a:p>
                <a:endParaRPr sz="1796"/>
              </a:p>
            </p:txBody>
          </p:sp>
          <p:sp>
            <p:nvSpPr>
              <p:cNvPr id="56" name="object 22"/>
              <p:cNvSpPr/>
              <p:nvPr userDrawn="1"/>
            </p:nvSpPr>
            <p:spPr>
              <a:xfrm>
                <a:off x="2289905" y="4607980"/>
                <a:ext cx="41910" cy="59055"/>
              </a:xfrm>
              <a:custGeom>
                <a:avLst/>
                <a:gdLst/>
                <a:ahLst/>
                <a:cxnLst/>
                <a:rect l="l" t="t" r="r" b="b"/>
                <a:pathLst>
                  <a:path w="41910" h="59054">
                    <a:moveTo>
                      <a:pt x="12230" y="0"/>
                    </a:moveTo>
                    <a:lnTo>
                      <a:pt x="0" y="0"/>
                    </a:lnTo>
                    <a:lnTo>
                      <a:pt x="0" y="10795"/>
                    </a:lnTo>
                    <a:lnTo>
                      <a:pt x="12230" y="10795"/>
                    </a:lnTo>
                    <a:lnTo>
                      <a:pt x="19518" y="12269"/>
                    </a:lnTo>
                    <a:lnTo>
                      <a:pt x="25473" y="16289"/>
                    </a:lnTo>
                    <a:lnTo>
                      <a:pt x="29489" y="22244"/>
                    </a:lnTo>
                    <a:lnTo>
                      <a:pt x="30962" y="29527"/>
                    </a:lnTo>
                    <a:lnTo>
                      <a:pt x="29489" y="36806"/>
                    </a:lnTo>
                    <a:lnTo>
                      <a:pt x="25473" y="42752"/>
                    </a:lnTo>
                    <a:lnTo>
                      <a:pt x="19518" y="46763"/>
                    </a:lnTo>
                    <a:lnTo>
                      <a:pt x="12230" y="48234"/>
                    </a:lnTo>
                    <a:lnTo>
                      <a:pt x="0" y="48234"/>
                    </a:lnTo>
                    <a:lnTo>
                      <a:pt x="0" y="59029"/>
                    </a:lnTo>
                    <a:lnTo>
                      <a:pt x="12230" y="59029"/>
                    </a:lnTo>
                    <a:lnTo>
                      <a:pt x="23727" y="56709"/>
                    </a:lnTo>
                    <a:lnTo>
                      <a:pt x="33121" y="50384"/>
                    </a:lnTo>
                    <a:lnTo>
                      <a:pt x="39458" y="41005"/>
                    </a:lnTo>
                    <a:lnTo>
                      <a:pt x="41782" y="29527"/>
                    </a:lnTo>
                    <a:lnTo>
                      <a:pt x="39458" y="18045"/>
                    </a:lnTo>
                    <a:lnTo>
                      <a:pt x="33121" y="8658"/>
                    </a:lnTo>
                    <a:lnTo>
                      <a:pt x="23727" y="2324"/>
                    </a:lnTo>
                    <a:lnTo>
                      <a:pt x="12230" y="0"/>
                    </a:lnTo>
                    <a:close/>
                  </a:path>
                </a:pathLst>
              </a:custGeom>
              <a:solidFill>
                <a:srgbClr val="9B9B9A"/>
              </a:solidFill>
            </p:spPr>
            <p:txBody>
              <a:bodyPr wrap="square" lIns="0" tIns="0" rIns="0" bIns="0" rtlCol="0"/>
              <a:lstStyle/>
              <a:p>
                <a:endParaRPr sz="1796"/>
              </a:p>
            </p:txBody>
          </p:sp>
          <p:sp>
            <p:nvSpPr>
              <p:cNvPr id="57" name="object 23"/>
              <p:cNvSpPr/>
              <p:nvPr userDrawn="1"/>
            </p:nvSpPr>
            <p:spPr>
              <a:xfrm>
                <a:off x="2671183" y="4607980"/>
                <a:ext cx="41910" cy="59055"/>
              </a:xfrm>
              <a:custGeom>
                <a:avLst/>
                <a:gdLst/>
                <a:ahLst/>
                <a:cxnLst/>
                <a:rect l="l" t="t" r="r" b="b"/>
                <a:pathLst>
                  <a:path w="41910" h="59054">
                    <a:moveTo>
                      <a:pt x="12268" y="0"/>
                    </a:moveTo>
                    <a:lnTo>
                      <a:pt x="0" y="0"/>
                    </a:lnTo>
                    <a:lnTo>
                      <a:pt x="0" y="10795"/>
                    </a:lnTo>
                    <a:lnTo>
                      <a:pt x="12268" y="10795"/>
                    </a:lnTo>
                    <a:lnTo>
                      <a:pt x="19545" y="12269"/>
                    </a:lnTo>
                    <a:lnTo>
                      <a:pt x="25501" y="16289"/>
                    </a:lnTo>
                    <a:lnTo>
                      <a:pt x="29523" y="22244"/>
                    </a:lnTo>
                    <a:lnTo>
                      <a:pt x="31000" y="29527"/>
                    </a:lnTo>
                    <a:lnTo>
                      <a:pt x="29523" y="36806"/>
                    </a:lnTo>
                    <a:lnTo>
                      <a:pt x="25501" y="42752"/>
                    </a:lnTo>
                    <a:lnTo>
                      <a:pt x="19545" y="46763"/>
                    </a:lnTo>
                    <a:lnTo>
                      <a:pt x="12268" y="48234"/>
                    </a:lnTo>
                    <a:lnTo>
                      <a:pt x="0" y="48234"/>
                    </a:lnTo>
                    <a:lnTo>
                      <a:pt x="0" y="59029"/>
                    </a:lnTo>
                    <a:lnTo>
                      <a:pt x="12268" y="59029"/>
                    </a:lnTo>
                    <a:lnTo>
                      <a:pt x="23750" y="56709"/>
                    </a:lnTo>
                    <a:lnTo>
                      <a:pt x="33137" y="50384"/>
                    </a:lnTo>
                    <a:lnTo>
                      <a:pt x="39471" y="41005"/>
                    </a:lnTo>
                    <a:lnTo>
                      <a:pt x="41795" y="29527"/>
                    </a:lnTo>
                    <a:lnTo>
                      <a:pt x="39471" y="18045"/>
                    </a:lnTo>
                    <a:lnTo>
                      <a:pt x="33137" y="8658"/>
                    </a:lnTo>
                    <a:lnTo>
                      <a:pt x="23750" y="2324"/>
                    </a:lnTo>
                    <a:lnTo>
                      <a:pt x="12268" y="0"/>
                    </a:lnTo>
                    <a:close/>
                  </a:path>
                </a:pathLst>
              </a:custGeom>
              <a:solidFill>
                <a:srgbClr val="9B9B9A"/>
              </a:solidFill>
            </p:spPr>
            <p:txBody>
              <a:bodyPr wrap="square" lIns="0" tIns="0" rIns="0" bIns="0" rtlCol="0"/>
              <a:lstStyle/>
              <a:p>
                <a:endParaRPr sz="1796"/>
              </a:p>
            </p:txBody>
          </p:sp>
          <p:sp>
            <p:nvSpPr>
              <p:cNvPr id="58" name="object 24"/>
              <p:cNvSpPr/>
              <p:nvPr userDrawn="1"/>
            </p:nvSpPr>
            <p:spPr>
              <a:xfrm>
                <a:off x="3052500" y="4607980"/>
                <a:ext cx="41910" cy="59055"/>
              </a:xfrm>
              <a:custGeom>
                <a:avLst/>
                <a:gdLst/>
                <a:ahLst/>
                <a:cxnLst/>
                <a:rect l="l" t="t" r="r" b="b"/>
                <a:pathLst>
                  <a:path w="41910" h="59054">
                    <a:moveTo>
                      <a:pt x="12230" y="0"/>
                    </a:moveTo>
                    <a:lnTo>
                      <a:pt x="0" y="0"/>
                    </a:lnTo>
                    <a:lnTo>
                      <a:pt x="0" y="10795"/>
                    </a:lnTo>
                    <a:lnTo>
                      <a:pt x="12230" y="10795"/>
                    </a:lnTo>
                    <a:lnTo>
                      <a:pt x="19512" y="12269"/>
                    </a:lnTo>
                    <a:lnTo>
                      <a:pt x="25468" y="16289"/>
                    </a:lnTo>
                    <a:lnTo>
                      <a:pt x="29487" y="22244"/>
                    </a:lnTo>
                    <a:lnTo>
                      <a:pt x="30962" y="29527"/>
                    </a:lnTo>
                    <a:lnTo>
                      <a:pt x="29487" y="36806"/>
                    </a:lnTo>
                    <a:lnTo>
                      <a:pt x="25468" y="42752"/>
                    </a:lnTo>
                    <a:lnTo>
                      <a:pt x="19512" y="46763"/>
                    </a:lnTo>
                    <a:lnTo>
                      <a:pt x="12230" y="48234"/>
                    </a:lnTo>
                    <a:lnTo>
                      <a:pt x="0" y="48234"/>
                    </a:lnTo>
                    <a:lnTo>
                      <a:pt x="0" y="59029"/>
                    </a:lnTo>
                    <a:lnTo>
                      <a:pt x="12230" y="59029"/>
                    </a:lnTo>
                    <a:lnTo>
                      <a:pt x="23714" y="56709"/>
                    </a:lnTo>
                    <a:lnTo>
                      <a:pt x="33105" y="50384"/>
                    </a:lnTo>
                    <a:lnTo>
                      <a:pt x="39444" y="41005"/>
                    </a:lnTo>
                    <a:lnTo>
                      <a:pt x="41770" y="29527"/>
                    </a:lnTo>
                    <a:lnTo>
                      <a:pt x="39444" y="18045"/>
                    </a:lnTo>
                    <a:lnTo>
                      <a:pt x="33105" y="8658"/>
                    </a:lnTo>
                    <a:lnTo>
                      <a:pt x="23714" y="2324"/>
                    </a:lnTo>
                    <a:lnTo>
                      <a:pt x="12230" y="0"/>
                    </a:lnTo>
                    <a:close/>
                  </a:path>
                </a:pathLst>
              </a:custGeom>
              <a:solidFill>
                <a:srgbClr val="9B9B9A"/>
              </a:solidFill>
            </p:spPr>
            <p:txBody>
              <a:bodyPr wrap="square" lIns="0" tIns="0" rIns="0" bIns="0" rtlCol="0"/>
              <a:lstStyle/>
              <a:p>
                <a:endParaRPr sz="1796"/>
              </a:p>
            </p:txBody>
          </p:sp>
          <p:sp>
            <p:nvSpPr>
              <p:cNvPr id="59" name="object 25"/>
              <p:cNvSpPr/>
              <p:nvPr userDrawn="1"/>
            </p:nvSpPr>
            <p:spPr>
              <a:xfrm>
                <a:off x="3433791" y="4607980"/>
                <a:ext cx="41910" cy="59055"/>
              </a:xfrm>
              <a:custGeom>
                <a:avLst/>
                <a:gdLst/>
                <a:ahLst/>
                <a:cxnLst/>
                <a:rect l="l" t="t" r="r" b="b"/>
                <a:pathLst>
                  <a:path w="41910" h="59054">
                    <a:moveTo>
                      <a:pt x="12230" y="0"/>
                    </a:moveTo>
                    <a:lnTo>
                      <a:pt x="0" y="0"/>
                    </a:lnTo>
                    <a:lnTo>
                      <a:pt x="0" y="10795"/>
                    </a:lnTo>
                    <a:lnTo>
                      <a:pt x="12230" y="10795"/>
                    </a:lnTo>
                    <a:lnTo>
                      <a:pt x="19523" y="12269"/>
                    </a:lnTo>
                    <a:lnTo>
                      <a:pt x="25477" y="16289"/>
                    </a:lnTo>
                    <a:lnTo>
                      <a:pt x="29491" y="22244"/>
                    </a:lnTo>
                    <a:lnTo>
                      <a:pt x="30962" y="29527"/>
                    </a:lnTo>
                    <a:lnTo>
                      <a:pt x="29491" y="36806"/>
                    </a:lnTo>
                    <a:lnTo>
                      <a:pt x="25477" y="42752"/>
                    </a:lnTo>
                    <a:lnTo>
                      <a:pt x="19523" y="46763"/>
                    </a:lnTo>
                    <a:lnTo>
                      <a:pt x="12230" y="48234"/>
                    </a:lnTo>
                    <a:lnTo>
                      <a:pt x="0" y="48234"/>
                    </a:lnTo>
                    <a:lnTo>
                      <a:pt x="0" y="59029"/>
                    </a:lnTo>
                    <a:lnTo>
                      <a:pt x="12230" y="59029"/>
                    </a:lnTo>
                    <a:lnTo>
                      <a:pt x="23723" y="56709"/>
                    </a:lnTo>
                    <a:lnTo>
                      <a:pt x="33108" y="50384"/>
                    </a:lnTo>
                    <a:lnTo>
                      <a:pt x="39437" y="41005"/>
                    </a:lnTo>
                    <a:lnTo>
                      <a:pt x="41757" y="29527"/>
                    </a:lnTo>
                    <a:lnTo>
                      <a:pt x="39437" y="18045"/>
                    </a:lnTo>
                    <a:lnTo>
                      <a:pt x="33108" y="8658"/>
                    </a:lnTo>
                    <a:lnTo>
                      <a:pt x="23723" y="2324"/>
                    </a:lnTo>
                    <a:lnTo>
                      <a:pt x="12230" y="0"/>
                    </a:lnTo>
                    <a:close/>
                  </a:path>
                </a:pathLst>
              </a:custGeom>
              <a:solidFill>
                <a:srgbClr val="9B9B9A"/>
              </a:solidFill>
            </p:spPr>
            <p:txBody>
              <a:bodyPr wrap="square" lIns="0" tIns="0" rIns="0" bIns="0" rtlCol="0"/>
              <a:lstStyle/>
              <a:p>
                <a:endParaRPr sz="1796"/>
              </a:p>
            </p:txBody>
          </p:sp>
          <p:sp>
            <p:nvSpPr>
              <p:cNvPr id="60" name="object 26"/>
              <p:cNvSpPr/>
              <p:nvPr userDrawn="1"/>
            </p:nvSpPr>
            <p:spPr>
              <a:xfrm>
                <a:off x="3815071" y="4607980"/>
                <a:ext cx="41910" cy="59055"/>
              </a:xfrm>
              <a:custGeom>
                <a:avLst/>
                <a:gdLst/>
                <a:ahLst/>
                <a:cxnLst/>
                <a:rect l="l" t="t" r="r" b="b"/>
                <a:pathLst>
                  <a:path w="41910" h="59054">
                    <a:moveTo>
                      <a:pt x="12242" y="0"/>
                    </a:moveTo>
                    <a:lnTo>
                      <a:pt x="0" y="0"/>
                    </a:lnTo>
                    <a:lnTo>
                      <a:pt x="0" y="10795"/>
                    </a:lnTo>
                    <a:lnTo>
                      <a:pt x="12242" y="10795"/>
                    </a:lnTo>
                    <a:lnTo>
                      <a:pt x="19531" y="12269"/>
                    </a:lnTo>
                    <a:lnTo>
                      <a:pt x="25485" y="16289"/>
                    </a:lnTo>
                    <a:lnTo>
                      <a:pt x="29502" y="22244"/>
                    </a:lnTo>
                    <a:lnTo>
                      <a:pt x="30975" y="29527"/>
                    </a:lnTo>
                    <a:lnTo>
                      <a:pt x="29502" y="36806"/>
                    </a:lnTo>
                    <a:lnTo>
                      <a:pt x="25485" y="42752"/>
                    </a:lnTo>
                    <a:lnTo>
                      <a:pt x="19531" y="46763"/>
                    </a:lnTo>
                    <a:lnTo>
                      <a:pt x="12242" y="48234"/>
                    </a:lnTo>
                    <a:lnTo>
                      <a:pt x="0" y="48234"/>
                    </a:lnTo>
                    <a:lnTo>
                      <a:pt x="0" y="59029"/>
                    </a:lnTo>
                    <a:lnTo>
                      <a:pt x="12242" y="59029"/>
                    </a:lnTo>
                    <a:lnTo>
                      <a:pt x="23735" y="56709"/>
                    </a:lnTo>
                    <a:lnTo>
                      <a:pt x="33121" y="50384"/>
                    </a:lnTo>
                    <a:lnTo>
                      <a:pt x="39449" y="41005"/>
                    </a:lnTo>
                    <a:lnTo>
                      <a:pt x="41770" y="29527"/>
                    </a:lnTo>
                    <a:lnTo>
                      <a:pt x="39449" y="18045"/>
                    </a:lnTo>
                    <a:lnTo>
                      <a:pt x="33121" y="8658"/>
                    </a:lnTo>
                    <a:lnTo>
                      <a:pt x="23735" y="2324"/>
                    </a:lnTo>
                    <a:lnTo>
                      <a:pt x="12242" y="0"/>
                    </a:lnTo>
                    <a:close/>
                  </a:path>
                </a:pathLst>
              </a:custGeom>
              <a:solidFill>
                <a:srgbClr val="9B9B9A"/>
              </a:solidFill>
            </p:spPr>
            <p:txBody>
              <a:bodyPr wrap="square" lIns="0" tIns="0" rIns="0" bIns="0" rtlCol="0"/>
              <a:lstStyle/>
              <a:p>
                <a:endParaRPr sz="1796"/>
              </a:p>
            </p:txBody>
          </p:sp>
          <p:sp>
            <p:nvSpPr>
              <p:cNvPr id="61" name="object 27"/>
              <p:cNvSpPr/>
              <p:nvPr userDrawn="1"/>
            </p:nvSpPr>
            <p:spPr>
              <a:xfrm>
                <a:off x="4196362" y="4607980"/>
                <a:ext cx="41910" cy="59055"/>
              </a:xfrm>
              <a:custGeom>
                <a:avLst/>
                <a:gdLst/>
                <a:ahLst/>
                <a:cxnLst/>
                <a:rect l="l" t="t" r="r" b="b"/>
                <a:pathLst>
                  <a:path w="41910" h="59054">
                    <a:moveTo>
                      <a:pt x="12268" y="0"/>
                    </a:moveTo>
                    <a:lnTo>
                      <a:pt x="0" y="0"/>
                    </a:lnTo>
                    <a:lnTo>
                      <a:pt x="0" y="10795"/>
                    </a:lnTo>
                    <a:lnTo>
                      <a:pt x="12268" y="10795"/>
                    </a:lnTo>
                    <a:lnTo>
                      <a:pt x="19545" y="12269"/>
                    </a:lnTo>
                    <a:lnTo>
                      <a:pt x="25501" y="16289"/>
                    </a:lnTo>
                    <a:lnTo>
                      <a:pt x="29523" y="22244"/>
                    </a:lnTo>
                    <a:lnTo>
                      <a:pt x="31000" y="29527"/>
                    </a:lnTo>
                    <a:lnTo>
                      <a:pt x="29523" y="36806"/>
                    </a:lnTo>
                    <a:lnTo>
                      <a:pt x="25501" y="42752"/>
                    </a:lnTo>
                    <a:lnTo>
                      <a:pt x="19545" y="46763"/>
                    </a:lnTo>
                    <a:lnTo>
                      <a:pt x="12268" y="48234"/>
                    </a:lnTo>
                    <a:lnTo>
                      <a:pt x="0" y="48234"/>
                    </a:lnTo>
                    <a:lnTo>
                      <a:pt x="0" y="59029"/>
                    </a:lnTo>
                    <a:lnTo>
                      <a:pt x="12268" y="59029"/>
                    </a:lnTo>
                    <a:lnTo>
                      <a:pt x="23745" y="56709"/>
                    </a:lnTo>
                    <a:lnTo>
                      <a:pt x="33132" y="50384"/>
                    </a:lnTo>
                    <a:lnTo>
                      <a:pt x="39469" y="41005"/>
                    </a:lnTo>
                    <a:lnTo>
                      <a:pt x="41795" y="29527"/>
                    </a:lnTo>
                    <a:lnTo>
                      <a:pt x="39469" y="18045"/>
                    </a:lnTo>
                    <a:lnTo>
                      <a:pt x="33132" y="8658"/>
                    </a:lnTo>
                    <a:lnTo>
                      <a:pt x="23745" y="2324"/>
                    </a:lnTo>
                    <a:lnTo>
                      <a:pt x="12268" y="0"/>
                    </a:lnTo>
                    <a:close/>
                  </a:path>
                </a:pathLst>
              </a:custGeom>
              <a:solidFill>
                <a:srgbClr val="9B9B9A"/>
              </a:solidFill>
            </p:spPr>
            <p:txBody>
              <a:bodyPr wrap="square" lIns="0" tIns="0" rIns="0" bIns="0" rtlCol="0"/>
              <a:lstStyle/>
              <a:p>
                <a:endParaRPr sz="1796"/>
              </a:p>
            </p:txBody>
          </p:sp>
          <p:sp>
            <p:nvSpPr>
              <p:cNvPr id="62" name="object 28"/>
              <p:cNvSpPr/>
              <p:nvPr userDrawn="1"/>
            </p:nvSpPr>
            <p:spPr>
              <a:xfrm>
                <a:off x="4577679" y="4607980"/>
                <a:ext cx="41910" cy="59055"/>
              </a:xfrm>
              <a:custGeom>
                <a:avLst/>
                <a:gdLst/>
                <a:ahLst/>
                <a:cxnLst/>
                <a:rect l="l" t="t" r="r" b="b"/>
                <a:pathLst>
                  <a:path w="41910" h="59054">
                    <a:moveTo>
                      <a:pt x="12230" y="0"/>
                    </a:moveTo>
                    <a:lnTo>
                      <a:pt x="0" y="0"/>
                    </a:lnTo>
                    <a:lnTo>
                      <a:pt x="0" y="10795"/>
                    </a:lnTo>
                    <a:lnTo>
                      <a:pt x="12230" y="10795"/>
                    </a:lnTo>
                    <a:lnTo>
                      <a:pt x="19512" y="12269"/>
                    </a:lnTo>
                    <a:lnTo>
                      <a:pt x="25468" y="16289"/>
                    </a:lnTo>
                    <a:lnTo>
                      <a:pt x="29487" y="22244"/>
                    </a:lnTo>
                    <a:lnTo>
                      <a:pt x="30962" y="29527"/>
                    </a:lnTo>
                    <a:lnTo>
                      <a:pt x="29487" y="36806"/>
                    </a:lnTo>
                    <a:lnTo>
                      <a:pt x="25468" y="42752"/>
                    </a:lnTo>
                    <a:lnTo>
                      <a:pt x="19512" y="46763"/>
                    </a:lnTo>
                    <a:lnTo>
                      <a:pt x="12230" y="48234"/>
                    </a:lnTo>
                    <a:lnTo>
                      <a:pt x="0" y="48234"/>
                    </a:lnTo>
                    <a:lnTo>
                      <a:pt x="0" y="59029"/>
                    </a:lnTo>
                    <a:lnTo>
                      <a:pt x="12230" y="59029"/>
                    </a:lnTo>
                    <a:lnTo>
                      <a:pt x="23714" y="56709"/>
                    </a:lnTo>
                    <a:lnTo>
                      <a:pt x="33105" y="50384"/>
                    </a:lnTo>
                    <a:lnTo>
                      <a:pt x="39444" y="41005"/>
                    </a:lnTo>
                    <a:lnTo>
                      <a:pt x="41770" y="29527"/>
                    </a:lnTo>
                    <a:lnTo>
                      <a:pt x="39444" y="18045"/>
                    </a:lnTo>
                    <a:lnTo>
                      <a:pt x="33105" y="8658"/>
                    </a:lnTo>
                    <a:lnTo>
                      <a:pt x="23714" y="2324"/>
                    </a:lnTo>
                    <a:lnTo>
                      <a:pt x="12230" y="0"/>
                    </a:lnTo>
                    <a:close/>
                  </a:path>
                </a:pathLst>
              </a:custGeom>
              <a:solidFill>
                <a:srgbClr val="9B9B9A"/>
              </a:solidFill>
            </p:spPr>
            <p:txBody>
              <a:bodyPr wrap="square" lIns="0" tIns="0" rIns="0" bIns="0" rtlCol="0"/>
              <a:lstStyle/>
              <a:p>
                <a:endParaRPr sz="1796"/>
              </a:p>
            </p:txBody>
          </p:sp>
          <p:sp>
            <p:nvSpPr>
              <p:cNvPr id="63" name="object 29"/>
              <p:cNvSpPr/>
              <p:nvPr userDrawn="1"/>
            </p:nvSpPr>
            <p:spPr>
              <a:xfrm>
                <a:off x="4958957" y="4607980"/>
                <a:ext cx="41910" cy="59055"/>
              </a:xfrm>
              <a:custGeom>
                <a:avLst/>
                <a:gdLst/>
                <a:ahLst/>
                <a:cxnLst/>
                <a:rect l="l" t="t" r="r" b="b"/>
                <a:pathLst>
                  <a:path w="41910" h="59054">
                    <a:moveTo>
                      <a:pt x="12242" y="0"/>
                    </a:moveTo>
                    <a:lnTo>
                      <a:pt x="0" y="0"/>
                    </a:lnTo>
                    <a:lnTo>
                      <a:pt x="0" y="10795"/>
                    </a:lnTo>
                    <a:lnTo>
                      <a:pt x="12242" y="10795"/>
                    </a:lnTo>
                    <a:lnTo>
                      <a:pt x="19531" y="12269"/>
                    </a:lnTo>
                    <a:lnTo>
                      <a:pt x="25485" y="16289"/>
                    </a:lnTo>
                    <a:lnTo>
                      <a:pt x="29502" y="22244"/>
                    </a:lnTo>
                    <a:lnTo>
                      <a:pt x="30975" y="29527"/>
                    </a:lnTo>
                    <a:lnTo>
                      <a:pt x="29502" y="36806"/>
                    </a:lnTo>
                    <a:lnTo>
                      <a:pt x="25485" y="42752"/>
                    </a:lnTo>
                    <a:lnTo>
                      <a:pt x="19531" y="46763"/>
                    </a:lnTo>
                    <a:lnTo>
                      <a:pt x="12242" y="48234"/>
                    </a:lnTo>
                    <a:lnTo>
                      <a:pt x="0" y="48234"/>
                    </a:lnTo>
                    <a:lnTo>
                      <a:pt x="0" y="59029"/>
                    </a:lnTo>
                    <a:lnTo>
                      <a:pt x="12242" y="59029"/>
                    </a:lnTo>
                    <a:lnTo>
                      <a:pt x="23725" y="56709"/>
                    </a:lnTo>
                    <a:lnTo>
                      <a:pt x="33112" y="50384"/>
                    </a:lnTo>
                    <a:lnTo>
                      <a:pt x="39446" y="41005"/>
                    </a:lnTo>
                    <a:lnTo>
                      <a:pt x="41770" y="29527"/>
                    </a:lnTo>
                    <a:lnTo>
                      <a:pt x="39446" y="18045"/>
                    </a:lnTo>
                    <a:lnTo>
                      <a:pt x="33112" y="8658"/>
                    </a:lnTo>
                    <a:lnTo>
                      <a:pt x="23725" y="2324"/>
                    </a:lnTo>
                    <a:lnTo>
                      <a:pt x="12242" y="0"/>
                    </a:lnTo>
                    <a:close/>
                  </a:path>
                </a:pathLst>
              </a:custGeom>
              <a:solidFill>
                <a:srgbClr val="9B9B9A"/>
              </a:solidFill>
            </p:spPr>
            <p:txBody>
              <a:bodyPr wrap="square" lIns="0" tIns="0" rIns="0" bIns="0" rtlCol="0"/>
              <a:lstStyle/>
              <a:p>
                <a:endParaRPr sz="1796"/>
              </a:p>
            </p:txBody>
          </p:sp>
        </p:grpSp>
        <p:sp>
          <p:nvSpPr>
            <p:cNvPr id="66" name="object 6"/>
            <p:cNvSpPr/>
            <p:nvPr userDrawn="1"/>
          </p:nvSpPr>
          <p:spPr>
            <a:xfrm>
              <a:off x="6102837" y="4231906"/>
              <a:ext cx="41910" cy="55880"/>
            </a:xfrm>
            <a:custGeom>
              <a:avLst/>
              <a:gdLst/>
              <a:ahLst/>
              <a:cxnLst/>
              <a:rect l="l" t="t" r="r" b="b"/>
              <a:pathLst>
                <a:path w="41910" h="55879">
                  <a:moveTo>
                    <a:pt x="41770" y="0"/>
                  </a:moveTo>
                  <a:lnTo>
                    <a:pt x="16391" y="0"/>
                  </a:lnTo>
                  <a:lnTo>
                    <a:pt x="8664" y="5207"/>
                  </a:lnTo>
                  <a:lnTo>
                    <a:pt x="2326" y="14585"/>
                  </a:lnTo>
                  <a:lnTo>
                    <a:pt x="0" y="26058"/>
                  </a:lnTo>
                  <a:lnTo>
                    <a:pt x="2326" y="37541"/>
                  </a:lnTo>
                  <a:lnTo>
                    <a:pt x="8664" y="46928"/>
                  </a:lnTo>
                  <a:lnTo>
                    <a:pt x="18055" y="53262"/>
                  </a:lnTo>
                  <a:lnTo>
                    <a:pt x="29540" y="55586"/>
                  </a:lnTo>
                  <a:lnTo>
                    <a:pt x="41770" y="55586"/>
                  </a:lnTo>
                  <a:lnTo>
                    <a:pt x="41770" y="44791"/>
                  </a:lnTo>
                  <a:lnTo>
                    <a:pt x="29540" y="44791"/>
                  </a:lnTo>
                  <a:lnTo>
                    <a:pt x="22251" y="43316"/>
                  </a:lnTo>
                  <a:lnTo>
                    <a:pt x="16297" y="39297"/>
                  </a:lnTo>
                  <a:lnTo>
                    <a:pt x="12280" y="33341"/>
                  </a:lnTo>
                  <a:lnTo>
                    <a:pt x="10807" y="26058"/>
                  </a:lnTo>
                  <a:lnTo>
                    <a:pt x="12280" y="18780"/>
                  </a:lnTo>
                  <a:lnTo>
                    <a:pt x="16297" y="12833"/>
                  </a:lnTo>
                  <a:lnTo>
                    <a:pt x="22251" y="8822"/>
                  </a:lnTo>
                  <a:lnTo>
                    <a:pt x="29540" y="7351"/>
                  </a:lnTo>
                  <a:lnTo>
                    <a:pt x="41770" y="7351"/>
                  </a:lnTo>
                  <a:lnTo>
                    <a:pt x="41770" y="0"/>
                  </a:lnTo>
                  <a:close/>
                </a:path>
              </a:pathLst>
            </a:custGeom>
            <a:solidFill>
              <a:srgbClr val="9B9B9A"/>
            </a:solidFill>
          </p:spPr>
          <p:txBody>
            <a:bodyPr wrap="square" lIns="0" tIns="0" rIns="0" bIns="0" rtlCol="0"/>
            <a:lstStyle/>
            <a:p>
              <a:endParaRPr sz="1796"/>
            </a:p>
          </p:txBody>
        </p:sp>
        <p:sp>
          <p:nvSpPr>
            <p:cNvPr id="67" name="object 7"/>
            <p:cNvSpPr/>
            <p:nvPr userDrawn="1"/>
          </p:nvSpPr>
          <p:spPr>
            <a:xfrm>
              <a:off x="5721551" y="4231906"/>
              <a:ext cx="41910" cy="55880"/>
            </a:xfrm>
            <a:custGeom>
              <a:avLst/>
              <a:gdLst/>
              <a:ahLst/>
              <a:cxnLst/>
              <a:rect l="l" t="t" r="r" b="b"/>
              <a:pathLst>
                <a:path w="41910" h="55879">
                  <a:moveTo>
                    <a:pt x="41770" y="0"/>
                  </a:moveTo>
                  <a:lnTo>
                    <a:pt x="16376" y="0"/>
                  </a:lnTo>
                  <a:lnTo>
                    <a:pt x="8653" y="5207"/>
                  </a:lnTo>
                  <a:lnTo>
                    <a:pt x="2322" y="14585"/>
                  </a:lnTo>
                  <a:lnTo>
                    <a:pt x="0" y="26058"/>
                  </a:lnTo>
                  <a:lnTo>
                    <a:pt x="2322" y="37541"/>
                  </a:lnTo>
                  <a:lnTo>
                    <a:pt x="8653" y="46928"/>
                  </a:lnTo>
                  <a:lnTo>
                    <a:pt x="18039" y="53262"/>
                  </a:lnTo>
                  <a:lnTo>
                    <a:pt x="29527" y="55586"/>
                  </a:lnTo>
                  <a:lnTo>
                    <a:pt x="41770" y="55586"/>
                  </a:lnTo>
                  <a:lnTo>
                    <a:pt x="41770" y="44791"/>
                  </a:lnTo>
                  <a:lnTo>
                    <a:pt x="29527" y="44791"/>
                  </a:lnTo>
                  <a:lnTo>
                    <a:pt x="22233" y="43316"/>
                  </a:lnTo>
                  <a:lnTo>
                    <a:pt x="16279" y="39297"/>
                  </a:lnTo>
                  <a:lnTo>
                    <a:pt x="12266" y="33341"/>
                  </a:lnTo>
                  <a:lnTo>
                    <a:pt x="10794" y="26058"/>
                  </a:lnTo>
                  <a:lnTo>
                    <a:pt x="12266" y="18780"/>
                  </a:lnTo>
                  <a:lnTo>
                    <a:pt x="16279" y="12833"/>
                  </a:lnTo>
                  <a:lnTo>
                    <a:pt x="22233" y="8822"/>
                  </a:lnTo>
                  <a:lnTo>
                    <a:pt x="29527" y="7351"/>
                  </a:lnTo>
                  <a:lnTo>
                    <a:pt x="41770" y="7351"/>
                  </a:lnTo>
                  <a:lnTo>
                    <a:pt x="41770" y="0"/>
                  </a:lnTo>
                  <a:close/>
                </a:path>
              </a:pathLst>
            </a:custGeom>
            <a:solidFill>
              <a:srgbClr val="9B9B9A"/>
            </a:solidFill>
          </p:spPr>
          <p:txBody>
            <a:bodyPr wrap="square" lIns="0" tIns="0" rIns="0" bIns="0" rtlCol="0"/>
            <a:lstStyle/>
            <a:p>
              <a:endParaRPr sz="1796"/>
            </a:p>
          </p:txBody>
        </p:sp>
        <p:sp>
          <p:nvSpPr>
            <p:cNvPr id="68" name="object 8"/>
            <p:cNvSpPr/>
            <p:nvPr userDrawn="1"/>
          </p:nvSpPr>
          <p:spPr>
            <a:xfrm>
              <a:off x="5340235" y="4231906"/>
              <a:ext cx="41910" cy="55880"/>
            </a:xfrm>
            <a:custGeom>
              <a:avLst/>
              <a:gdLst/>
              <a:ahLst/>
              <a:cxnLst/>
              <a:rect l="l" t="t" r="r" b="b"/>
              <a:pathLst>
                <a:path w="41910" h="55879">
                  <a:moveTo>
                    <a:pt x="41795" y="0"/>
                  </a:moveTo>
                  <a:lnTo>
                    <a:pt x="16396" y="0"/>
                  </a:lnTo>
                  <a:lnTo>
                    <a:pt x="8666" y="5207"/>
                  </a:lnTo>
                  <a:lnTo>
                    <a:pt x="2326" y="14585"/>
                  </a:lnTo>
                  <a:lnTo>
                    <a:pt x="0" y="26058"/>
                  </a:lnTo>
                  <a:lnTo>
                    <a:pt x="2326" y="37541"/>
                  </a:lnTo>
                  <a:lnTo>
                    <a:pt x="8666" y="46928"/>
                  </a:lnTo>
                  <a:lnTo>
                    <a:pt x="18061" y="53262"/>
                  </a:lnTo>
                  <a:lnTo>
                    <a:pt x="29552" y="55586"/>
                  </a:lnTo>
                  <a:lnTo>
                    <a:pt x="41795" y="55586"/>
                  </a:lnTo>
                  <a:lnTo>
                    <a:pt x="41795" y="44791"/>
                  </a:lnTo>
                  <a:lnTo>
                    <a:pt x="29552" y="44791"/>
                  </a:lnTo>
                  <a:lnTo>
                    <a:pt x="22264" y="43316"/>
                  </a:lnTo>
                  <a:lnTo>
                    <a:pt x="16309" y="39297"/>
                  </a:lnTo>
                  <a:lnTo>
                    <a:pt x="12293" y="33341"/>
                  </a:lnTo>
                  <a:lnTo>
                    <a:pt x="10820" y="26058"/>
                  </a:lnTo>
                  <a:lnTo>
                    <a:pt x="12293" y="18780"/>
                  </a:lnTo>
                  <a:lnTo>
                    <a:pt x="16309" y="12833"/>
                  </a:lnTo>
                  <a:lnTo>
                    <a:pt x="22264" y="8822"/>
                  </a:lnTo>
                  <a:lnTo>
                    <a:pt x="29552" y="7351"/>
                  </a:lnTo>
                  <a:lnTo>
                    <a:pt x="41795" y="7351"/>
                  </a:lnTo>
                  <a:lnTo>
                    <a:pt x="41795" y="0"/>
                  </a:lnTo>
                  <a:close/>
                </a:path>
              </a:pathLst>
            </a:custGeom>
            <a:solidFill>
              <a:srgbClr val="9B9B9A"/>
            </a:solidFill>
          </p:spPr>
          <p:txBody>
            <a:bodyPr wrap="square" lIns="0" tIns="0" rIns="0" bIns="0" rtlCol="0"/>
            <a:lstStyle/>
            <a:p>
              <a:endParaRPr sz="1796"/>
            </a:p>
          </p:txBody>
        </p:sp>
        <p:sp>
          <p:nvSpPr>
            <p:cNvPr id="69" name="object 27"/>
            <p:cNvSpPr/>
            <p:nvPr userDrawn="1"/>
          </p:nvSpPr>
          <p:spPr>
            <a:xfrm>
              <a:off x="5340239" y="4607980"/>
              <a:ext cx="41910" cy="59055"/>
            </a:xfrm>
            <a:custGeom>
              <a:avLst/>
              <a:gdLst/>
              <a:ahLst/>
              <a:cxnLst/>
              <a:rect l="l" t="t" r="r" b="b"/>
              <a:pathLst>
                <a:path w="41910" h="59054">
                  <a:moveTo>
                    <a:pt x="12268" y="0"/>
                  </a:moveTo>
                  <a:lnTo>
                    <a:pt x="0" y="0"/>
                  </a:lnTo>
                  <a:lnTo>
                    <a:pt x="0" y="10795"/>
                  </a:lnTo>
                  <a:lnTo>
                    <a:pt x="12268" y="10795"/>
                  </a:lnTo>
                  <a:lnTo>
                    <a:pt x="19545" y="12269"/>
                  </a:lnTo>
                  <a:lnTo>
                    <a:pt x="25501" y="16289"/>
                  </a:lnTo>
                  <a:lnTo>
                    <a:pt x="29523" y="22244"/>
                  </a:lnTo>
                  <a:lnTo>
                    <a:pt x="31000" y="29527"/>
                  </a:lnTo>
                  <a:lnTo>
                    <a:pt x="29523" y="36806"/>
                  </a:lnTo>
                  <a:lnTo>
                    <a:pt x="25501" y="42752"/>
                  </a:lnTo>
                  <a:lnTo>
                    <a:pt x="19545" y="46763"/>
                  </a:lnTo>
                  <a:lnTo>
                    <a:pt x="12268" y="48234"/>
                  </a:lnTo>
                  <a:lnTo>
                    <a:pt x="0" y="48234"/>
                  </a:lnTo>
                  <a:lnTo>
                    <a:pt x="0" y="59029"/>
                  </a:lnTo>
                  <a:lnTo>
                    <a:pt x="12268" y="59029"/>
                  </a:lnTo>
                  <a:lnTo>
                    <a:pt x="23745" y="56709"/>
                  </a:lnTo>
                  <a:lnTo>
                    <a:pt x="33132" y="50384"/>
                  </a:lnTo>
                  <a:lnTo>
                    <a:pt x="39469" y="41005"/>
                  </a:lnTo>
                  <a:lnTo>
                    <a:pt x="41795" y="29527"/>
                  </a:lnTo>
                  <a:lnTo>
                    <a:pt x="39469" y="18045"/>
                  </a:lnTo>
                  <a:lnTo>
                    <a:pt x="33132" y="8658"/>
                  </a:lnTo>
                  <a:lnTo>
                    <a:pt x="23745" y="2324"/>
                  </a:lnTo>
                  <a:lnTo>
                    <a:pt x="12268" y="0"/>
                  </a:lnTo>
                  <a:close/>
                </a:path>
              </a:pathLst>
            </a:custGeom>
            <a:solidFill>
              <a:srgbClr val="9B9B9A"/>
            </a:solidFill>
          </p:spPr>
          <p:txBody>
            <a:bodyPr wrap="square" lIns="0" tIns="0" rIns="0" bIns="0" rtlCol="0"/>
            <a:lstStyle/>
            <a:p>
              <a:endParaRPr sz="1796"/>
            </a:p>
          </p:txBody>
        </p:sp>
        <p:sp>
          <p:nvSpPr>
            <p:cNvPr id="70" name="object 28"/>
            <p:cNvSpPr/>
            <p:nvPr userDrawn="1"/>
          </p:nvSpPr>
          <p:spPr>
            <a:xfrm>
              <a:off x="5721556" y="4607980"/>
              <a:ext cx="41910" cy="59055"/>
            </a:xfrm>
            <a:custGeom>
              <a:avLst/>
              <a:gdLst/>
              <a:ahLst/>
              <a:cxnLst/>
              <a:rect l="l" t="t" r="r" b="b"/>
              <a:pathLst>
                <a:path w="41910" h="59054">
                  <a:moveTo>
                    <a:pt x="12230" y="0"/>
                  </a:moveTo>
                  <a:lnTo>
                    <a:pt x="0" y="0"/>
                  </a:lnTo>
                  <a:lnTo>
                    <a:pt x="0" y="10795"/>
                  </a:lnTo>
                  <a:lnTo>
                    <a:pt x="12230" y="10795"/>
                  </a:lnTo>
                  <a:lnTo>
                    <a:pt x="19512" y="12269"/>
                  </a:lnTo>
                  <a:lnTo>
                    <a:pt x="25468" y="16289"/>
                  </a:lnTo>
                  <a:lnTo>
                    <a:pt x="29487" y="22244"/>
                  </a:lnTo>
                  <a:lnTo>
                    <a:pt x="30962" y="29527"/>
                  </a:lnTo>
                  <a:lnTo>
                    <a:pt x="29487" y="36806"/>
                  </a:lnTo>
                  <a:lnTo>
                    <a:pt x="25468" y="42752"/>
                  </a:lnTo>
                  <a:lnTo>
                    <a:pt x="19512" y="46763"/>
                  </a:lnTo>
                  <a:lnTo>
                    <a:pt x="12230" y="48234"/>
                  </a:lnTo>
                  <a:lnTo>
                    <a:pt x="0" y="48234"/>
                  </a:lnTo>
                  <a:lnTo>
                    <a:pt x="0" y="59029"/>
                  </a:lnTo>
                  <a:lnTo>
                    <a:pt x="12230" y="59029"/>
                  </a:lnTo>
                  <a:lnTo>
                    <a:pt x="23714" y="56709"/>
                  </a:lnTo>
                  <a:lnTo>
                    <a:pt x="33105" y="50384"/>
                  </a:lnTo>
                  <a:lnTo>
                    <a:pt x="39444" y="41005"/>
                  </a:lnTo>
                  <a:lnTo>
                    <a:pt x="41770" y="29527"/>
                  </a:lnTo>
                  <a:lnTo>
                    <a:pt x="39444" y="18045"/>
                  </a:lnTo>
                  <a:lnTo>
                    <a:pt x="33105" y="8658"/>
                  </a:lnTo>
                  <a:lnTo>
                    <a:pt x="23714" y="2324"/>
                  </a:lnTo>
                  <a:lnTo>
                    <a:pt x="12230" y="0"/>
                  </a:lnTo>
                  <a:close/>
                </a:path>
              </a:pathLst>
            </a:custGeom>
            <a:solidFill>
              <a:srgbClr val="9B9B9A"/>
            </a:solidFill>
          </p:spPr>
          <p:txBody>
            <a:bodyPr wrap="square" lIns="0" tIns="0" rIns="0" bIns="0" rtlCol="0"/>
            <a:lstStyle/>
            <a:p>
              <a:endParaRPr sz="1796"/>
            </a:p>
          </p:txBody>
        </p:sp>
        <p:sp>
          <p:nvSpPr>
            <p:cNvPr id="71" name="object 29"/>
            <p:cNvSpPr/>
            <p:nvPr userDrawn="1"/>
          </p:nvSpPr>
          <p:spPr>
            <a:xfrm>
              <a:off x="6102834" y="4607980"/>
              <a:ext cx="41910" cy="59055"/>
            </a:xfrm>
            <a:custGeom>
              <a:avLst/>
              <a:gdLst/>
              <a:ahLst/>
              <a:cxnLst/>
              <a:rect l="l" t="t" r="r" b="b"/>
              <a:pathLst>
                <a:path w="41910" h="59054">
                  <a:moveTo>
                    <a:pt x="12242" y="0"/>
                  </a:moveTo>
                  <a:lnTo>
                    <a:pt x="0" y="0"/>
                  </a:lnTo>
                  <a:lnTo>
                    <a:pt x="0" y="10795"/>
                  </a:lnTo>
                  <a:lnTo>
                    <a:pt x="12242" y="10795"/>
                  </a:lnTo>
                  <a:lnTo>
                    <a:pt x="19531" y="12269"/>
                  </a:lnTo>
                  <a:lnTo>
                    <a:pt x="25485" y="16289"/>
                  </a:lnTo>
                  <a:lnTo>
                    <a:pt x="29502" y="22244"/>
                  </a:lnTo>
                  <a:lnTo>
                    <a:pt x="30975" y="29527"/>
                  </a:lnTo>
                  <a:lnTo>
                    <a:pt x="29502" y="36806"/>
                  </a:lnTo>
                  <a:lnTo>
                    <a:pt x="25485" y="42752"/>
                  </a:lnTo>
                  <a:lnTo>
                    <a:pt x="19531" y="46763"/>
                  </a:lnTo>
                  <a:lnTo>
                    <a:pt x="12242" y="48234"/>
                  </a:lnTo>
                  <a:lnTo>
                    <a:pt x="0" y="48234"/>
                  </a:lnTo>
                  <a:lnTo>
                    <a:pt x="0" y="59029"/>
                  </a:lnTo>
                  <a:lnTo>
                    <a:pt x="12242" y="59029"/>
                  </a:lnTo>
                  <a:lnTo>
                    <a:pt x="23725" y="56709"/>
                  </a:lnTo>
                  <a:lnTo>
                    <a:pt x="33112" y="50384"/>
                  </a:lnTo>
                  <a:lnTo>
                    <a:pt x="39446" y="41005"/>
                  </a:lnTo>
                  <a:lnTo>
                    <a:pt x="41770" y="29527"/>
                  </a:lnTo>
                  <a:lnTo>
                    <a:pt x="39446" y="18045"/>
                  </a:lnTo>
                  <a:lnTo>
                    <a:pt x="33112" y="8658"/>
                  </a:lnTo>
                  <a:lnTo>
                    <a:pt x="23725" y="2324"/>
                  </a:lnTo>
                  <a:lnTo>
                    <a:pt x="12242" y="0"/>
                  </a:lnTo>
                  <a:close/>
                </a:path>
              </a:pathLst>
            </a:custGeom>
            <a:solidFill>
              <a:srgbClr val="9B9B9A"/>
            </a:solidFill>
          </p:spPr>
          <p:txBody>
            <a:bodyPr wrap="square" lIns="0" tIns="0" rIns="0" bIns="0" rtlCol="0"/>
            <a:lstStyle/>
            <a:p>
              <a:endParaRPr sz="1796"/>
            </a:p>
          </p:txBody>
        </p:sp>
      </p:grpSp>
    </p:spTree>
    <p:extLst>
      <p:ext uri="{BB962C8B-B14F-4D97-AF65-F5344CB8AC3E}">
        <p14:creationId xmlns:p14="http://schemas.microsoft.com/office/powerpoint/2010/main" val="313970946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4_Problem">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AE12D1-08AF-45E9-A34A-BDE9E860BAA2}"/>
              </a:ext>
            </a:extLst>
          </p:cNvPr>
          <p:cNvSpPr>
            <a:spLocks noGrp="1"/>
          </p:cNvSpPr>
          <p:nvPr>
            <p:ph type="title" hasCustomPrompt="1"/>
          </p:nvPr>
        </p:nvSpPr>
        <p:spPr>
          <a:xfrm>
            <a:off x="923986" y="136036"/>
            <a:ext cx="8562387" cy="1413534"/>
          </a:xfrm>
        </p:spPr>
        <p:txBody>
          <a:bodyPr anchor="b" anchorCtr="0"/>
          <a:lstStyle>
            <a:lvl1pPr>
              <a:defRPr cap="all" baseline="0"/>
            </a:lvl1pPr>
          </a:lstStyle>
          <a:p>
            <a:r>
              <a:rPr lang="en-US"/>
              <a:t>CLICK TO add TITLE</a:t>
            </a:r>
          </a:p>
        </p:txBody>
      </p:sp>
      <p:sp>
        <p:nvSpPr>
          <p:cNvPr id="9" name="Text Placeholder 7">
            <a:extLst>
              <a:ext uri="{FF2B5EF4-FFF2-40B4-BE49-F238E27FC236}">
                <a16:creationId xmlns:a16="http://schemas.microsoft.com/office/drawing/2014/main" id="{025CBE32-2EC3-4DF9-98B3-59E7EEBEE775}"/>
              </a:ext>
            </a:extLst>
          </p:cNvPr>
          <p:cNvSpPr>
            <a:spLocks noGrp="1"/>
          </p:cNvSpPr>
          <p:nvPr>
            <p:ph type="body" sz="quarter" idx="14" hasCustomPrompt="1"/>
          </p:nvPr>
        </p:nvSpPr>
        <p:spPr>
          <a:xfrm>
            <a:off x="923987" y="1865596"/>
            <a:ext cx="4035294" cy="403183"/>
          </a:xfrm>
        </p:spPr>
        <p:txBody>
          <a:bodyPr anchor="ctr" anchorCtr="0">
            <a:noAutofit/>
          </a:bodyPr>
          <a:lstStyle>
            <a:lvl1pPr marL="0" indent="0">
              <a:lnSpc>
                <a:spcPts val="2865"/>
              </a:lnSpc>
              <a:buNone/>
              <a:defRPr sz="1989" cap="all" baseline="0">
                <a:solidFill>
                  <a:schemeClr val="bg1">
                    <a:lumMod val="50000"/>
                  </a:schemeClr>
                </a:solidFill>
                <a:latin typeface="+mj-lt"/>
              </a:defRPr>
            </a:lvl1pPr>
            <a:lvl2pPr marL="504031" indent="0">
              <a:lnSpc>
                <a:spcPts val="2865"/>
              </a:lnSpc>
              <a:buNone/>
              <a:defRPr sz="1763"/>
            </a:lvl2pPr>
            <a:lvl3pPr marL="1008063" indent="0">
              <a:lnSpc>
                <a:spcPts val="2865"/>
              </a:lnSpc>
              <a:buNone/>
              <a:defRPr sz="1763"/>
            </a:lvl3pPr>
            <a:lvl4pPr marL="1512094" indent="0">
              <a:lnSpc>
                <a:spcPts val="2865"/>
              </a:lnSpc>
              <a:buNone/>
              <a:defRPr sz="1763"/>
            </a:lvl4pPr>
            <a:lvl5pPr marL="2016127" indent="0">
              <a:lnSpc>
                <a:spcPts val="2865"/>
              </a:lnSpc>
              <a:buNone/>
              <a:defRPr sz="1763"/>
            </a:lvl5pPr>
          </a:lstStyle>
          <a:p>
            <a:pPr lvl="0"/>
            <a:r>
              <a:rPr lang="en-US"/>
              <a:t>CLICK TO add text</a:t>
            </a:r>
          </a:p>
        </p:txBody>
      </p:sp>
      <p:sp>
        <p:nvSpPr>
          <p:cNvPr id="8" name="Text Placeholder 7">
            <a:extLst>
              <a:ext uri="{FF2B5EF4-FFF2-40B4-BE49-F238E27FC236}">
                <a16:creationId xmlns:a16="http://schemas.microsoft.com/office/drawing/2014/main" id="{AF00EF78-D323-4EBB-BB07-D37B417DCB1C}"/>
              </a:ext>
            </a:extLst>
          </p:cNvPr>
          <p:cNvSpPr>
            <a:spLocks noGrp="1"/>
          </p:cNvSpPr>
          <p:nvPr>
            <p:ph type="body" sz="quarter" idx="13" hasCustomPrompt="1"/>
          </p:nvPr>
        </p:nvSpPr>
        <p:spPr>
          <a:xfrm>
            <a:off x="923987" y="2316518"/>
            <a:ext cx="4035294" cy="1310344"/>
          </a:xfrm>
        </p:spPr>
        <p:txBody>
          <a:bodyPr>
            <a:normAutofit/>
          </a:bodyPr>
          <a:lstStyle>
            <a:lvl1pPr marL="0" indent="0">
              <a:lnSpc>
                <a:spcPts val="2207"/>
              </a:lnSpc>
              <a:spcBef>
                <a:spcPts val="0"/>
              </a:spcBef>
              <a:buNone/>
              <a:defRPr sz="1547"/>
            </a:lvl1pPr>
            <a:lvl2pPr marL="504031" indent="0">
              <a:lnSpc>
                <a:spcPts val="2865"/>
              </a:lnSpc>
              <a:buNone/>
              <a:defRPr sz="1763"/>
            </a:lvl2pPr>
            <a:lvl3pPr marL="1008063" indent="0">
              <a:lnSpc>
                <a:spcPts val="2865"/>
              </a:lnSpc>
              <a:buNone/>
              <a:defRPr sz="1763"/>
            </a:lvl3pPr>
            <a:lvl4pPr marL="1512094" indent="0">
              <a:lnSpc>
                <a:spcPts val="2865"/>
              </a:lnSpc>
              <a:buNone/>
              <a:defRPr sz="1763"/>
            </a:lvl4pPr>
            <a:lvl5pPr marL="2016127" indent="0">
              <a:lnSpc>
                <a:spcPts val="2865"/>
              </a:lnSpc>
              <a:buNone/>
              <a:defRPr sz="1763"/>
            </a:lvl5pPr>
          </a:lstStyle>
          <a:p>
            <a:pPr lvl="0"/>
            <a:r>
              <a:rPr lang="en-US"/>
              <a:t>Click to add text</a:t>
            </a:r>
          </a:p>
        </p:txBody>
      </p:sp>
      <p:sp>
        <p:nvSpPr>
          <p:cNvPr id="11" name="Text Placeholder 7">
            <a:extLst>
              <a:ext uri="{FF2B5EF4-FFF2-40B4-BE49-F238E27FC236}">
                <a16:creationId xmlns:a16="http://schemas.microsoft.com/office/drawing/2014/main" id="{20D5E97E-C5D9-4025-B1B2-ADCE5B7643E1}"/>
              </a:ext>
            </a:extLst>
          </p:cNvPr>
          <p:cNvSpPr>
            <a:spLocks noGrp="1"/>
          </p:cNvSpPr>
          <p:nvPr>
            <p:ph type="body" sz="quarter" idx="16" hasCustomPrompt="1"/>
          </p:nvPr>
        </p:nvSpPr>
        <p:spPr>
          <a:xfrm>
            <a:off x="923988" y="3768453"/>
            <a:ext cx="4044129" cy="403183"/>
          </a:xfrm>
        </p:spPr>
        <p:txBody>
          <a:bodyPr anchor="ctr" anchorCtr="0">
            <a:noAutofit/>
          </a:bodyPr>
          <a:lstStyle>
            <a:lvl1pPr marL="0" indent="0">
              <a:lnSpc>
                <a:spcPts val="2865"/>
              </a:lnSpc>
              <a:buNone/>
              <a:defRPr sz="1989" cap="all" baseline="0">
                <a:solidFill>
                  <a:schemeClr val="bg1">
                    <a:lumMod val="50000"/>
                  </a:schemeClr>
                </a:solidFill>
                <a:latin typeface="+mj-lt"/>
              </a:defRPr>
            </a:lvl1pPr>
            <a:lvl2pPr marL="504031" indent="0">
              <a:lnSpc>
                <a:spcPts val="2865"/>
              </a:lnSpc>
              <a:buNone/>
              <a:defRPr sz="1763"/>
            </a:lvl2pPr>
            <a:lvl3pPr marL="1008063" indent="0">
              <a:lnSpc>
                <a:spcPts val="2865"/>
              </a:lnSpc>
              <a:buNone/>
              <a:defRPr sz="1763"/>
            </a:lvl3pPr>
            <a:lvl4pPr marL="1512094" indent="0">
              <a:lnSpc>
                <a:spcPts val="2865"/>
              </a:lnSpc>
              <a:buNone/>
              <a:defRPr sz="1763"/>
            </a:lvl4pPr>
            <a:lvl5pPr marL="2016127" indent="0">
              <a:lnSpc>
                <a:spcPts val="2865"/>
              </a:lnSpc>
              <a:buNone/>
              <a:defRPr sz="1763"/>
            </a:lvl5pPr>
          </a:lstStyle>
          <a:p>
            <a:pPr lvl="0"/>
            <a:r>
              <a:rPr lang="en-US"/>
              <a:t>Click to add text</a:t>
            </a:r>
          </a:p>
        </p:txBody>
      </p:sp>
      <p:sp>
        <p:nvSpPr>
          <p:cNvPr id="10" name="Text Placeholder 7">
            <a:extLst>
              <a:ext uri="{FF2B5EF4-FFF2-40B4-BE49-F238E27FC236}">
                <a16:creationId xmlns:a16="http://schemas.microsoft.com/office/drawing/2014/main" id="{AC8171A7-4A62-4082-BB37-F060B1FAE2BF}"/>
              </a:ext>
            </a:extLst>
          </p:cNvPr>
          <p:cNvSpPr>
            <a:spLocks noGrp="1"/>
          </p:cNvSpPr>
          <p:nvPr>
            <p:ph type="body" sz="quarter" idx="15" hasCustomPrompt="1"/>
          </p:nvPr>
        </p:nvSpPr>
        <p:spPr>
          <a:xfrm>
            <a:off x="923988" y="4219377"/>
            <a:ext cx="4044129" cy="1310344"/>
          </a:xfrm>
        </p:spPr>
        <p:txBody>
          <a:bodyPr>
            <a:normAutofit/>
          </a:bodyPr>
          <a:lstStyle>
            <a:lvl1pPr marL="0" indent="0">
              <a:lnSpc>
                <a:spcPts val="2207"/>
              </a:lnSpc>
              <a:spcBef>
                <a:spcPts val="0"/>
              </a:spcBef>
              <a:buNone/>
              <a:defRPr sz="1547"/>
            </a:lvl1pPr>
            <a:lvl2pPr marL="504031" indent="0">
              <a:lnSpc>
                <a:spcPts val="2865"/>
              </a:lnSpc>
              <a:buNone/>
              <a:defRPr sz="1763"/>
            </a:lvl2pPr>
            <a:lvl3pPr marL="1008063" indent="0">
              <a:lnSpc>
                <a:spcPts val="2865"/>
              </a:lnSpc>
              <a:buNone/>
              <a:defRPr sz="1763"/>
            </a:lvl3pPr>
            <a:lvl4pPr marL="1512094" indent="0">
              <a:lnSpc>
                <a:spcPts val="2865"/>
              </a:lnSpc>
              <a:buNone/>
              <a:defRPr sz="1763"/>
            </a:lvl4pPr>
            <a:lvl5pPr marL="2016127" indent="0">
              <a:lnSpc>
                <a:spcPts val="2865"/>
              </a:lnSpc>
              <a:buNone/>
              <a:defRPr sz="1763"/>
            </a:lvl5pPr>
          </a:lstStyle>
          <a:p>
            <a:pPr lvl="0"/>
            <a:r>
              <a:rPr lang="en-US"/>
              <a:t>Click to add text</a:t>
            </a:r>
          </a:p>
        </p:txBody>
      </p:sp>
      <p:sp>
        <p:nvSpPr>
          <p:cNvPr id="19" name="Text Placeholder 7">
            <a:extLst>
              <a:ext uri="{FF2B5EF4-FFF2-40B4-BE49-F238E27FC236}">
                <a16:creationId xmlns:a16="http://schemas.microsoft.com/office/drawing/2014/main" id="{8120F19B-6DB3-475E-9783-DE201F320A26}"/>
              </a:ext>
            </a:extLst>
          </p:cNvPr>
          <p:cNvSpPr>
            <a:spLocks noGrp="1"/>
          </p:cNvSpPr>
          <p:nvPr>
            <p:ph type="body" sz="quarter" idx="22" hasCustomPrompt="1"/>
          </p:nvPr>
        </p:nvSpPr>
        <p:spPr>
          <a:xfrm>
            <a:off x="923988" y="5637032"/>
            <a:ext cx="4044129" cy="403183"/>
          </a:xfrm>
        </p:spPr>
        <p:txBody>
          <a:bodyPr anchor="ctr" anchorCtr="0">
            <a:noAutofit/>
          </a:bodyPr>
          <a:lstStyle>
            <a:lvl1pPr marL="0" indent="0">
              <a:lnSpc>
                <a:spcPts val="2865"/>
              </a:lnSpc>
              <a:buNone/>
              <a:defRPr sz="1989" cap="all" baseline="0">
                <a:solidFill>
                  <a:schemeClr val="bg1">
                    <a:lumMod val="50000"/>
                  </a:schemeClr>
                </a:solidFill>
                <a:latin typeface="+mj-lt"/>
              </a:defRPr>
            </a:lvl1pPr>
            <a:lvl2pPr marL="504031" indent="0">
              <a:lnSpc>
                <a:spcPts val="2865"/>
              </a:lnSpc>
              <a:buNone/>
              <a:defRPr sz="1763"/>
            </a:lvl2pPr>
            <a:lvl3pPr marL="1008063" indent="0">
              <a:lnSpc>
                <a:spcPts val="2865"/>
              </a:lnSpc>
              <a:buNone/>
              <a:defRPr sz="1763"/>
            </a:lvl3pPr>
            <a:lvl4pPr marL="1512094" indent="0">
              <a:lnSpc>
                <a:spcPts val="2865"/>
              </a:lnSpc>
              <a:buNone/>
              <a:defRPr sz="1763"/>
            </a:lvl4pPr>
            <a:lvl5pPr marL="2016127" indent="0">
              <a:lnSpc>
                <a:spcPts val="2865"/>
              </a:lnSpc>
              <a:buNone/>
              <a:defRPr sz="1763"/>
            </a:lvl5pPr>
          </a:lstStyle>
          <a:p>
            <a:pPr lvl="0"/>
            <a:r>
              <a:rPr lang="en-US"/>
              <a:t>Click to add text</a:t>
            </a:r>
          </a:p>
        </p:txBody>
      </p:sp>
      <p:sp>
        <p:nvSpPr>
          <p:cNvPr id="18" name="Text Placeholder 7">
            <a:extLst>
              <a:ext uri="{FF2B5EF4-FFF2-40B4-BE49-F238E27FC236}">
                <a16:creationId xmlns:a16="http://schemas.microsoft.com/office/drawing/2014/main" id="{0107D759-1ED0-454A-9073-F9259B9DD4C7}"/>
              </a:ext>
            </a:extLst>
          </p:cNvPr>
          <p:cNvSpPr>
            <a:spLocks noGrp="1"/>
          </p:cNvSpPr>
          <p:nvPr>
            <p:ph type="body" sz="quarter" idx="21" hasCustomPrompt="1"/>
          </p:nvPr>
        </p:nvSpPr>
        <p:spPr>
          <a:xfrm>
            <a:off x="923987" y="6108515"/>
            <a:ext cx="4035294" cy="834168"/>
          </a:xfrm>
        </p:spPr>
        <p:txBody>
          <a:bodyPr>
            <a:normAutofit/>
          </a:bodyPr>
          <a:lstStyle>
            <a:lvl1pPr marL="0" indent="0">
              <a:lnSpc>
                <a:spcPts val="2207"/>
              </a:lnSpc>
              <a:spcBef>
                <a:spcPts val="0"/>
              </a:spcBef>
              <a:buNone/>
              <a:defRPr sz="1547"/>
            </a:lvl1pPr>
            <a:lvl2pPr marL="504031" indent="0">
              <a:lnSpc>
                <a:spcPts val="2865"/>
              </a:lnSpc>
              <a:buNone/>
              <a:defRPr sz="1763"/>
            </a:lvl2pPr>
            <a:lvl3pPr marL="1008063" indent="0">
              <a:lnSpc>
                <a:spcPts val="2865"/>
              </a:lnSpc>
              <a:buNone/>
              <a:defRPr sz="1763"/>
            </a:lvl3pPr>
            <a:lvl4pPr marL="1512094" indent="0">
              <a:lnSpc>
                <a:spcPts val="2865"/>
              </a:lnSpc>
              <a:buNone/>
              <a:defRPr sz="1763"/>
            </a:lvl4pPr>
            <a:lvl5pPr marL="2016127" indent="0">
              <a:lnSpc>
                <a:spcPts val="2865"/>
              </a:lnSpc>
              <a:buNone/>
              <a:defRPr sz="1763"/>
            </a:lvl5pPr>
          </a:lstStyle>
          <a:p>
            <a:pPr lvl="0"/>
            <a:r>
              <a:rPr lang="en-US"/>
              <a:t>Click to add text</a:t>
            </a:r>
          </a:p>
        </p:txBody>
      </p:sp>
      <p:sp>
        <p:nvSpPr>
          <p:cNvPr id="13" name="Text Placeholder 7">
            <a:extLst>
              <a:ext uri="{FF2B5EF4-FFF2-40B4-BE49-F238E27FC236}">
                <a16:creationId xmlns:a16="http://schemas.microsoft.com/office/drawing/2014/main" id="{C26712AD-A0C3-4DCE-B24C-BF72F5E4C647}"/>
              </a:ext>
            </a:extLst>
          </p:cNvPr>
          <p:cNvSpPr>
            <a:spLocks noGrp="1"/>
          </p:cNvSpPr>
          <p:nvPr>
            <p:ph type="body" sz="quarter" idx="18" hasCustomPrompt="1"/>
          </p:nvPr>
        </p:nvSpPr>
        <p:spPr>
          <a:xfrm>
            <a:off x="5445604" y="1861174"/>
            <a:ext cx="4031931" cy="403183"/>
          </a:xfrm>
        </p:spPr>
        <p:txBody>
          <a:bodyPr anchor="ctr" anchorCtr="0">
            <a:noAutofit/>
          </a:bodyPr>
          <a:lstStyle>
            <a:lvl1pPr marL="0" indent="0">
              <a:lnSpc>
                <a:spcPts val="2865"/>
              </a:lnSpc>
              <a:buNone/>
              <a:defRPr sz="1989" cap="all" baseline="0">
                <a:solidFill>
                  <a:schemeClr val="bg1">
                    <a:lumMod val="50000"/>
                  </a:schemeClr>
                </a:solidFill>
                <a:latin typeface="+mj-lt"/>
              </a:defRPr>
            </a:lvl1pPr>
            <a:lvl2pPr marL="504031" indent="0">
              <a:lnSpc>
                <a:spcPts val="2865"/>
              </a:lnSpc>
              <a:buNone/>
              <a:defRPr sz="1763"/>
            </a:lvl2pPr>
            <a:lvl3pPr marL="1008063" indent="0">
              <a:lnSpc>
                <a:spcPts val="2865"/>
              </a:lnSpc>
              <a:buNone/>
              <a:defRPr sz="1763"/>
            </a:lvl3pPr>
            <a:lvl4pPr marL="1512094" indent="0">
              <a:lnSpc>
                <a:spcPts val="2865"/>
              </a:lnSpc>
              <a:buNone/>
              <a:defRPr sz="1763"/>
            </a:lvl4pPr>
            <a:lvl5pPr marL="2016127" indent="0">
              <a:lnSpc>
                <a:spcPts val="2865"/>
              </a:lnSpc>
              <a:buNone/>
              <a:defRPr sz="1763"/>
            </a:lvl5pPr>
          </a:lstStyle>
          <a:p>
            <a:pPr lvl="0"/>
            <a:r>
              <a:rPr lang="en-US"/>
              <a:t>Click to add text</a:t>
            </a:r>
          </a:p>
        </p:txBody>
      </p:sp>
      <p:sp>
        <p:nvSpPr>
          <p:cNvPr id="12" name="Text Placeholder 7">
            <a:extLst>
              <a:ext uri="{FF2B5EF4-FFF2-40B4-BE49-F238E27FC236}">
                <a16:creationId xmlns:a16="http://schemas.microsoft.com/office/drawing/2014/main" id="{A9CD05EF-84C2-444D-81A7-A4B7301F61CB}"/>
              </a:ext>
            </a:extLst>
          </p:cNvPr>
          <p:cNvSpPr>
            <a:spLocks noGrp="1"/>
          </p:cNvSpPr>
          <p:nvPr>
            <p:ph type="body" sz="quarter" idx="17" hasCustomPrompt="1"/>
          </p:nvPr>
        </p:nvSpPr>
        <p:spPr>
          <a:xfrm>
            <a:off x="5442243" y="2316517"/>
            <a:ext cx="4035294" cy="1310343"/>
          </a:xfrm>
        </p:spPr>
        <p:txBody>
          <a:bodyPr>
            <a:normAutofit/>
          </a:bodyPr>
          <a:lstStyle>
            <a:lvl1pPr marL="0" indent="0">
              <a:lnSpc>
                <a:spcPts val="2207"/>
              </a:lnSpc>
              <a:spcBef>
                <a:spcPts val="0"/>
              </a:spcBef>
              <a:buNone/>
              <a:defRPr sz="1547"/>
            </a:lvl1pPr>
            <a:lvl2pPr marL="504031" indent="0">
              <a:lnSpc>
                <a:spcPts val="2865"/>
              </a:lnSpc>
              <a:buNone/>
              <a:defRPr sz="1763"/>
            </a:lvl2pPr>
            <a:lvl3pPr marL="1008063" indent="0">
              <a:lnSpc>
                <a:spcPts val="2865"/>
              </a:lnSpc>
              <a:buNone/>
              <a:defRPr sz="1763"/>
            </a:lvl3pPr>
            <a:lvl4pPr marL="1512094" indent="0">
              <a:lnSpc>
                <a:spcPts val="2865"/>
              </a:lnSpc>
              <a:buNone/>
              <a:defRPr sz="1763"/>
            </a:lvl4pPr>
            <a:lvl5pPr marL="2016127" indent="0">
              <a:lnSpc>
                <a:spcPts val="2865"/>
              </a:lnSpc>
              <a:buNone/>
              <a:defRPr sz="1763"/>
            </a:lvl5pPr>
          </a:lstStyle>
          <a:p>
            <a:pPr lvl="0"/>
            <a:r>
              <a:rPr lang="en-US"/>
              <a:t>Click to add text</a:t>
            </a:r>
          </a:p>
        </p:txBody>
      </p:sp>
      <p:sp>
        <p:nvSpPr>
          <p:cNvPr id="15" name="Text Placeholder 7">
            <a:extLst>
              <a:ext uri="{FF2B5EF4-FFF2-40B4-BE49-F238E27FC236}">
                <a16:creationId xmlns:a16="http://schemas.microsoft.com/office/drawing/2014/main" id="{6545C2F8-A3FD-49EE-AB32-908F2C67EFD6}"/>
              </a:ext>
            </a:extLst>
          </p:cNvPr>
          <p:cNvSpPr>
            <a:spLocks noGrp="1"/>
          </p:cNvSpPr>
          <p:nvPr>
            <p:ph type="body" sz="quarter" idx="20" hasCustomPrompt="1"/>
          </p:nvPr>
        </p:nvSpPr>
        <p:spPr>
          <a:xfrm>
            <a:off x="5442243" y="3779839"/>
            <a:ext cx="4044129" cy="402484"/>
          </a:xfrm>
        </p:spPr>
        <p:txBody>
          <a:bodyPr anchor="ctr" anchorCtr="0">
            <a:noAutofit/>
          </a:bodyPr>
          <a:lstStyle>
            <a:lvl1pPr marL="0" indent="0">
              <a:lnSpc>
                <a:spcPts val="2865"/>
              </a:lnSpc>
              <a:buNone/>
              <a:defRPr sz="1989" cap="all" baseline="0">
                <a:solidFill>
                  <a:schemeClr val="bg1">
                    <a:lumMod val="50000"/>
                  </a:schemeClr>
                </a:solidFill>
                <a:latin typeface="+mj-lt"/>
              </a:defRPr>
            </a:lvl1pPr>
            <a:lvl2pPr marL="504031" indent="0">
              <a:lnSpc>
                <a:spcPts val="2865"/>
              </a:lnSpc>
              <a:buNone/>
              <a:defRPr sz="1763"/>
            </a:lvl2pPr>
            <a:lvl3pPr marL="1008063" indent="0">
              <a:lnSpc>
                <a:spcPts val="2865"/>
              </a:lnSpc>
              <a:buNone/>
              <a:defRPr sz="1763"/>
            </a:lvl3pPr>
            <a:lvl4pPr marL="1512094" indent="0">
              <a:lnSpc>
                <a:spcPts val="2865"/>
              </a:lnSpc>
              <a:buNone/>
              <a:defRPr sz="1763"/>
            </a:lvl4pPr>
            <a:lvl5pPr marL="2016127" indent="0">
              <a:lnSpc>
                <a:spcPts val="2865"/>
              </a:lnSpc>
              <a:buNone/>
              <a:defRPr sz="1763"/>
            </a:lvl5pPr>
          </a:lstStyle>
          <a:p>
            <a:pPr lvl="0"/>
            <a:r>
              <a:rPr lang="en-US"/>
              <a:t>Click to add text</a:t>
            </a:r>
          </a:p>
        </p:txBody>
      </p:sp>
      <p:sp>
        <p:nvSpPr>
          <p:cNvPr id="14" name="Text Placeholder 7">
            <a:extLst>
              <a:ext uri="{FF2B5EF4-FFF2-40B4-BE49-F238E27FC236}">
                <a16:creationId xmlns:a16="http://schemas.microsoft.com/office/drawing/2014/main" id="{759955F9-5A50-4ACB-AFC6-6B5497CEC879}"/>
              </a:ext>
            </a:extLst>
          </p:cNvPr>
          <p:cNvSpPr>
            <a:spLocks noGrp="1"/>
          </p:cNvSpPr>
          <p:nvPr>
            <p:ph type="body" sz="quarter" idx="19" hasCustomPrompt="1"/>
          </p:nvPr>
        </p:nvSpPr>
        <p:spPr>
          <a:xfrm>
            <a:off x="5442244" y="4219379"/>
            <a:ext cx="4031735" cy="1309724"/>
          </a:xfrm>
        </p:spPr>
        <p:txBody>
          <a:bodyPr>
            <a:normAutofit/>
          </a:bodyPr>
          <a:lstStyle>
            <a:lvl1pPr marL="0" indent="0">
              <a:lnSpc>
                <a:spcPts val="2207"/>
              </a:lnSpc>
              <a:spcBef>
                <a:spcPts val="0"/>
              </a:spcBef>
              <a:buNone/>
              <a:defRPr sz="1547"/>
            </a:lvl1pPr>
            <a:lvl2pPr marL="504031" indent="0">
              <a:lnSpc>
                <a:spcPts val="2865"/>
              </a:lnSpc>
              <a:buNone/>
              <a:defRPr sz="1763"/>
            </a:lvl2pPr>
            <a:lvl3pPr marL="1008063" indent="0">
              <a:lnSpc>
                <a:spcPts val="2865"/>
              </a:lnSpc>
              <a:buNone/>
              <a:defRPr sz="1763"/>
            </a:lvl3pPr>
            <a:lvl4pPr marL="1512094" indent="0">
              <a:lnSpc>
                <a:spcPts val="2865"/>
              </a:lnSpc>
              <a:buNone/>
              <a:defRPr sz="1763"/>
            </a:lvl4pPr>
            <a:lvl5pPr marL="2016127" indent="0">
              <a:lnSpc>
                <a:spcPts val="2865"/>
              </a:lnSpc>
              <a:buNone/>
              <a:defRPr sz="1763"/>
            </a:lvl5pPr>
          </a:lstStyle>
          <a:p>
            <a:pPr lvl="0"/>
            <a:r>
              <a:rPr lang="en-US"/>
              <a:t>Click to add text</a:t>
            </a:r>
          </a:p>
        </p:txBody>
      </p:sp>
      <p:sp>
        <p:nvSpPr>
          <p:cNvPr id="4" name="Date Placeholder 3">
            <a:extLst>
              <a:ext uri="{FF2B5EF4-FFF2-40B4-BE49-F238E27FC236}">
                <a16:creationId xmlns:a16="http://schemas.microsoft.com/office/drawing/2014/main" id="{3EDAC16E-5725-4AC1-AB85-871F25D26688}"/>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FD10B5D8-71E9-48DC-A04C-559359603CB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0FDD81F-9379-48E6-9B14-83486F920A39}"/>
              </a:ext>
            </a:extLst>
          </p:cNvPr>
          <p:cNvSpPr>
            <a:spLocks noGrp="1"/>
          </p:cNvSpPr>
          <p:nvPr>
            <p:ph type="sldNum" sz="quarter" idx="12"/>
          </p:nvPr>
        </p:nvSpPr>
        <p:spPr/>
        <p:txBody>
          <a:bodyPr/>
          <a:lstStyle/>
          <a:p>
            <a:fld id="{B5CEABB6-07DC-46E8-9B57-56EC44A396E5}" type="slidenum">
              <a:rPr lang="en-US" smtClean="0"/>
              <a:t>‹№›</a:t>
            </a:fld>
            <a:endParaRPr lang="en-US"/>
          </a:p>
        </p:txBody>
      </p:sp>
      <p:pic>
        <p:nvPicPr>
          <p:cNvPr id="3" name="Picture 2">
            <a:extLst>
              <a:ext uri="{FF2B5EF4-FFF2-40B4-BE49-F238E27FC236}">
                <a16:creationId xmlns:a16="http://schemas.microsoft.com/office/drawing/2014/main" id="{4B32B98E-2172-E578-22C6-561C91F3D381}"/>
              </a:ext>
            </a:extLst>
          </p:cNvPr>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r="25402"/>
          <a:stretch/>
        </p:blipFill>
        <p:spPr bwMode="auto">
          <a:xfrm>
            <a:off x="3417983" y="0"/>
            <a:ext cx="10021796" cy="75596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7065757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25C416-A3A2-4CF9-9532-2C0BFB51CFDF}"/>
              </a:ext>
            </a:extLst>
          </p:cNvPr>
          <p:cNvSpPr>
            <a:spLocks noGrp="1"/>
          </p:cNvSpPr>
          <p:nvPr>
            <p:ph type="ctrTitle" hasCustomPrompt="1"/>
          </p:nvPr>
        </p:nvSpPr>
        <p:spPr>
          <a:xfrm>
            <a:off x="783013" y="1809204"/>
            <a:ext cx="6263552" cy="1650163"/>
          </a:xfrm>
        </p:spPr>
        <p:txBody>
          <a:bodyPr anchor="b">
            <a:noAutofit/>
          </a:bodyPr>
          <a:lstStyle>
            <a:lvl1pPr algn="l">
              <a:defRPr sz="4184" b="1" baseline="0"/>
            </a:lvl1pPr>
          </a:lstStyle>
          <a:p>
            <a:r>
              <a:rPr lang="en-US"/>
              <a:t>Business-to-business marketing priorities </a:t>
            </a:r>
          </a:p>
        </p:txBody>
      </p:sp>
      <p:sp>
        <p:nvSpPr>
          <p:cNvPr id="3" name="Subtitle 2">
            <a:extLst>
              <a:ext uri="{FF2B5EF4-FFF2-40B4-BE49-F238E27FC236}">
                <a16:creationId xmlns:a16="http://schemas.microsoft.com/office/drawing/2014/main" id="{43D32955-BB06-40DE-A14A-2170FD41AD52}"/>
              </a:ext>
            </a:extLst>
          </p:cNvPr>
          <p:cNvSpPr>
            <a:spLocks noGrp="1"/>
          </p:cNvSpPr>
          <p:nvPr>
            <p:ph type="subTitle" idx="1" hasCustomPrompt="1"/>
          </p:nvPr>
        </p:nvSpPr>
        <p:spPr>
          <a:xfrm>
            <a:off x="783013" y="3527444"/>
            <a:ext cx="6263552" cy="1562607"/>
          </a:xfrm>
        </p:spPr>
        <p:txBody>
          <a:bodyPr>
            <a:normAutofit/>
          </a:bodyPr>
          <a:lstStyle>
            <a:lvl1pPr marL="0" indent="0" algn="l">
              <a:buNone/>
              <a:defRPr sz="1989"/>
            </a:lvl1pPr>
            <a:lvl2pPr marL="504031" indent="0" algn="ctr">
              <a:buNone/>
              <a:defRPr sz="2207"/>
            </a:lvl2pPr>
            <a:lvl3pPr marL="1008063" indent="0" algn="ctr">
              <a:buNone/>
              <a:defRPr sz="1989"/>
            </a:lvl3pPr>
            <a:lvl4pPr marL="1512094" indent="0" algn="ctr">
              <a:buNone/>
              <a:defRPr sz="1763"/>
            </a:lvl4pPr>
            <a:lvl5pPr marL="2016127" indent="0" algn="ctr">
              <a:buNone/>
              <a:defRPr sz="1763"/>
            </a:lvl5pPr>
            <a:lvl6pPr marL="2520158" indent="0" algn="ctr">
              <a:buNone/>
              <a:defRPr sz="1763"/>
            </a:lvl6pPr>
            <a:lvl7pPr marL="3024189" indent="0" algn="ctr">
              <a:buNone/>
              <a:defRPr sz="1763"/>
            </a:lvl7pPr>
            <a:lvl8pPr marL="3528219" indent="0" algn="ctr">
              <a:buNone/>
              <a:defRPr sz="1763"/>
            </a:lvl8pPr>
            <a:lvl9pPr marL="4032251" indent="0" algn="ctr">
              <a:buNone/>
              <a:defRPr sz="1763"/>
            </a:lvl9pPr>
          </a:lstStyle>
          <a:p>
            <a:r>
              <a:rPr lang="en-US"/>
              <a:t>Click to add text</a:t>
            </a:r>
          </a:p>
        </p:txBody>
      </p:sp>
      <p:pic>
        <p:nvPicPr>
          <p:cNvPr id="4" name="Picture 2">
            <a:extLst>
              <a:ext uri="{FF2B5EF4-FFF2-40B4-BE49-F238E27FC236}">
                <a16:creationId xmlns:a16="http://schemas.microsoft.com/office/drawing/2014/main" id="{55FE7A41-57A2-7C9D-7BA4-B12D9D718630}"/>
              </a:ext>
            </a:extLst>
          </p:cNvPr>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r="6070"/>
          <a:stretch/>
        </p:blipFill>
        <p:spPr bwMode="auto">
          <a:xfrm>
            <a:off x="820988" y="0"/>
            <a:ext cx="12618787" cy="75596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56633998"/>
      </p:ext>
    </p:extLst>
  </p:cSld>
  <p:clrMapOvr>
    <a:masterClrMapping/>
  </p:clrMapOvr>
  <p:extLst>
    <p:ext uri="{DCECCB84-F9BA-43D5-87BE-67443E8EF086}">
      <p15:sldGuideLst xmlns:p15="http://schemas.microsoft.com/office/powerpoint/2012/main">
        <p15:guide id="1" pos="739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25C416-A3A2-4CF9-9532-2C0BFB51CFDF}"/>
              </a:ext>
            </a:extLst>
          </p:cNvPr>
          <p:cNvSpPr>
            <a:spLocks noGrp="1"/>
          </p:cNvSpPr>
          <p:nvPr>
            <p:ph type="ctrTitle" hasCustomPrompt="1"/>
          </p:nvPr>
        </p:nvSpPr>
        <p:spPr>
          <a:xfrm>
            <a:off x="6561335" y="1844365"/>
            <a:ext cx="6263552" cy="1650163"/>
          </a:xfrm>
          <a:prstGeom prst="rect">
            <a:avLst/>
          </a:prstGeom>
        </p:spPr>
        <p:txBody>
          <a:bodyPr anchor="b">
            <a:noAutofit/>
          </a:bodyPr>
          <a:lstStyle>
            <a:lvl1pPr algn="l">
              <a:defRPr sz="4184" b="1" baseline="0"/>
            </a:lvl1pPr>
          </a:lstStyle>
          <a:p>
            <a:r>
              <a:rPr lang="en-US"/>
              <a:t>Business-to-business marketing priorities </a:t>
            </a:r>
          </a:p>
        </p:txBody>
      </p:sp>
      <p:sp>
        <p:nvSpPr>
          <p:cNvPr id="3" name="Subtitle 2">
            <a:extLst>
              <a:ext uri="{FF2B5EF4-FFF2-40B4-BE49-F238E27FC236}">
                <a16:creationId xmlns:a16="http://schemas.microsoft.com/office/drawing/2014/main" id="{43D32955-BB06-40DE-A14A-2170FD41AD52}"/>
              </a:ext>
            </a:extLst>
          </p:cNvPr>
          <p:cNvSpPr>
            <a:spLocks noGrp="1"/>
          </p:cNvSpPr>
          <p:nvPr>
            <p:ph type="subTitle" idx="1" hasCustomPrompt="1"/>
          </p:nvPr>
        </p:nvSpPr>
        <p:spPr>
          <a:xfrm>
            <a:off x="6561335" y="3562606"/>
            <a:ext cx="6263552" cy="1562607"/>
          </a:xfrm>
          <a:prstGeom prst="rect">
            <a:avLst/>
          </a:prstGeom>
        </p:spPr>
        <p:txBody>
          <a:bodyPr>
            <a:normAutofit/>
          </a:bodyPr>
          <a:lstStyle>
            <a:lvl1pPr marL="0" indent="0" algn="l">
              <a:buNone/>
              <a:defRPr sz="1989"/>
            </a:lvl1pPr>
            <a:lvl2pPr marL="504031" indent="0" algn="ctr">
              <a:buNone/>
              <a:defRPr sz="2207"/>
            </a:lvl2pPr>
            <a:lvl3pPr marL="1008063" indent="0" algn="ctr">
              <a:buNone/>
              <a:defRPr sz="1989"/>
            </a:lvl3pPr>
            <a:lvl4pPr marL="1512094" indent="0" algn="ctr">
              <a:buNone/>
              <a:defRPr sz="1763"/>
            </a:lvl4pPr>
            <a:lvl5pPr marL="2016127" indent="0" algn="ctr">
              <a:buNone/>
              <a:defRPr sz="1763"/>
            </a:lvl5pPr>
            <a:lvl6pPr marL="2520158" indent="0" algn="ctr">
              <a:buNone/>
              <a:defRPr sz="1763"/>
            </a:lvl6pPr>
            <a:lvl7pPr marL="3024189" indent="0" algn="ctr">
              <a:buNone/>
              <a:defRPr sz="1763"/>
            </a:lvl7pPr>
            <a:lvl8pPr marL="3528219" indent="0" algn="ctr">
              <a:buNone/>
              <a:defRPr sz="1763"/>
            </a:lvl8pPr>
            <a:lvl9pPr marL="4032251" indent="0" algn="ctr">
              <a:buNone/>
              <a:defRPr sz="1763"/>
            </a:lvl9pPr>
          </a:lstStyle>
          <a:p>
            <a:r>
              <a:rPr lang="en-US"/>
              <a:t>Click to add text</a:t>
            </a:r>
          </a:p>
        </p:txBody>
      </p:sp>
      <p:pic>
        <p:nvPicPr>
          <p:cNvPr id="4" name="Picture 2">
            <a:extLst>
              <a:ext uri="{FF2B5EF4-FFF2-40B4-BE49-F238E27FC236}">
                <a16:creationId xmlns:a16="http://schemas.microsoft.com/office/drawing/2014/main" id="{55FE7A41-57A2-7C9D-7BA4-B12D9D718630}"/>
              </a:ext>
            </a:extLst>
          </p:cNvPr>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r="6070"/>
          <a:stretch/>
        </p:blipFill>
        <p:spPr bwMode="auto">
          <a:xfrm flipH="1">
            <a:off x="0" y="0"/>
            <a:ext cx="12618787" cy="75596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91446650"/>
      </p:ext>
    </p:extLst>
  </p:cSld>
  <p:clrMapOvr>
    <a:masterClrMapping/>
  </p:clrMapOvr>
  <p:extLst>
    <p:ext uri="{DCECCB84-F9BA-43D5-87BE-67443E8EF086}">
      <p15:sldGuideLst xmlns:p15="http://schemas.microsoft.com/office/powerpoint/2012/main">
        <p15:guide id="1" pos="7391">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_About U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AE12D1-08AF-45E9-A34A-BDE9E860BAA2}"/>
              </a:ext>
            </a:extLst>
          </p:cNvPr>
          <p:cNvSpPr>
            <a:spLocks noGrp="1"/>
          </p:cNvSpPr>
          <p:nvPr>
            <p:ph type="title" hasCustomPrompt="1"/>
          </p:nvPr>
        </p:nvSpPr>
        <p:spPr>
          <a:xfrm>
            <a:off x="923987" y="658261"/>
            <a:ext cx="4535925" cy="2224149"/>
          </a:xfrm>
          <a:prstGeom prst="rect">
            <a:avLst/>
          </a:prstGeom>
        </p:spPr>
        <p:txBody>
          <a:bodyPr/>
          <a:lstStyle>
            <a:lvl1pPr>
              <a:defRPr baseline="0"/>
            </a:lvl1pPr>
          </a:lstStyle>
          <a:p>
            <a:r>
              <a:rPr lang="en-US"/>
              <a:t>CLICK TO add TITLE</a:t>
            </a:r>
          </a:p>
        </p:txBody>
      </p:sp>
      <p:sp>
        <p:nvSpPr>
          <p:cNvPr id="8" name="Text Placeholder 7">
            <a:extLst>
              <a:ext uri="{FF2B5EF4-FFF2-40B4-BE49-F238E27FC236}">
                <a16:creationId xmlns:a16="http://schemas.microsoft.com/office/drawing/2014/main" id="{1183D993-BA0D-4589-B631-1793D008E888}"/>
              </a:ext>
            </a:extLst>
          </p:cNvPr>
          <p:cNvSpPr>
            <a:spLocks noGrp="1"/>
          </p:cNvSpPr>
          <p:nvPr>
            <p:ph type="body" sz="quarter" idx="13" hasCustomPrompt="1"/>
          </p:nvPr>
        </p:nvSpPr>
        <p:spPr>
          <a:xfrm>
            <a:off x="923987" y="3003302"/>
            <a:ext cx="4535925" cy="3165396"/>
          </a:xfrm>
          <a:prstGeom prst="rect">
            <a:avLst/>
          </a:prstGeom>
        </p:spPr>
        <p:txBody>
          <a:bodyPr>
            <a:normAutofit/>
          </a:bodyPr>
          <a:lstStyle>
            <a:lvl1pPr marL="0" indent="0">
              <a:lnSpc>
                <a:spcPts val="2649"/>
              </a:lnSpc>
              <a:buNone/>
              <a:defRPr sz="1547"/>
            </a:lvl1pPr>
            <a:lvl2pPr marL="504031" indent="0">
              <a:lnSpc>
                <a:spcPts val="2649"/>
              </a:lnSpc>
              <a:buNone/>
              <a:defRPr sz="1547"/>
            </a:lvl2pPr>
            <a:lvl3pPr marL="1008063" indent="0">
              <a:lnSpc>
                <a:spcPts val="2649"/>
              </a:lnSpc>
              <a:buNone/>
              <a:defRPr sz="1547"/>
            </a:lvl3pPr>
            <a:lvl4pPr marL="1512094" indent="0">
              <a:lnSpc>
                <a:spcPts val="2649"/>
              </a:lnSpc>
              <a:buNone/>
              <a:defRPr sz="1547"/>
            </a:lvl4pPr>
            <a:lvl5pPr marL="2016127" indent="0">
              <a:lnSpc>
                <a:spcPts val="2649"/>
              </a:lnSpc>
              <a:buNone/>
              <a:defRPr sz="1547"/>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EDAC16E-5725-4AC1-AB85-871F25D26688}"/>
              </a:ext>
            </a:extLst>
          </p:cNvPr>
          <p:cNvSpPr>
            <a:spLocks noGrp="1"/>
          </p:cNvSpPr>
          <p:nvPr>
            <p:ph type="dt" sz="half" idx="10"/>
          </p:nvPr>
        </p:nvSpPr>
        <p:spPr>
          <a:xfrm>
            <a:off x="923988" y="7006701"/>
            <a:ext cx="1511976" cy="402484"/>
          </a:xfrm>
          <a:prstGeom prst="rect">
            <a:avLst/>
          </a:prstGeom>
        </p:spPr>
        <p:txBody>
          <a:bodyPr/>
          <a:lstStyle/>
          <a:p>
            <a:endParaRPr lang="en-US"/>
          </a:p>
        </p:txBody>
      </p:sp>
      <p:sp>
        <p:nvSpPr>
          <p:cNvPr id="5" name="Footer Placeholder 4">
            <a:extLst>
              <a:ext uri="{FF2B5EF4-FFF2-40B4-BE49-F238E27FC236}">
                <a16:creationId xmlns:a16="http://schemas.microsoft.com/office/drawing/2014/main" id="{FD10B5D8-71E9-48DC-A04C-559359603CB0}"/>
              </a:ext>
            </a:extLst>
          </p:cNvPr>
          <p:cNvSpPr>
            <a:spLocks noGrp="1"/>
          </p:cNvSpPr>
          <p:nvPr>
            <p:ph type="ftr" sz="quarter" idx="11"/>
          </p:nvPr>
        </p:nvSpPr>
        <p:spPr>
          <a:xfrm>
            <a:off x="4263772" y="7006701"/>
            <a:ext cx="3023949" cy="402484"/>
          </a:xfrm>
          <a:prstGeom prst="rect">
            <a:avLst/>
          </a:prstGeom>
        </p:spPr>
        <p:txBody>
          <a:bodyPr/>
          <a:lstStyle>
            <a:lvl1pPr algn="r">
              <a:defRPr/>
            </a:lvl1pPr>
          </a:lstStyle>
          <a:p>
            <a:endParaRPr lang="en-US"/>
          </a:p>
        </p:txBody>
      </p:sp>
      <p:sp>
        <p:nvSpPr>
          <p:cNvPr id="6" name="Slide Number Placeholder 5">
            <a:extLst>
              <a:ext uri="{FF2B5EF4-FFF2-40B4-BE49-F238E27FC236}">
                <a16:creationId xmlns:a16="http://schemas.microsoft.com/office/drawing/2014/main" id="{A0FDD81F-9379-48E6-9B14-83486F920A39}"/>
              </a:ext>
            </a:extLst>
          </p:cNvPr>
          <p:cNvSpPr>
            <a:spLocks noGrp="1"/>
          </p:cNvSpPr>
          <p:nvPr>
            <p:ph type="sldNum" sz="quarter" idx="12"/>
          </p:nvPr>
        </p:nvSpPr>
        <p:spPr>
          <a:xfrm>
            <a:off x="9491845" y="7006701"/>
            <a:ext cx="3023949" cy="402484"/>
          </a:xfrm>
          <a:prstGeom prst="rect">
            <a:avLst/>
          </a:prstGeom>
        </p:spPr>
        <p:txBody>
          <a:bodyPr/>
          <a:lstStyle/>
          <a:p>
            <a:fld id="{B5CEABB6-07DC-46E8-9B57-56EC44A396E5}" type="slidenum">
              <a:rPr lang="en-US" smtClean="0"/>
              <a:t>‹№›</a:t>
            </a:fld>
            <a:endParaRPr lang="en-US"/>
          </a:p>
        </p:txBody>
      </p:sp>
      <p:pic>
        <p:nvPicPr>
          <p:cNvPr id="3" name="Picture 2" descr="D:\- from Disk 1 -\Мои документы\РАБОТА\DTEK\2019\УК\16х9\Re__исходники_КВ____УК\ЦЭ 16к9 слайд 2-03.png">
            <a:extLst>
              <a:ext uri="{FF2B5EF4-FFF2-40B4-BE49-F238E27FC236}">
                <a16:creationId xmlns:a16="http://schemas.microsoft.com/office/drawing/2014/main" id="{814BE852-07DA-BE43-949A-CDC144422E78}"/>
              </a:ext>
            </a:extLst>
          </p:cNvPr>
          <p:cNvPicPr>
            <a:picLocks noChangeArrowheads="1"/>
          </p:cNvPicPr>
          <p:nvPr userDrawn="1"/>
        </p:nvPicPr>
        <p:blipFill rotWithShape="1">
          <a:blip r:embed="rId2" cstate="screen">
            <a:extLst>
              <a:ext uri="{28A0092B-C50C-407E-A947-70E740481C1C}">
                <a14:useLocalDpi xmlns:a14="http://schemas.microsoft.com/office/drawing/2010/main"/>
              </a:ext>
            </a:extLst>
          </a:blip>
          <a:srcRect l="4395" t="4395" r="672"/>
          <a:stretch/>
        </p:blipFill>
        <p:spPr bwMode="ltGray">
          <a:xfrm>
            <a:off x="3359946" y="1889920"/>
            <a:ext cx="10079832" cy="566975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8115991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5_Problem">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AE12D1-08AF-45E9-A34A-BDE9E860BAA2}"/>
              </a:ext>
            </a:extLst>
          </p:cNvPr>
          <p:cNvSpPr>
            <a:spLocks noGrp="1"/>
          </p:cNvSpPr>
          <p:nvPr>
            <p:ph type="title" hasCustomPrompt="1"/>
          </p:nvPr>
        </p:nvSpPr>
        <p:spPr>
          <a:xfrm>
            <a:off x="923986" y="136036"/>
            <a:ext cx="8562387" cy="1413534"/>
          </a:xfrm>
          <a:prstGeom prst="rect">
            <a:avLst/>
          </a:prstGeom>
        </p:spPr>
        <p:txBody>
          <a:bodyPr anchor="b" anchorCtr="0"/>
          <a:lstStyle>
            <a:lvl1pPr>
              <a:defRPr cap="all" baseline="0"/>
            </a:lvl1pPr>
          </a:lstStyle>
          <a:p>
            <a:r>
              <a:rPr lang="en-US"/>
              <a:t>CLICK TO add TITLE</a:t>
            </a:r>
          </a:p>
        </p:txBody>
      </p:sp>
      <p:sp>
        <p:nvSpPr>
          <p:cNvPr id="9" name="Text Placeholder 7">
            <a:extLst>
              <a:ext uri="{FF2B5EF4-FFF2-40B4-BE49-F238E27FC236}">
                <a16:creationId xmlns:a16="http://schemas.microsoft.com/office/drawing/2014/main" id="{025CBE32-2EC3-4DF9-98B3-59E7EEBEE775}"/>
              </a:ext>
            </a:extLst>
          </p:cNvPr>
          <p:cNvSpPr>
            <a:spLocks noGrp="1"/>
          </p:cNvSpPr>
          <p:nvPr>
            <p:ph type="body" sz="quarter" idx="14" hasCustomPrompt="1"/>
          </p:nvPr>
        </p:nvSpPr>
        <p:spPr>
          <a:xfrm>
            <a:off x="923987" y="1865596"/>
            <a:ext cx="4035294" cy="403183"/>
          </a:xfrm>
          <a:prstGeom prst="rect">
            <a:avLst/>
          </a:prstGeom>
        </p:spPr>
        <p:txBody>
          <a:bodyPr anchor="ctr" anchorCtr="0">
            <a:noAutofit/>
          </a:bodyPr>
          <a:lstStyle>
            <a:lvl1pPr marL="0" indent="0">
              <a:lnSpc>
                <a:spcPts val="2865"/>
              </a:lnSpc>
              <a:buNone/>
              <a:defRPr sz="1989" cap="all" baseline="0">
                <a:solidFill>
                  <a:schemeClr val="bg1">
                    <a:lumMod val="50000"/>
                  </a:schemeClr>
                </a:solidFill>
                <a:latin typeface="+mj-lt"/>
              </a:defRPr>
            </a:lvl1pPr>
            <a:lvl2pPr marL="504031" indent="0">
              <a:lnSpc>
                <a:spcPts val="2865"/>
              </a:lnSpc>
              <a:buNone/>
              <a:defRPr sz="1763"/>
            </a:lvl2pPr>
            <a:lvl3pPr marL="1008063" indent="0">
              <a:lnSpc>
                <a:spcPts val="2865"/>
              </a:lnSpc>
              <a:buNone/>
              <a:defRPr sz="1763"/>
            </a:lvl3pPr>
            <a:lvl4pPr marL="1512094" indent="0">
              <a:lnSpc>
                <a:spcPts val="2865"/>
              </a:lnSpc>
              <a:buNone/>
              <a:defRPr sz="1763"/>
            </a:lvl4pPr>
            <a:lvl5pPr marL="2016127" indent="0">
              <a:lnSpc>
                <a:spcPts val="2865"/>
              </a:lnSpc>
              <a:buNone/>
              <a:defRPr sz="1763"/>
            </a:lvl5pPr>
          </a:lstStyle>
          <a:p>
            <a:pPr lvl="0"/>
            <a:r>
              <a:rPr lang="en-US"/>
              <a:t>CLICK TO add text</a:t>
            </a:r>
          </a:p>
        </p:txBody>
      </p:sp>
      <p:sp>
        <p:nvSpPr>
          <p:cNvPr id="8" name="Text Placeholder 7">
            <a:extLst>
              <a:ext uri="{FF2B5EF4-FFF2-40B4-BE49-F238E27FC236}">
                <a16:creationId xmlns:a16="http://schemas.microsoft.com/office/drawing/2014/main" id="{AF00EF78-D323-4EBB-BB07-D37B417DCB1C}"/>
              </a:ext>
            </a:extLst>
          </p:cNvPr>
          <p:cNvSpPr>
            <a:spLocks noGrp="1"/>
          </p:cNvSpPr>
          <p:nvPr>
            <p:ph type="body" sz="quarter" idx="13" hasCustomPrompt="1"/>
          </p:nvPr>
        </p:nvSpPr>
        <p:spPr>
          <a:xfrm>
            <a:off x="923987" y="2316518"/>
            <a:ext cx="4035294" cy="1310344"/>
          </a:xfrm>
          <a:prstGeom prst="rect">
            <a:avLst/>
          </a:prstGeom>
        </p:spPr>
        <p:txBody>
          <a:bodyPr>
            <a:normAutofit/>
          </a:bodyPr>
          <a:lstStyle>
            <a:lvl1pPr marL="0" indent="0">
              <a:lnSpc>
                <a:spcPts val="2207"/>
              </a:lnSpc>
              <a:spcBef>
                <a:spcPts val="0"/>
              </a:spcBef>
              <a:buNone/>
              <a:defRPr sz="1547"/>
            </a:lvl1pPr>
            <a:lvl2pPr marL="504031" indent="0">
              <a:lnSpc>
                <a:spcPts val="2865"/>
              </a:lnSpc>
              <a:buNone/>
              <a:defRPr sz="1763"/>
            </a:lvl2pPr>
            <a:lvl3pPr marL="1008063" indent="0">
              <a:lnSpc>
                <a:spcPts val="2865"/>
              </a:lnSpc>
              <a:buNone/>
              <a:defRPr sz="1763"/>
            </a:lvl3pPr>
            <a:lvl4pPr marL="1512094" indent="0">
              <a:lnSpc>
                <a:spcPts val="2865"/>
              </a:lnSpc>
              <a:buNone/>
              <a:defRPr sz="1763"/>
            </a:lvl4pPr>
            <a:lvl5pPr marL="2016127" indent="0">
              <a:lnSpc>
                <a:spcPts val="2865"/>
              </a:lnSpc>
              <a:buNone/>
              <a:defRPr sz="1763"/>
            </a:lvl5pPr>
          </a:lstStyle>
          <a:p>
            <a:pPr lvl="0"/>
            <a:r>
              <a:rPr lang="en-US"/>
              <a:t>Click to add text</a:t>
            </a:r>
          </a:p>
        </p:txBody>
      </p:sp>
      <p:sp>
        <p:nvSpPr>
          <p:cNvPr id="11" name="Text Placeholder 7">
            <a:extLst>
              <a:ext uri="{FF2B5EF4-FFF2-40B4-BE49-F238E27FC236}">
                <a16:creationId xmlns:a16="http://schemas.microsoft.com/office/drawing/2014/main" id="{20D5E97E-C5D9-4025-B1B2-ADCE5B7643E1}"/>
              </a:ext>
            </a:extLst>
          </p:cNvPr>
          <p:cNvSpPr>
            <a:spLocks noGrp="1"/>
          </p:cNvSpPr>
          <p:nvPr>
            <p:ph type="body" sz="quarter" idx="16" hasCustomPrompt="1"/>
          </p:nvPr>
        </p:nvSpPr>
        <p:spPr>
          <a:xfrm>
            <a:off x="923988" y="3768453"/>
            <a:ext cx="4044129" cy="403183"/>
          </a:xfrm>
          <a:prstGeom prst="rect">
            <a:avLst/>
          </a:prstGeom>
        </p:spPr>
        <p:txBody>
          <a:bodyPr anchor="ctr" anchorCtr="0">
            <a:noAutofit/>
          </a:bodyPr>
          <a:lstStyle>
            <a:lvl1pPr marL="0" indent="0">
              <a:lnSpc>
                <a:spcPts val="2865"/>
              </a:lnSpc>
              <a:buNone/>
              <a:defRPr sz="1989" cap="all" baseline="0">
                <a:solidFill>
                  <a:schemeClr val="bg1">
                    <a:lumMod val="50000"/>
                  </a:schemeClr>
                </a:solidFill>
                <a:latin typeface="+mj-lt"/>
              </a:defRPr>
            </a:lvl1pPr>
            <a:lvl2pPr marL="504031" indent="0">
              <a:lnSpc>
                <a:spcPts val="2865"/>
              </a:lnSpc>
              <a:buNone/>
              <a:defRPr sz="1763"/>
            </a:lvl2pPr>
            <a:lvl3pPr marL="1008063" indent="0">
              <a:lnSpc>
                <a:spcPts val="2865"/>
              </a:lnSpc>
              <a:buNone/>
              <a:defRPr sz="1763"/>
            </a:lvl3pPr>
            <a:lvl4pPr marL="1512094" indent="0">
              <a:lnSpc>
                <a:spcPts val="2865"/>
              </a:lnSpc>
              <a:buNone/>
              <a:defRPr sz="1763"/>
            </a:lvl4pPr>
            <a:lvl5pPr marL="2016127" indent="0">
              <a:lnSpc>
                <a:spcPts val="2865"/>
              </a:lnSpc>
              <a:buNone/>
              <a:defRPr sz="1763"/>
            </a:lvl5pPr>
          </a:lstStyle>
          <a:p>
            <a:pPr lvl="0"/>
            <a:r>
              <a:rPr lang="en-US"/>
              <a:t>Click to add text</a:t>
            </a:r>
          </a:p>
        </p:txBody>
      </p:sp>
      <p:sp>
        <p:nvSpPr>
          <p:cNvPr id="10" name="Text Placeholder 7">
            <a:extLst>
              <a:ext uri="{FF2B5EF4-FFF2-40B4-BE49-F238E27FC236}">
                <a16:creationId xmlns:a16="http://schemas.microsoft.com/office/drawing/2014/main" id="{AC8171A7-4A62-4082-BB37-F060B1FAE2BF}"/>
              </a:ext>
            </a:extLst>
          </p:cNvPr>
          <p:cNvSpPr>
            <a:spLocks noGrp="1"/>
          </p:cNvSpPr>
          <p:nvPr>
            <p:ph type="body" sz="quarter" idx="15" hasCustomPrompt="1"/>
          </p:nvPr>
        </p:nvSpPr>
        <p:spPr>
          <a:xfrm>
            <a:off x="923988" y="4219377"/>
            <a:ext cx="4044129" cy="1310344"/>
          </a:xfrm>
          <a:prstGeom prst="rect">
            <a:avLst/>
          </a:prstGeom>
        </p:spPr>
        <p:txBody>
          <a:bodyPr>
            <a:normAutofit/>
          </a:bodyPr>
          <a:lstStyle>
            <a:lvl1pPr marL="0" indent="0">
              <a:lnSpc>
                <a:spcPts val="2207"/>
              </a:lnSpc>
              <a:spcBef>
                <a:spcPts val="0"/>
              </a:spcBef>
              <a:buNone/>
              <a:defRPr sz="1547"/>
            </a:lvl1pPr>
            <a:lvl2pPr marL="504031" indent="0">
              <a:lnSpc>
                <a:spcPts val="2865"/>
              </a:lnSpc>
              <a:buNone/>
              <a:defRPr sz="1763"/>
            </a:lvl2pPr>
            <a:lvl3pPr marL="1008063" indent="0">
              <a:lnSpc>
                <a:spcPts val="2865"/>
              </a:lnSpc>
              <a:buNone/>
              <a:defRPr sz="1763"/>
            </a:lvl3pPr>
            <a:lvl4pPr marL="1512094" indent="0">
              <a:lnSpc>
                <a:spcPts val="2865"/>
              </a:lnSpc>
              <a:buNone/>
              <a:defRPr sz="1763"/>
            </a:lvl4pPr>
            <a:lvl5pPr marL="2016127" indent="0">
              <a:lnSpc>
                <a:spcPts val="2865"/>
              </a:lnSpc>
              <a:buNone/>
              <a:defRPr sz="1763"/>
            </a:lvl5pPr>
          </a:lstStyle>
          <a:p>
            <a:pPr lvl="0"/>
            <a:r>
              <a:rPr lang="en-US"/>
              <a:t>Click to add text</a:t>
            </a:r>
          </a:p>
        </p:txBody>
      </p:sp>
      <p:sp>
        <p:nvSpPr>
          <p:cNvPr id="19" name="Text Placeholder 7">
            <a:extLst>
              <a:ext uri="{FF2B5EF4-FFF2-40B4-BE49-F238E27FC236}">
                <a16:creationId xmlns:a16="http://schemas.microsoft.com/office/drawing/2014/main" id="{8120F19B-6DB3-475E-9783-DE201F320A26}"/>
              </a:ext>
            </a:extLst>
          </p:cNvPr>
          <p:cNvSpPr>
            <a:spLocks noGrp="1"/>
          </p:cNvSpPr>
          <p:nvPr>
            <p:ph type="body" sz="quarter" idx="22" hasCustomPrompt="1"/>
          </p:nvPr>
        </p:nvSpPr>
        <p:spPr>
          <a:xfrm>
            <a:off x="923988" y="5637032"/>
            <a:ext cx="4044129" cy="403183"/>
          </a:xfrm>
          <a:prstGeom prst="rect">
            <a:avLst/>
          </a:prstGeom>
        </p:spPr>
        <p:txBody>
          <a:bodyPr anchor="ctr" anchorCtr="0">
            <a:noAutofit/>
          </a:bodyPr>
          <a:lstStyle>
            <a:lvl1pPr marL="0" indent="0">
              <a:lnSpc>
                <a:spcPts val="2865"/>
              </a:lnSpc>
              <a:buNone/>
              <a:defRPr sz="1989" cap="all" baseline="0">
                <a:solidFill>
                  <a:schemeClr val="bg1">
                    <a:lumMod val="50000"/>
                  </a:schemeClr>
                </a:solidFill>
                <a:latin typeface="+mj-lt"/>
              </a:defRPr>
            </a:lvl1pPr>
            <a:lvl2pPr marL="504031" indent="0">
              <a:lnSpc>
                <a:spcPts val="2865"/>
              </a:lnSpc>
              <a:buNone/>
              <a:defRPr sz="1763"/>
            </a:lvl2pPr>
            <a:lvl3pPr marL="1008063" indent="0">
              <a:lnSpc>
                <a:spcPts val="2865"/>
              </a:lnSpc>
              <a:buNone/>
              <a:defRPr sz="1763"/>
            </a:lvl3pPr>
            <a:lvl4pPr marL="1512094" indent="0">
              <a:lnSpc>
                <a:spcPts val="2865"/>
              </a:lnSpc>
              <a:buNone/>
              <a:defRPr sz="1763"/>
            </a:lvl4pPr>
            <a:lvl5pPr marL="2016127" indent="0">
              <a:lnSpc>
                <a:spcPts val="2865"/>
              </a:lnSpc>
              <a:buNone/>
              <a:defRPr sz="1763"/>
            </a:lvl5pPr>
          </a:lstStyle>
          <a:p>
            <a:pPr lvl="0"/>
            <a:r>
              <a:rPr lang="en-US"/>
              <a:t>Click to add text</a:t>
            </a:r>
          </a:p>
        </p:txBody>
      </p:sp>
      <p:sp>
        <p:nvSpPr>
          <p:cNvPr id="18" name="Text Placeholder 7">
            <a:extLst>
              <a:ext uri="{FF2B5EF4-FFF2-40B4-BE49-F238E27FC236}">
                <a16:creationId xmlns:a16="http://schemas.microsoft.com/office/drawing/2014/main" id="{0107D759-1ED0-454A-9073-F9259B9DD4C7}"/>
              </a:ext>
            </a:extLst>
          </p:cNvPr>
          <p:cNvSpPr>
            <a:spLocks noGrp="1"/>
          </p:cNvSpPr>
          <p:nvPr>
            <p:ph type="body" sz="quarter" idx="21" hasCustomPrompt="1"/>
          </p:nvPr>
        </p:nvSpPr>
        <p:spPr>
          <a:xfrm>
            <a:off x="923987" y="6108515"/>
            <a:ext cx="4035294" cy="834168"/>
          </a:xfrm>
          <a:prstGeom prst="rect">
            <a:avLst/>
          </a:prstGeom>
        </p:spPr>
        <p:txBody>
          <a:bodyPr>
            <a:normAutofit/>
          </a:bodyPr>
          <a:lstStyle>
            <a:lvl1pPr marL="0" indent="0">
              <a:lnSpc>
                <a:spcPts val="2207"/>
              </a:lnSpc>
              <a:spcBef>
                <a:spcPts val="0"/>
              </a:spcBef>
              <a:buNone/>
              <a:defRPr sz="1547"/>
            </a:lvl1pPr>
            <a:lvl2pPr marL="504031" indent="0">
              <a:lnSpc>
                <a:spcPts val="2865"/>
              </a:lnSpc>
              <a:buNone/>
              <a:defRPr sz="1763"/>
            </a:lvl2pPr>
            <a:lvl3pPr marL="1008063" indent="0">
              <a:lnSpc>
                <a:spcPts val="2865"/>
              </a:lnSpc>
              <a:buNone/>
              <a:defRPr sz="1763"/>
            </a:lvl3pPr>
            <a:lvl4pPr marL="1512094" indent="0">
              <a:lnSpc>
                <a:spcPts val="2865"/>
              </a:lnSpc>
              <a:buNone/>
              <a:defRPr sz="1763"/>
            </a:lvl4pPr>
            <a:lvl5pPr marL="2016127" indent="0">
              <a:lnSpc>
                <a:spcPts val="2865"/>
              </a:lnSpc>
              <a:buNone/>
              <a:defRPr sz="1763"/>
            </a:lvl5pPr>
          </a:lstStyle>
          <a:p>
            <a:pPr lvl="0"/>
            <a:r>
              <a:rPr lang="en-US"/>
              <a:t>Click to add text</a:t>
            </a:r>
          </a:p>
        </p:txBody>
      </p:sp>
      <p:sp>
        <p:nvSpPr>
          <p:cNvPr id="13" name="Text Placeholder 7">
            <a:extLst>
              <a:ext uri="{FF2B5EF4-FFF2-40B4-BE49-F238E27FC236}">
                <a16:creationId xmlns:a16="http://schemas.microsoft.com/office/drawing/2014/main" id="{C26712AD-A0C3-4DCE-B24C-BF72F5E4C647}"/>
              </a:ext>
            </a:extLst>
          </p:cNvPr>
          <p:cNvSpPr>
            <a:spLocks noGrp="1"/>
          </p:cNvSpPr>
          <p:nvPr>
            <p:ph type="body" sz="quarter" idx="18" hasCustomPrompt="1"/>
          </p:nvPr>
        </p:nvSpPr>
        <p:spPr>
          <a:xfrm>
            <a:off x="5445604" y="1861174"/>
            <a:ext cx="4031931" cy="403183"/>
          </a:xfrm>
          <a:prstGeom prst="rect">
            <a:avLst/>
          </a:prstGeom>
        </p:spPr>
        <p:txBody>
          <a:bodyPr anchor="ctr" anchorCtr="0">
            <a:noAutofit/>
          </a:bodyPr>
          <a:lstStyle>
            <a:lvl1pPr marL="0" indent="0">
              <a:lnSpc>
                <a:spcPts val="2865"/>
              </a:lnSpc>
              <a:buNone/>
              <a:defRPr sz="1989" cap="all" baseline="0">
                <a:solidFill>
                  <a:schemeClr val="bg1">
                    <a:lumMod val="50000"/>
                  </a:schemeClr>
                </a:solidFill>
                <a:latin typeface="+mj-lt"/>
              </a:defRPr>
            </a:lvl1pPr>
            <a:lvl2pPr marL="504031" indent="0">
              <a:lnSpc>
                <a:spcPts val="2865"/>
              </a:lnSpc>
              <a:buNone/>
              <a:defRPr sz="1763"/>
            </a:lvl2pPr>
            <a:lvl3pPr marL="1008063" indent="0">
              <a:lnSpc>
                <a:spcPts val="2865"/>
              </a:lnSpc>
              <a:buNone/>
              <a:defRPr sz="1763"/>
            </a:lvl3pPr>
            <a:lvl4pPr marL="1512094" indent="0">
              <a:lnSpc>
                <a:spcPts val="2865"/>
              </a:lnSpc>
              <a:buNone/>
              <a:defRPr sz="1763"/>
            </a:lvl4pPr>
            <a:lvl5pPr marL="2016127" indent="0">
              <a:lnSpc>
                <a:spcPts val="2865"/>
              </a:lnSpc>
              <a:buNone/>
              <a:defRPr sz="1763"/>
            </a:lvl5pPr>
          </a:lstStyle>
          <a:p>
            <a:pPr lvl="0"/>
            <a:r>
              <a:rPr lang="en-US"/>
              <a:t>Click to add text</a:t>
            </a:r>
          </a:p>
        </p:txBody>
      </p:sp>
      <p:sp>
        <p:nvSpPr>
          <p:cNvPr id="12" name="Text Placeholder 7">
            <a:extLst>
              <a:ext uri="{FF2B5EF4-FFF2-40B4-BE49-F238E27FC236}">
                <a16:creationId xmlns:a16="http://schemas.microsoft.com/office/drawing/2014/main" id="{A9CD05EF-84C2-444D-81A7-A4B7301F61CB}"/>
              </a:ext>
            </a:extLst>
          </p:cNvPr>
          <p:cNvSpPr>
            <a:spLocks noGrp="1"/>
          </p:cNvSpPr>
          <p:nvPr>
            <p:ph type="body" sz="quarter" idx="17" hasCustomPrompt="1"/>
          </p:nvPr>
        </p:nvSpPr>
        <p:spPr>
          <a:xfrm>
            <a:off x="5442243" y="2316517"/>
            <a:ext cx="4035294" cy="1310343"/>
          </a:xfrm>
          <a:prstGeom prst="rect">
            <a:avLst/>
          </a:prstGeom>
        </p:spPr>
        <p:txBody>
          <a:bodyPr>
            <a:normAutofit/>
          </a:bodyPr>
          <a:lstStyle>
            <a:lvl1pPr marL="0" indent="0">
              <a:lnSpc>
                <a:spcPts val="2207"/>
              </a:lnSpc>
              <a:spcBef>
                <a:spcPts val="0"/>
              </a:spcBef>
              <a:buNone/>
              <a:defRPr sz="1547"/>
            </a:lvl1pPr>
            <a:lvl2pPr marL="504031" indent="0">
              <a:lnSpc>
                <a:spcPts val="2865"/>
              </a:lnSpc>
              <a:buNone/>
              <a:defRPr sz="1763"/>
            </a:lvl2pPr>
            <a:lvl3pPr marL="1008063" indent="0">
              <a:lnSpc>
                <a:spcPts val="2865"/>
              </a:lnSpc>
              <a:buNone/>
              <a:defRPr sz="1763"/>
            </a:lvl3pPr>
            <a:lvl4pPr marL="1512094" indent="0">
              <a:lnSpc>
                <a:spcPts val="2865"/>
              </a:lnSpc>
              <a:buNone/>
              <a:defRPr sz="1763"/>
            </a:lvl4pPr>
            <a:lvl5pPr marL="2016127" indent="0">
              <a:lnSpc>
                <a:spcPts val="2865"/>
              </a:lnSpc>
              <a:buNone/>
              <a:defRPr sz="1763"/>
            </a:lvl5pPr>
          </a:lstStyle>
          <a:p>
            <a:pPr lvl="0"/>
            <a:r>
              <a:rPr lang="en-US"/>
              <a:t>Click to add text</a:t>
            </a:r>
          </a:p>
        </p:txBody>
      </p:sp>
      <p:sp>
        <p:nvSpPr>
          <p:cNvPr id="15" name="Text Placeholder 7">
            <a:extLst>
              <a:ext uri="{FF2B5EF4-FFF2-40B4-BE49-F238E27FC236}">
                <a16:creationId xmlns:a16="http://schemas.microsoft.com/office/drawing/2014/main" id="{6545C2F8-A3FD-49EE-AB32-908F2C67EFD6}"/>
              </a:ext>
            </a:extLst>
          </p:cNvPr>
          <p:cNvSpPr>
            <a:spLocks noGrp="1"/>
          </p:cNvSpPr>
          <p:nvPr>
            <p:ph type="body" sz="quarter" idx="20" hasCustomPrompt="1"/>
          </p:nvPr>
        </p:nvSpPr>
        <p:spPr>
          <a:xfrm>
            <a:off x="5442243" y="3779839"/>
            <a:ext cx="4044129" cy="402484"/>
          </a:xfrm>
          <a:prstGeom prst="rect">
            <a:avLst/>
          </a:prstGeom>
        </p:spPr>
        <p:txBody>
          <a:bodyPr anchor="ctr" anchorCtr="0">
            <a:noAutofit/>
          </a:bodyPr>
          <a:lstStyle>
            <a:lvl1pPr marL="0" indent="0">
              <a:lnSpc>
                <a:spcPts val="2865"/>
              </a:lnSpc>
              <a:buNone/>
              <a:defRPr sz="1989" cap="all" baseline="0">
                <a:solidFill>
                  <a:schemeClr val="bg1">
                    <a:lumMod val="50000"/>
                  </a:schemeClr>
                </a:solidFill>
                <a:latin typeface="+mj-lt"/>
              </a:defRPr>
            </a:lvl1pPr>
            <a:lvl2pPr marL="504031" indent="0">
              <a:lnSpc>
                <a:spcPts val="2865"/>
              </a:lnSpc>
              <a:buNone/>
              <a:defRPr sz="1763"/>
            </a:lvl2pPr>
            <a:lvl3pPr marL="1008063" indent="0">
              <a:lnSpc>
                <a:spcPts val="2865"/>
              </a:lnSpc>
              <a:buNone/>
              <a:defRPr sz="1763"/>
            </a:lvl3pPr>
            <a:lvl4pPr marL="1512094" indent="0">
              <a:lnSpc>
                <a:spcPts val="2865"/>
              </a:lnSpc>
              <a:buNone/>
              <a:defRPr sz="1763"/>
            </a:lvl4pPr>
            <a:lvl5pPr marL="2016127" indent="0">
              <a:lnSpc>
                <a:spcPts val="2865"/>
              </a:lnSpc>
              <a:buNone/>
              <a:defRPr sz="1763"/>
            </a:lvl5pPr>
          </a:lstStyle>
          <a:p>
            <a:pPr lvl="0"/>
            <a:r>
              <a:rPr lang="en-US"/>
              <a:t>Click to add text</a:t>
            </a:r>
          </a:p>
        </p:txBody>
      </p:sp>
      <p:sp>
        <p:nvSpPr>
          <p:cNvPr id="14" name="Text Placeholder 7">
            <a:extLst>
              <a:ext uri="{FF2B5EF4-FFF2-40B4-BE49-F238E27FC236}">
                <a16:creationId xmlns:a16="http://schemas.microsoft.com/office/drawing/2014/main" id="{759955F9-5A50-4ACB-AFC6-6B5497CEC879}"/>
              </a:ext>
            </a:extLst>
          </p:cNvPr>
          <p:cNvSpPr>
            <a:spLocks noGrp="1"/>
          </p:cNvSpPr>
          <p:nvPr>
            <p:ph type="body" sz="quarter" idx="19" hasCustomPrompt="1"/>
          </p:nvPr>
        </p:nvSpPr>
        <p:spPr>
          <a:xfrm>
            <a:off x="5442244" y="4219379"/>
            <a:ext cx="4031735" cy="1309724"/>
          </a:xfrm>
          <a:prstGeom prst="rect">
            <a:avLst/>
          </a:prstGeom>
        </p:spPr>
        <p:txBody>
          <a:bodyPr>
            <a:normAutofit/>
          </a:bodyPr>
          <a:lstStyle>
            <a:lvl1pPr marL="0" indent="0">
              <a:lnSpc>
                <a:spcPts val="2207"/>
              </a:lnSpc>
              <a:spcBef>
                <a:spcPts val="0"/>
              </a:spcBef>
              <a:buNone/>
              <a:defRPr sz="1547"/>
            </a:lvl1pPr>
            <a:lvl2pPr marL="504031" indent="0">
              <a:lnSpc>
                <a:spcPts val="2865"/>
              </a:lnSpc>
              <a:buNone/>
              <a:defRPr sz="1763"/>
            </a:lvl2pPr>
            <a:lvl3pPr marL="1008063" indent="0">
              <a:lnSpc>
                <a:spcPts val="2865"/>
              </a:lnSpc>
              <a:buNone/>
              <a:defRPr sz="1763"/>
            </a:lvl3pPr>
            <a:lvl4pPr marL="1512094" indent="0">
              <a:lnSpc>
                <a:spcPts val="2865"/>
              </a:lnSpc>
              <a:buNone/>
              <a:defRPr sz="1763"/>
            </a:lvl4pPr>
            <a:lvl5pPr marL="2016127" indent="0">
              <a:lnSpc>
                <a:spcPts val="2865"/>
              </a:lnSpc>
              <a:buNone/>
              <a:defRPr sz="1763"/>
            </a:lvl5pPr>
          </a:lstStyle>
          <a:p>
            <a:pPr lvl="0"/>
            <a:r>
              <a:rPr lang="en-US"/>
              <a:t>Click to add text</a:t>
            </a:r>
          </a:p>
        </p:txBody>
      </p:sp>
      <p:sp>
        <p:nvSpPr>
          <p:cNvPr id="4" name="Date Placeholder 3">
            <a:extLst>
              <a:ext uri="{FF2B5EF4-FFF2-40B4-BE49-F238E27FC236}">
                <a16:creationId xmlns:a16="http://schemas.microsoft.com/office/drawing/2014/main" id="{3EDAC16E-5725-4AC1-AB85-871F25D26688}"/>
              </a:ext>
            </a:extLst>
          </p:cNvPr>
          <p:cNvSpPr>
            <a:spLocks noGrp="1"/>
          </p:cNvSpPr>
          <p:nvPr>
            <p:ph type="dt" sz="half" idx="10"/>
          </p:nvPr>
        </p:nvSpPr>
        <p:spPr>
          <a:xfrm>
            <a:off x="923988" y="7006701"/>
            <a:ext cx="3023949" cy="402484"/>
          </a:xfrm>
          <a:prstGeom prst="rect">
            <a:avLst/>
          </a:prstGeom>
        </p:spPr>
        <p:txBody>
          <a:bodyPr/>
          <a:lstStyle/>
          <a:p>
            <a:endParaRPr lang="en-US"/>
          </a:p>
        </p:txBody>
      </p:sp>
      <p:sp>
        <p:nvSpPr>
          <p:cNvPr id="5" name="Footer Placeholder 4">
            <a:extLst>
              <a:ext uri="{FF2B5EF4-FFF2-40B4-BE49-F238E27FC236}">
                <a16:creationId xmlns:a16="http://schemas.microsoft.com/office/drawing/2014/main" id="{FD10B5D8-71E9-48DC-A04C-559359603CB0}"/>
              </a:ext>
            </a:extLst>
          </p:cNvPr>
          <p:cNvSpPr>
            <a:spLocks noGrp="1"/>
          </p:cNvSpPr>
          <p:nvPr>
            <p:ph type="ftr" sz="quarter" idx="11"/>
          </p:nvPr>
        </p:nvSpPr>
        <p:spPr>
          <a:xfrm>
            <a:off x="4451927" y="7006701"/>
            <a:ext cx="4535925" cy="402484"/>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A0FDD81F-9379-48E6-9B14-83486F920A39}"/>
              </a:ext>
            </a:extLst>
          </p:cNvPr>
          <p:cNvSpPr>
            <a:spLocks noGrp="1"/>
          </p:cNvSpPr>
          <p:nvPr>
            <p:ph type="sldNum" sz="quarter" idx="12"/>
          </p:nvPr>
        </p:nvSpPr>
        <p:spPr>
          <a:xfrm>
            <a:off x="9491845" y="7006701"/>
            <a:ext cx="3023949" cy="402484"/>
          </a:xfrm>
          <a:prstGeom prst="rect">
            <a:avLst/>
          </a:prstGeom>
        </p:spPr>
        <p:txBody>
          <a:bodyPr/>
          <a:lstStyle/>
          <a:p>
            <a:fld id="{B5CEABB6-07DC-46E8-9B57-56EC44A396E5}" type="slidenum">
              <a:rPr lang="en-US" smtClean="0"/>
              <a:t>‹№›</a:t>
            </a:fld>
            <a:endParaRPr lang="en-US"/>
          </a:p>
        </p:txBody>
      </p:sp>
      <p:pic>
        <p:nvPicPr>
          <p:cNvPr id="3" name="Picture 2">
            <a:extLst>
              <a:ext uri="{FF2B5EF4-FFF2-40B4-BE49-F238E27FC236}">
                <a16:creationId xmlns:a16="http://schemas.microsoft.com/office/drawing/2014/main" id="{4B32B98E-2172-E578-22C6-561C91F3D381}"/>
              </a:ext>
            </a:extLst>
          </p:cNvPr>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r="25402"/>
          <a:stretch/>
        </p:blipFill>
        <p:spPr bwMode="auto">
          <a:xfrm>
            <a:off x="3417983" y="0"/>
            <a:ext cx="10021796" cy="75596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4215938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_Заголовок и объект">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9"/>
          <p:cNvSpPr>
            <a:spLocks noGrp="1"/>
          </p:cNvSpPr>
          <p:nvPr>
            <p:ph type="title" hasCustomPrompt="1"/>
          </p:nvPr>
        </p:nvSpPr>
        <p:spPr>
          <a:xfrm>
            <a:off x="562552" y="441550"/>
            <a:ext cx="11053044" cy="415146"/>
          </a:xfrm>
          <a:prstGeom prst="rect">
            <a:avLst/>
          </a:prstGeom>
        </p:spPr>
        <p:txBody>
          <a:bodyPr>
            <a:noAutofit/>
          </a:bodyPr>
          <a:lstStyle>
            <a:lvl1pPr>
              <a:defRPr sz="2600" b="0" baseline="0">
                <a:solidFill>
                  <a:srgbClr val="000000"/>
                </a:solidFill>
                <a:latin typeface="+mj-lt"/>
              </a:defRPr>
            </a:lvl1pPr>
          </a:lstStyle>
          <a:p>
            <a:r>
              <a:rPr lang="en-US"/>
              <a:t>Slide title</a:t>
            </a:r>
            <a:endParaRPr lang="ru-RU"/>
          </a:p>
        </p:txBody>
      </p:sp>
      <p:sp>
        <p:nvSpPr>
          <p:cNvPr id="6" name="Содержимое 2"/>
          <p:cNvSpPr>
            <a:spLocks noGrp="1"/>
          </p:cNvSpPr>
          <p:nvPr>
            <p:ph idx="1" hasCustomPrompt="1"/>
          </p:nvPr>
        </p:nvSpPr>
        <p:spPr>
          <a:xfrm>
            <a:off x="552696" y="952186"/>
            <a:ext cx="12411865" cy="5830641"/>
          </a:xfrm>
          <a:prstGeom prst="rect">
            <a:avLst/>
          </a:prstGeom>
        </p:spPr>
        <p:txBody>
          <a:bodyPr/>
          <a:lstStyle>
            <a:lvl1pPr>
              <a:defRPr sz="2400">
                <a:solidFill>
                  <a:srgbClr val="000000"/>
                </a:solidFill>
                <a:latin typeface="+mn-lt"/>
              </a:defRPr>
            </a:lvl1pPr>
            <a:lvl2pPr>
              <a:defRPr sz="2000">
                <a:solidFill>
                  <a:srgbClr val="000000"/>
                </a:solidFill>
                <a:latin typeface="+mn-lt"/>
              </a:defRPr>
            </a:lvl2pPr>
            <a:lvl3pPr>
              <a:defRPr sz="1600">
                <a:solidFill>
                  <a:srgbClr val="000000"/>
                </a:solidFill>
                <a:latin typeface="+mn-lt"/>
              </a:defRPr>
            </a:lvl3pPr>
            <a:lvl4pPr>
              <a:defRPr sz="1400">
                <a:solidFill>
                  <a:srgbClr val="000000"/>
                </a:solidFill>
                <a:latin typeface="+mn-lt"/>
              </a:defRPr>
            </a:lvl4pPr>
            <a:lvl5pPr>
              <a:defRPr sz="1200">
                <a:solidFill>
                  <a:srgbClr val="000000"/>
                </a:solidFill>
                <a:latin typeface="+mn-lt"/>
              </a:defRPr>
            </a:lvl5pPr>
          </a:lstStyle>
          <a:p>
            <a:pPr lvl="0"/>
            <a:r>
              <a:rPr lang="en-US"/>
              <a:t>Sample text</a:t>
            </a:r>
            <a:endParaRPr lang="ru-RU"/>
          </a:p>
          <a:p>
            <a:pPr lvl="1"/>
            <a:r>
              <a:rPr lang="en-US"/>
              <a:t>Second level</a:t>
            </a:r>
            <a:endParaRPr lang="ru-RU"/>
          </a:p>
          <a:p>
            <a:pPr lvl="2"/>
            <a:r>
              <a:rPr lang="en-US"/>
              <a:t>Third level</a:t>
            </a:r>
            <a:endParaRPr lang="ru-RU"/>
          </a:p>
          <a:p>
            <a:pPr lvl="3"/>
            <a:r>
              <a:rPr lang="en-US"/>
              <a:t>Fourth level</a:t>
            </a:r>
            <a:endParaRPr lang="ru-RU"/>
          </a:p>
          <a:p>
            <a:pPr lvl="4"/>
            <a:r>
              <a:rPr lang="en-US"/>
              <a:t>Fifth level</a:t>
            </a:r>
            <a:endParaRPr lang="ru-RU"/>
          </a:p>
        </p:txBody>
      </p:sp>
    </p:spTree>
    <p:extLst>
      <p:ext uri="{BB962C8B-B14F-4D97-AF65-F5344CB8AC3E}">
        <p14:creationId xmlns:p14="http://schemas.microsoft.com/office/powerpoint/2010/main" val="1427788879"/>
      </p:ext>
    </p:extLst>
  </p:cSld>
  <p:clrMapOvr>
    <a:masterClrMapping/>
  </p:clrMapOvr>
  <p:extLst>
    <p:ext uri="{DCECCB84-F9BA-43D5-87BE-67443E8EF086}">
      <p15:sldGuideLst xmlns:p15="http://schemas.microsoft.com/office/powerpoint/2012/main">
        <p15:guide id="1" orient="horz" pos="2381" userDrawn="1">
          <p15:clr>
            <a:srgbClr val="FBAE40"/>
          </p15:clr>
        </p15:guide>
        <p15:guide id="2" pos="4233"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4_Solu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AE12D1-08AF-45E9-A34A-BDE9E860BAA2}"/>
              </a:ext>
            </a:extLst>
          </p:cNvPr>
          <p:cNvSpPr>
            <a:spLocks noGrp="1"/>
          </p:cNvSpPr>
          <p:nvPr>
            <p:ph type="title" hasCustomPrompt="1"/>
          </p:nvPr>
        </p:nvSpPr>
        <p:spPr>
          <a:xfrm>
            <a:off x="6630773" y="173433"/>
            <a:ext cx="6249495" cy="1361922"/>
          </a:xfrm>
          <a:prstGeom prst="rect">
            <a:avLst/>
          </a:prstGeom>
        </p:spPr>
        <p:txBody>
          <a:bodyPr anchor="b" anchorCtr="0"/>
          <a:lstStyle>
            <a:lvl1pPr>
              <a:defRPr cap="all" baseline="0"/>
            </a:lvl1pPr>
          </a:lstStyle>
          <a:p>
            <a:r>
              <a:rPr lang="en-US"/>
              <a:t>CLICK TO add TITLE</a:t>
            </a:r>
          </a:p>
        </p:txBody>
      </p:sp>
      <p:sp>
        <p:nvSpPr>
          <p:cNvPr id="11" name="Text Placeholder 7">
            <a:extLst>
              <a:ext uri="{FF2B5EF4-FFF2-40B4-BE49-F238E27FC236}">
                <a16:creationId xmlns:a16="http://schemas.microsoft.com/office/drawing/2014/main" id="{7C8A1D56-1555-4374-8016-842861FD554F}"/>
              </a:ext>
            </a:extLst>
          </p:cNvPr>
          <p:cNvSpPr>
            <a:spLocks noGrp="1"/>
          </p:cNvSpPr>
          <p:nvPr>
            <p:ph type="body" sz="quarter" idx="14" hasCustomPrompt="1"/>
          </p:nvPr>
        </p:nvSpPr>
        <p:spPr>
          <a:xfrm>
            <a:off x="6630773" y="1864724"/>
            <a:ext cx="6249495" cy="403183"/>
          </a:xfrm>
          <a:prstGeom prst="rect">
            <a:avLst/>
          </a:prstGeom>
        </p:spPr>
        <p:txBody>
          <a:bodyPr anchor="ctr" anchorCtr="0">
            <a:noAutofit/>
          </a:bodyPr>
          <a:lstStyle>
            <a:lvl1pPr marL="0" indent="0">
              <a:lnSpc>
                <a:spcPts val="2865"/>
              </a:lnSpc>
              <a:buNone/>
              <a:defRPr sz="1989" cap="all" baseline="0">
                <a:solidFill>
                  <a:schemeClr val="bg1">
                    <a:lumMod val="50000"/>
                  </a:schemeClr>
                </a:solidFill>
                <a:latin typeface="+mj-lt"/>
              </a:defRPr>
            </a:lvl1pPr>
            <a:lvl2pPr marL="504031" indent="0">
              <a:lnSpc>
                <a:spcPts val="2865"/>
              </a:lnSpc>
              <a:buNone/>
              <a:defRPr sz="1763"/>
            </a:lvl2pPr>
            <a:lvl3pPr marL="1008063" indent="0">
              <a:lnSpc>
                <a:spcPts val="2865"/>
              </a:lnSpc>
              <a:buNone/>
              <a:defRPr sz="1763"/>
            </a:lvl3pPr>
            <a:lvl4pPr marL="1512094" indent="0">
              <a:lnSpc>
                <a:spcPts val="2865"/>
              </a:lnSpc>
              <a:buNone/>
              <a:defRPr sz="1763"/>
            </a:lvl4pPr>
            <a:lvl5pPr marL="2016127" indent="0">
              <a:lnSpc>
                <a:spcPts val="2865"/>
              </a:lnSpc>
              <a:buNone/>
              <a:defRPr sz="1763"/>
            </a:lvl5pPr>
          </a:lstStyle>
          <a:p>
            <a:pPr lvl="0"/>
            <a:r>
              <a:rPr lang="en-US"/>
              <a:t>Click to add text</a:t>
            </a:r>
          </a:p>
        </p:txBody>
      </p:sp>
      <p:sp>
        <p:nvSpPr>
          <p:cNvPr id="10" name="Text Placeholder 7">
            <a:extLst>
              <a:ext uri="{FF2B5EF4-FFF2-40B4-BE49-F238E27FC236}">
                <a16:creationId xmlns:a16="http://schemas.microsoft.com/office/drawing/2014/main" id="{8CAA5FDF-024E-4518-94A8-CCFF36F61770}"/>
              </a:ext>
            </a:extLst>
          </p:cNvPr>
          <p:cNvSpPr>
            <a:spLocks noGrp="1"/>
          </p:cNvSpPr>
          <p:nvPr>
            <p:ph type="body" sz="quarter" idx="13" hasCustomPrompt="1"/>
          </p:nvPr>
        </p:nvSpPr>
        <p:spPr>
          <a:xfrm>
            <a:off x="6630773" y="2318300"/>
            <a:ext cx="6249495" cy="705570"/>
          </a:xfrm>
          <a:prstGeom prst="rect">
            <a:avLst/>
          </a:prstGeom>
        </p:spPr>
        <p:txBody>
          <a:bodyPr>
            <a:normAutofit/>
          </a:bodyPr>
          <a:lstStyle>
            <a:lvl1pPr marL="0" indent="0">
              <a:lnSpc>
                <a:spcPts val="2207"/>
              </a:lnSpc>
              <a:spcBef>
                <a:spcPts val="0"/>
              </a:spcBef>
              <a:buNone/>
              <a:defRPr sz="1547"/>
            </a:lvl1pPr>
            <a:lvl2pPr marL="504031" indent="0">
              <a:lnSpc>
                <a:spcPts val="2865"/>
              </a:lnSpc>
              <a:buNone/>
              <a:defRPr sz="1763"/>
            </a:lvl2pPr>
            <a:lvl3pPr marL="1008063" indent="0">
              <a:lnSpc>
                <a:spcPts val="2865"/>
              </a:lnSpc>
              <a:buNone/>
              <a:defRPr sz="1763"/>
            </a:lvl3pPr>
            <a:lvl4pPr marL="1512094" indent="0">
              <a:lnSpc>
                <a:spcPts val="2865"/>
              </a:lnSpc>
              <a:buNone/>
              <a:defRPr sz="1763"/>
            </a:lvl4pPr>
            <a:lvl5pPr marL="2016127" indent="0">
              <a:lnSpc>
                <a:spcPts val="2865"/>
              </a:lnSpc>
              <a:buNone/>
              <a:defRPr sz="1763"/>
            </a:lvl5pPr>
          </a:lstStyle>
          <a:p>
            <a:pPr lvl="0"/>
            <a:r>
              <a:rPr lang="en-US"/>
              <a:t>Click to add text</a:t>
            </a:r>
          </a:p>
        </p:txBody>
      </p:sp>
      <p:sp>
        <p:nvSpPr>
          <p:cNvPr id="13" name="Text Placeholder 7">
            <a:extLst>
              <a:ext uri="{FF2B5EF4-FFF2-40B4-BE49-F238E27FC236}">
                <a16:creationId xmlns:a16="http://schemas.microsoft.com/office/drawing/2014/main" id="{F88E22F4-8FE4-4E59-A16B-40858C5C60FC}"/>
              </a:ext>
            </a:extLst>
          </p:cNvPr>
          <p:cNvSpPr>
            <a:spLocks noGrp="1"/>
          </p:cNvSpPr>
          <p:nvPr>
            <p:ph type="body" sz="quarter" idx="16" hasCustomPrompt="1"/>
          </p:nvPr>
        </p:nvSpPr>
        <p:spPr>
          <a:xfrm>
            <a:off x="6630773" y="3082084"/>
            <a:ext cx="6249495" cy="403183"/>
          </a:xfrm>
          <a:prstGeom prst="rect">
            <a:avLst/>
          </a:prstGeom>
        </p:spPr>
        <p:txBody>
          <a:bodyPr anchor="ctr" anchorCtr="0">
            <a:noAutofit/>
          </a:bodyPr>
          <a:lstStyle>
            <a:lvl1pPr marL="0" indent="0">
              <a:lnSpc>
                <a:spcPts val="2865"/>
              </a:lnSpc>
              <a:buNone/>
              <a:defRPr sz="1989" cap="all" baseline="0">
                <a:solidFill>
                  <a:schemeClr val="bg1">
                    <a:lumMod val="50000"/>
                  </a:schemeClr>
                </a:solidFill>
                <a:latin typeface="+mj-lt"/>
              </a:defRPr>
            </a:lvl1pPr>
            <a:lvl2pPr marL="504031" indent="0">
              <a:lnSpc>
                <a:spcPts val="2865"/>
              </a:lnSpc>
              <a:buNone/>
              <a:defRPr sz="1763"/>
            </a:lvl2pPr>
            <a:lvl3pPr marL="1008063" indent="0">
              <a:lnSpc>
                <a:spcPts val="2865"/>
              </a:lnSpc>
              <a:buNone/>
              <a:defRPr sz="1763"/>
            </a:lvl3pPr>
            <a:lvl4pPr marL="1512094" indent="0">
              <a:lnSpc>
                <a:spcPts val="2865"/>
              </a:lnSpc>
              <a:buNone/>
              <a:defRPr sz="1763"/>
            </a:lvl4pPr>
            <a:lvl5pPr marL="2016127" indent="0">
              <a:lnSpc>
                <a:spcPts val="2865"/>
              </a:lnSpc>
              <a:buNone/>
              <a:defRPr sz="1763"/>
            </a:lvl5pPr>
          </a:lstStyle>
          <a:p>
            <a:pPr lvl="0"/>
            <a:r>
              <a:rPr lang="en-US"/>
              <a:t>Click to add text</a:t>
            </a:r>
          </a:p>
        </p:txBody>
      </p:sp>
      <p:sp>
        <p:nvSpPr>
          <p:cNvPr id="12" name="Text Placeholder 7">
            <a:extLst>
              <a:ext uri="{FF2B5EF4-FFF2-40B4-BE49-F238E27FC236}">
                <a16:creationId xmlns:a16="http://schemas.microsoft.com/office/drawing/2014/main" id="{A9FD7831-866F-4D83-9851-7C1EC44256F9}"/>
              </a:ext>
            </a:extLst>
          </p:cNvPr>
          <p:cNvSpPr>
            <a:spLocks noGrp="1"/>
          </p:cNvSpPr>
          <p:nvPr>
            <p:ph type="body" sz="quarter" idx="15" hasCustomPrompt="1"/>
          </p:nvPr>
        </p:nvSpPr>
        <p:spPr>
          <a:xfrm>
            <a:off x="6630773" y="3545744"/>
            <a:ext cx="6249495" cy="657440"/>
          </a:xfrm>
          <a:prstGeom prst="rect">
            <a:avLst/>
          </a:prstGeom>
        </p:spPr>
        <p:txBody>
          <a:bodyPr>
            <a:normAutofit/>
          </a:bodyPr>
          <a:lstStyle>
            <a:lvl1pPr marL="0" indent="0">
              <a:lnSpc>
                <a:spcPts val="2207"/>
              </a:lnSpc>
              <a:spcBef>
                <a:spcPts val="0"/>
              </a:spcBef>
              <a:buNone/>
              <a:defRPr sz="1547"/>
            </a:lvl1pPr>
            <a:lvl2pPr marL="504031" indent="0">
              <a:lnSpc>
                <a:spcPts val="2865"/>
              </a:lnSpc>
              <a:buNone/>
              <a:defRPr sz="1763"/>
            </a:lvl2pPr>
            <a:lvl3pPr marL="1008063" indent="0">
              <a:lnSpc>
                <a:spcPts val="2865"/>
              </a:lnSpc>
              <a:buNone/>
              <a:defRPr sz="1763"/>
            </a:lvl3pPr>
            <a:lvl4pPr marL="1512094" indent="0">
              <a:lnSpc>
                <a:spcPts val="2865"/>
              </a:lnSpc>
              <a:buNone/>
              <a:defRPr sz="1763"/>
            </a:lvl4pPr>
            <a:lvl5pPr marL="2016127" indent="0">
              <a:lnSpc>
                <a:spcPts val="2865"/>
              </a:lnSpc>
              <a:buNone/>
              <a:defRPr sz="1763"/>
            </a:lvl5pPr>
          </a:lstStyle>
          <a:p>
            <a:pPr lvl="0"/>
            <a:r>
              <a:rPr lang="en-US"/>
              <a:t>Click to add text</a:t>
            </a:r>
          </a:p>
        </p:txBody>
      </p:sp>
      <p:sp>
        <p:nvSpPr>
          <p:cNvPr id="20" name="Text Placeholder 7">
            <a:extLst>
              <a:ext uri="{FF2B5EF4-FFF2-40B4-BE49-F238E27FC236}">
                <a16:creationId xmlns:a16="http://schemas.microsoft.com/office/drawing/2014/main" id="{3B3F01A4-87E3-450B-951E-0784E7C2B6DA}"/>
              </a:ext>
            </a:extLst>
          </p:cNvPr>
          <p:cNvSpPr>
            <a:spLocks noGrp="1"/>
          </p:cNvSpPr>
          <p:nvPr>
            <p:ph type="body" sz="quarter" idx="18" hasCustomPrompt="1"/>
          </p:nvPr>
        </p:nvSpPr>
        <p:spPr>
          <a:xfrm>
            <a:off x="6630773" y="4253581"/>
            <a:ext cx="6249495" cy="403183"/>
          </a:xfrm>
          <a:prstGeom prst="rect">
            <a:avLst/>
          </a:prstGeom>
        </p:spPr>
        <p:txBody>
          <a:bodyPr anchor="ctr" anchorCtr="0">
            <a:noAutofit/>
          </a:bodyPr>
          <a:lstStyle>
            <a:lvl1pPr marL="0" indent="0">
              <a:lnSpc>
                <a:spcPts val="2865"/>
              </a:lnSpc>
              <a:buNone/>
              <a:defRPr sz="1989" cap="all" baseline="0">
                <a:solidFill>
                  <a:schemeClr val="bg1">
                    <a:lumMod val="50000"/>
                  </a:schemeClr>
                </a:solidFill>
                <a:latin typeface="+mj-lt"/>
              </a:defRPr>
            </a:lvl1pPr>
            <a:lvl2pPr marL="504031" indent="0">
              <a:lnSpc>
                <a:spcPts val="2865"/>
              </a:lnSpc>
              <a:buNone/>
              <a:defRPr sz="1763"/>
            </a:lvl2pPr>
            <a:lvl3pPr marL="1008063" indent="0">
              <a:lnSpc>
                <a:spcPts val="2865"/>
              </a:lnSpc>
              <a:buNone/>
              <a:defRPr sz="1763"/>
            </a:lvl3pPr>
            <a:lvl4pPr marL="1512094" indent="0">
              <a:lnSpc>
                <a:spcPts val="2865"/>
              </a:lnSpc>
              <a:buNone/>
              <a:defRPr sz="1763"/>
            </a:lvl4pPr>
            <a:lvl5pPr marL="2016127" indent="0">
              <a:lnSpc>
                <a:spcPts val="2865"/>
              </a:lnSpc>
              <a:buNone/>
              <a:defRPr sz="1763"/>
            </a:lvl5pPr>
          </a:lstStyle>
          <a:p>
            <a:pPr lvl="0"/>
            <a:r>
              <a:rPr lang="en-US"/>
              <a:t>Click to add text</a:t>
            </a:r>
          </a:p>
        </p:txBody>
      </p:sp>
      <p:sp>
        <p:nvSpPr>
          <p:cNvPr id="19" name="Text Placeholder 7">
            <a:extLst>
              <a:ext uri="{FF2B5EF4-FFF2-40B4-BE49-F238E27FC236}">
                <a16:creationId xmlns:a16="http://schemas.microsoft.com/office/drawing/2014/main" id="{270A9661-E377-43D7-96E8-70CD35163958}"/>
              </a:ext>
            </a:extLst>
          </p:cNvPr>
          <p:cNvSpPr>
            <a:spLocks noGrp="1"/>
          </p:cNvSpPr>
          <p:nvPr>
            <p:ph type="body" sz="quarter" idx="17" hasCustomPrompt="1"/>
          </p:nvPr>
        </p:nvSpPr>
        <p:spPr>
          <a:xfrm>
            <a:off x="6630773" y="4707162"/>
            <a:ext cx="6249495" cy="711374"/>
          </a:xfrm>
          <a:prstGeom prst="rect">
            <a:avLst/>
          </a:prstGeom>
        </p:spPr>
        <p:txBody>
          <a:bodyPr>
            <a:normAutofit/>
          </a:bodyPr>
          <a:lstStyle>
            <a:lvl1pPr marL="0" indent="0">
              <a:lnSpc>
                <a:spcPts val="2207"/>
              </a:lnSpc>
              <a:spcBef>
                <a:spcPts val="0"/>
              </a:spcBef>
              <a:buNone/>
              <a:defRPr sz="1547"/>
            </a:lvl1pPr>
            <a:lvl2pPr marL="504031" indent="0">
              <a:lnSpc>
                <a:spcPts val="2865"/>
              </a:lnSpc>
              <a:buNone/>
              <a:defRPr sz="1763"/>
            </a:lvl2pPr>
            <a:lvl3pPr marL="1008063" indent="0">
              <a:lnSpc>
                <a:spcPts val="2865"/>
              </a:lnSpc>
              <a:buNone/>
              <a:defRPr sz="1763"/>
            </a:lvl3pPr>
            <a:lvl4pPr marL="1512094" indent="0">
              <a:lnSpc>
                <a:spcPts val="2865"/>
              </a:lnSpc>
              <a:buNone/>
              <a:defRPr sz="1763"/>
            </a:lvl4pPr>
            <a:lvl5pPr marL="2016127" indent="0">
              <a:lnSpc>
                <a:spcPts val="2865"/>
              </a:lnSpc>
              <a:buNone/>
              <a:defRPr sz="1763"/>
            </a:lvl5pPr>
          </a:lstStyle>
          <a:p>
            <a:pPr lvl="0"/>
            <a:r>
              <a:rPr lang="en-US"/>
              <a:t>Click to add text</a:t>
            </a:r>
          </a:p>
        </p:txBody>
      </p:sp>
      <p:sp>
        <p:nvSpPr>
          <p:cNvPr id="22" name="Text Placeholder 7">
            <a:extLst>
              <a:ext uri="{FF2B5EF4-FFF2-40B4-BE49-F238E27FC236}">
                <a16:creationId xmlns:a16="http://schemas.microsoft.com/office/drawing/2014/main" id="{AF629732-FB4B-4F7C-85A0-756352911849}"/>
              </a:ext>
            </a:extLst>
          </p:cNvPr>
          <p:cNvSpPr>
            <a:spLocks noGrp="1"/>
          </p:cNvSpPr>
          <p:nvPr>
            <p:ph type="body" sz="quarter" idx="20" hasCustomPrompt="1"/>
          </p:nvPr>
        </p:nvSpPr>
        <p:spPr>
          <a:xfrm>
            <a:off x="6630773" y="5476913"/>
            <a:ext cx="6249495" cy="403183"/>
          </a:xfrm>
          <a:prstGeom prst="rect">
            <a:avLst/>
          </a:prstGeom>
        </p:spPr>
        <p:txBody>
          <a:bodyPr anchor="ctr" anchorCtr="0">
            <a:noAutofit/>
          </a:bodyPr>
          <a:lstStyle>
            <a:lvl1pPr marL="0" indent="0">
              <a:lnSpc>
                <a:spcPts val="2865"/>
              </a:lnSpc>
              <a:buNone/>
              <a:defRPr sz="1989" cap="all" baseline="0">
                <a:solidFill>
                  <a:schemeClr val="bg1">
                    <a:lumMod val="50000"/>
                  </a:schemeClr>
                </a:solidFill>
                <a:latin typeface="+mj-lt"/>
              </a:defRPr>
            </a:lvl1pPr>
            <a:lvl2pPr marL="504031" indent="0">
              <a:lnSpc>
                <a:spcPts val="2865"/>
              </a:lnSpc>
              <a:buNone/>
              <a:defRPr sz="1763"/>
            </a:lvl2pPr>
            <a:lvl3pPr marL="1008063" indent="0">
              <a:lnSpc>
                <a:spcPts val="2865"/>
              </a:lnSpc>
              <a:buNone/>
              <a:defRPr sz="1763"/>
            </a:lvl3pPr>
            <a:lvl4pPr marL="1512094" indent="0">
              <a:lnSpc>
                <a:spcPts val="2865"/>
              </a:lnSpc>
              <a:buNone/>
              <a:defRPr sz="1763"/>
            </a:lvl4pPr>
            <a:lvl5pPr marL="2016127" indent="0">
              <a:lnSpc>
                <a:spcPts val="2865"/>
              </a:lnSpc>
              <a:buNone/>
              <a:defRPr sz="1763"/>
            </a:lvl5pPr>
          </a:lstStyle>
          <a:p>
            <a:pPr lvl="0"/>
            <a:r>
              <a:rPr lang="en-US"/>
              <a:t>Click to add text</a:t>
            </a:r>
          </a:p>
        </p:txBody>
      </p:sp>
      <p:sp>
        <p:nvSpPr>
          <p:cNvPr id="21" name="Text Placeholder 7">
            <a:extLst>
              <a:ext uri="{FF2B5EF4-FFF2-40B4-BE49-F238E27FC236}">
                <a16:creationId xmlns:a16="http://schemas.microsoft.com/office/drawing/2014/main" id="{07183A59-7582-4A62-94A7-0FC05D4E3F13}"/>
              </a:ext>
            </a:extLst>
          </p:cNvPr>
          <p:cNvSpPr>
            <a:spLocks noGrp="1"/>
          </p:cNvSpPr>
          <p:nvPr>
            <p:ph type="body" sz="quarter" idx="19" hasCustomPrompt="1"/>
          </p:nvPr>
        </p:nvSpPr>
        <p:spPr>
          <a:xfrm>
            <a:off x="6630773" y="5930078"/>
            <a:ext cx="6249495" cy="705570"/>
          </a:xfrm>
          <a:prstGeom prst="rect">
            <a:avLst/>
          </a:prstGeom>
        </p:spPr>
        <p:txBody>
          <a:bodyPr>
            <a:normAutofit/>
          </a:bodyPr>
          <a:lstStyle>
            <a:lvl1pPr marL="0" indent="0">
              <a:lnSpc>
                <a:spcPts val="2207"/>
              </a:lnSpc>
              <a:spcBef>
                <a:spcPts val="0"/>
              </a:spcBef>
              <a:buNone/>
              <a:defRPr sz="1547"/>
            </a:lvl1pPr>
            <a:lvl2pPr marL="504031" indent="0">
              <a:lnSpc>
                <a:spcPts val="2865"/>
              </a:lnSpc>
              <a:buNone/>
              <a:defRPr sz="1763"/>
            </a:lvl2pPr>
            <a:lvl3pPr marL="1008063" indent="0">
              <a:lnSpc>
                <a:spcPts val="2865"/>
              </a:lnSpc>
              <a:buNone/>
              <a:defRPr sz="1763"/>
            </a:lvl3pPr>
            <a:lvl4pPr marL="1512094" indent="0">
              <a:lnSpc>
                <a:spcPts val="2865"/>
              </a:lnSpc>
              <a:buNone/>
              <a:defRPr sz="1763"/>
            </a:lvl4pPr>
            <a:lvl5pPr marL="2016127" indent="0">
              <a:lnSpc>
                <a:spcPts val="2865"/>
              </a:lnSpc>
              <a:buNone/>
              <a:defRPr sz="1763"/>
            </a:lvl5pPr>
          </a:lstStyle>
          <a:p>
            <a:pPr lvl="0"/>
            <a:r>
              <a:rPr lang="en-US"/>
              <a:t>Click to add text</a:t>
            </a:r>
          </a:p>
        </p:txBody>
      </p:sp>
      <p:sp>
        <p:nvSpPr>
          <p:cNvPr id="4" name="Date Placeholder 3">
            <a:extLst>
              <a:ext uri="{FF2B5EF4-FFF2-40B4-BE49-F238E27FC236}">
                <a16:creationId xmlns:a16="http://schemas.microsoft.com/office/drawing/2014/main" id="{3EDAC16E-5725-4AC1-AB85-871F25D26688}"/>
              </a:ext>
            </a:extLst>
          </p:cNvPr>
          <p:cNvSpPr>
            <a:spLocks noGrp="1"/>
          </p:cNvSpPr>
          <p:nvPr>
            <p:ph type="dt" sz="half" idx="10"/>
          </p:nvPr>
        </p:nvSpPr>
        <p:spPr>
          <a:xfrm>
            <a:off x="923988" y="7006701"/>
            <a:ext cx="3023949" cy="402484"/>
          </a:xfrm>
          <a:prstGeom prst="rect">
            <a:avLst/>
          </a:prstGeom>
        </p:spPr>
        <p:txBody>
          <a:bodyPr/>
          <a:lstStyle/>
          <a:p>
            <a:endParaRPr lang="en-US"/>
          </a:p>
        </p:txBody>
      </p:sp>
      <p:sp>
        <p:nvSpPr>
          <p:cNvPr id="15" name="Footer Placeholder 4">
            <a:extLst>
              <a:ext uri="{FF2B5EF4-FFF2-40B4-BE49-F238E27FC236}">
                <a16:creationId xmlns:a16="http://schemas.microsoft.com/office/drawing/2014/main" id="{EF9214E9-6126-4AC1-90E2-D969038661B4}"/>
              </a:ext>
            </a:extLst>
          </p:cNvPr>
          <p:cNvSpPr>
            <a:spLocks noGrp="1"/>
          </p:cNvSpPr>
          <p:nvPr>
            <p:ph type="ftr" sz="quarter" idx="11"/>
          </p:nvPr>
        </p:nvSpPr>
        <p:spPr>
          <a:xfrm>
            <a:off x="6630774" y="7006701"/>
            <a:ext cx="3326344" cy="402484"/>
          </a:xfrm>
          <a:prstGeom prst="rect">
            <a:avLst/>
          </a:prstGeom>
        </p:spPr>
        <p:txBody>
          <a:bodyPr/>
          <a:lstStyle>
            <a:lvl1pPr algn="l">
              <a:defRPr/>
            </a:lvl1pPr>
          </a:lstStyle>
          <a:p>
            <a:endParaRPr lang="en-US"/>
          </a:p>
        </p:txBody>
      </p:sp>
      <p:sp>
        <p:nvSpPr>
          <p:cNvPr id="16" name="Slide Number Placeholder 5">
            <a:extLst>
              <a:ext uri="{FF2B5EF4-FFF2-40B4-BE49-F238E27FC236}">
                <a16:creationId xmlns:a16="http://schemas.microsoft.com/office/drawing/2014/main" id="{F79F1588-A4C7-4DC1-A75C-D24B4A0CAA28}"/>
              </a:ext>
            </a:extLst>
          </p:cNvPr>
          <p:cNvSpPr>
            <a:spLocks noGrp="1"/>
          </p:cNvSpPr>
          <p:nvPr>
            <p:ph type="sldNum" sz="quarter" idx="12"/>
          </p:nvPr>
        </p:nvSpPr>
        <p:spPr>
          <a:xfrm>
            <a:off x="11095845" y="7006701"/>
            <a:ext cx="1814371" cy="402484"/>
          </a:xfrm>
          <a:prstGeom prst="rect">
            <a:avLst/>
          </a:prstGeom>
        </p:spPr>
        <p:txBody>
          <a:bodyPr/>
          <a:lstStyle/>
          <a:p>
            <a:fld id="{B5CEABB6-07DC-46E8-9B57-56EC44A396E5}" type="slidenum">
              <a:rPr lang="en-US" smtClean="0"/>
              <a:t>‹№›</a:t>
            </a:fld>
            <a:endParaRPr lang="en-US"/>
          </a:p>
        </p:txBody>
      </p:sp>
      <p:pic>
        <p:nvPicPr>
          <p:cNvPr id="3" name="Picture 2">
            <a:extLst>
              <a:ext uri="{FF2B5EF4-FFF2-40B4-BE49-F238E27FC236}">
                <a16:creationId xmlns:a16="http://schemas.microsoft.com/office/drawing/2014/main" id="{67179655-8950-172A-1964-7C7FB55C5CF5}"/>
              </a:ext>
            </a:extLst>
          </p:cNvPr>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r="38743"/>
          <a:stretch/>
        </p:blipFill>
        <p:spPr bwMode="auto">
          <a:xfrm flipH="1">
            <a:off x="0" y="0"/>
            <a:ext cx="8229478" cy="75596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61414414"/>
      </p:ext>
    </p:extLst>
  </p:cSld>
  <p:clrMapOvr>
    <a:masterClrMapping/>
  </p:clrMapOvr>
  <p:extLst>
    <p:ext uri="{DCECCB84-F9BA-43D5-87BE-67443E8EF086}">
      <p15:sldGuideLst xmlns:p15="http://schemas.microsoft.com/office/powerpoint/2012/main">
        <p15:guide id="1" pos="3841">
          <p15:clr>
            <a:srgbClr val="FBAE40"/>
          </p15:clr>
        </p15:guide>
        <p15:guide id="2" pos="2568">
          <p15:clr>
            <a:srgbClr val="5ACBF0"/>
          </p15:clr>
        </p15:guide>
        <p15:guide id="3" pos="5137">
          <p15:clr>
            <a:srgbClr val="5ACBF0"/>
          </p15:clr>
        </p15:guide>
        <p15:guide id="4" pos="739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5_Solu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AE12D1-08AF-45E9-A34A-BDE9E860BAA2}"/>
              </a:ext>
            </a:extLst>
          </p:cNvPr>
          <p:cNvSpPr>
            <a:spLocks noGrp="1"/>
          </p:cNvSpPr>
          <p:nvPr>
            <p:ph type="title" hasCustomPrompt="1"/>
          </p:nvPr>
        </p:nvSpPr>
        <p:spPr>
          <a:xfrm>
            <a:off x="381277" y="3"/>
            <a:ext cx="6249495" cy="1361922"/>
          </a:xfrm>
          <a:prstGeom prst="rect">
            <a:avLst/>
          </a:prstGeom>
        </p:spPr>
        <p:txBody>
          <a:bodyPr anchor="b" anchorCtr="0"/>
          <a:lstStyle>
            <a:lvl1pPr>
              <a:defRPr cap="all" baseline="0"/>
            </a:lvl1pPr>
          </a:lstStyle>
          <a:p>
            <a:r>
              <a:rPr lang="en-US"/>
              <a:t>CLICK TO add TITLE</a:t>
            </a:r>
          </a:p>
        </p:txBody>
      </p:sp>
      <p:sp>
        <p:nvSpPr>
          <p:cNvPr id="11" name="Text Placeholder 7">
            <a:extLst>
              <a:ext uri="{FF2B5EF4-FFF2-40B4-BE49-F238E27FC236}">
                <a16:creationId xmlns:a16="http://schemas.microsoft.com/office/drawing/2014/main" id="{7C8A1D56-1555-4374-8016-842861FD554F}"/>
              </a:ext>
            </a:extLst>
          </p:cNvPr>
          <p:cNvSpPr>
            <a:spLocks noGrp="1"/>
          </p:cNvSpPr>
          <p:nvPr>
            <p:ph type="body" sz="quarter" idx="14" hasCustomPrompt="1"/>
          </p:nvPr>
        </p:nvSpPr>
        <p:spPr>
          <a:xfrm>
            <a:off x="381277" y="1691291"/>
            <a:ext cx="6249495" cy="403183"/>
          </a:xfrm>
          <a:prstGeom prst="rect">
            <a:avLst/>
          </a:prstGeom>
        </p:spPr>
        <p:txBody>
          <a:bodyPr anchor="ctr" anchorCtr="0">
            <a:noAutofit/>
          </a:bodyPr>
          <a:lstStyle>
            <a:lvl1pPr marL="0" indent="0">
              <a:lnSpc>
                <a:spcPts val="2865"/>
              </a:lnSpc>
              <a:buNone/>
              <a:defRPr sz="1989" cap="all" baseline="0">
                <a:solidFill>
                  <a:schemeClr val="bg1">
                    <a:lumMod val="50000"/>
                  </a:schemeClr>
                </a:solidFill>
                <a:latin typeface="+mj-lt"/>
              </a:defRPr>
            </a:lvl1pPr>
            <a:lvl2pPr marL="504031" indent="0">
              <a:lnSpc>
                <a:spcPts val="2865"/>
              </a:lnSpc>
              <a:buNone/>
              <a:defRPr sz="1763"/>
            </a:lvl2pPr>
            <a:lvl3pPr marL="1008063" indent="0">
              <a:lnSpc>
                <a:spcPts val="2865"/>
              </a:lnSpc>
              <a:buNone/>
              <a:defRPr sz="1763"/>
            </a:lvl3pPr>
            <a:lvl4pPr marL="1512094" indent="0">
              <a:lnSpc>
                <a:spcPts val="2865"/>
              </a:lnSpc>
              <a:buNone/>
              <a:defRPr sz="1763"/>
            </a:lvl4pPr>
            <a:lvl5pPr marL="2016127" indent="0">
              <a:lnSpc>
                <a:spcPts val="2865"/>
              </a:lnSpc>
              <a:buNone/>
              <a:defRPr sz="1763"/>
            </a:lvl5pPr>
          </a:lstStyle>
          <a:p>
            <a:pPr lvl="0"/>
            <a:r>
              <a:rPr lang="en-US"/>
              <a:t>Click to add text</a:t>
            </a:r>
          </a:p>
        </p:txBody>
      </p:sp>
      <p:sp>
        <p:nvSpPr>
          <p:cNvPr id="10" name="Text Placeholder 7">
            <a:extLst>
              <a:ext uri="{FF2B5EF4-FFF2-40B4-BE49-F238E27FC236}">
                <a16:creationId xmlns:a16="http://schemas.microsoft.com/office/drawing/2014/main" id="{8CAA5FDF-024E-4518-94A8-CCFF36F61770}"/>
              </a:ext>
            </a:extLst>
          </p:cNvPr>
          <p:cNvSpPr>
            <a:spLocks noGrp="1"/>
          </p:cNvSpPr>
          <p:nvPr>
            <p:ph type="body" sz="quarter" idx="13" hasCustomPrompt="1"/>
          </p:nvPr>
        </p:nvSpPr>
        <p:spPr>
          <a:xfrm>
            <a:off x="381277" y="2144869"/>
            <a:ext cx="6249495" cy="705570"/>
          </a:xfrm>
          <a:prstGeom prst="rect">
            <a:avLst/>
          </a:prstGeom>
        </p:spPr>
        <p:txBody>
          <a:bodyPr>
            <a:normAutofit/>
          </a:bodyPr>
          <a:lstStyle>
            <a:lvl1pPr marL="0" indent="0">
              <a:lnSpc>
                <a:spcPts val="2207"/>
              </a:lnSpc>
              <a:spcBef>
                <a:spcPts val="0"/>
              </a:spcBef>
              <a:buNone/>
              <a:defRPr sz="1547"/>
            </a:lvl1pPr>
            <a:lvl2pPr marL="504031" indent="0">
              <a:lnSpc>
                <a:spcPts val="2865"/>
              </a:lnSpc>
              <a:buNone/>
              <a:defRPr sz="1763"/>
            </a:lvl2pPr>
            <a:lvl3pPr marL="1008063" indent="0">
              <a:lnSpc>
                <a:spcPts val="2865"/>
              </a:lnSpc>
              <a:buNone/>
              <a:defRPr sz="1763"/>
            </a:lvl3pPr>
            <a:lvl4pPr marL="1512094" indent="0">
              <a:lnSpc>
                <a:spcPts val="2865"/>
              </a:lnSpc>
              <a:buNone/>
              <a:defRPr sz="1763"/>
            </a:lvl4pPr>
            <a:lvl5pPr marL="2016127" indent="0">
              <a:lnSpc>
                <a:spcPts val="2865"/>
              </a:lnSpc>
              <a:buNone/>
              <a:defRPr sz="1763"/>
            </a:lvl5pPr>
          </a:lstStyle>
          <a:p>
            <a:pPr lvl="0"/>
            <a:r>
              <a:rPr lang="en-US"/>
              <a:t>Click to add text</a:t>
            </a:r>
          </a:p>
        </p:txBody>
      </p:sp>
      <p:sp>
        <p:nvSpPr>
          <p:cNvPr id="13" name="Text Placeholder 7">
            <a:extLst>
              <a:ext uri="{FF2B5EF4-FFF2-40B4-BE49-F238E27FC236}">
                <a16:creationId xmlns:a16="http://schemas.microsoft.com/office/drawing/2014/main" id="{F88E22F4-8FE4-4E59-A16B-40858C5C60FC}"/>
              </a:ext>
            </a:extLst>
          </p:cNvPr>
          <p:cNvSpPr>
            <a:spLocks noGrp="1"/>
          </p:cNvSpPr>
          <p:nvPr>
            <p:ph type="body" sz="quarter" idx="16" hasCustomPrompt="1"/>
          </p:nvPr>
        </p:nvSpPr>
        <p:spPr>
          <a:xfrm>
            <a:off x="381277" y="2908651"/>
            <a:ext cx="6249495" cy="403183"/>
          </a:xfrm>
          <a:prstGeom prst="rect">
            <a:avLst/>
          </a:prstGeom>
        </p:spPr>
        <p:txBody>
          <a:bodyPr anchor="ctr" anchorCtr="0">
            <a:noAutofit/>
          </a:bodyPr>
          <a:lstStyle>
            <a:lvl1pPr marL="0" indent="0">
              <a:lnSpc>
                <a:spcPts val="2865"/>
              </a:lnSpc>
              <a:buNone/>
              <a:defRPr sz="1989" cap="all" baseline="0">
                <a:solidFill>
                  <a:schemeClr val="bg1">
                    <a:lumMod val="50000"/>
                  </a:schemeClr>
                </a:solidFill>
                <a:latin typeface="+mj-lt"/>
              </a:defRPr>
            </a:lvl1pPr>
            <a:lvl2pPr marL="504031" indent="0">
              <a:lnSpc>
                <a:spcPts val="2865"/>
              </a:lnSpc>
              <a:buNone/>
              <a:defRPr sz="1763"/>
            </a:lvl2pPr>
            <a:lvl3pPr marL="1008063" indent="0">
              <a:lnSpc>
                <a:spcPts val="2865"/>
              </a:lnSpc>
              <a:buNone/>
              <a:defRPr sz="1763"/>
            </a:lvl3pPr>
            <a:lvl4pPr marL="1512094" indent="0">
              <a:lnSpc>
                <a:spcPts val="2865"/>
              </a:lnSpc>
              <a:buNone/>
              <a:defRPr sz="1763"/>
            </a:lvl4pPr>
            <a:lvl5pPr marL="2016127" indent="0">
              <a:lnSpc>
                <a:spcPts val="2865"/>
              </a:lnSpc>
              <a:buNone/>
              <a:defRPr sz="1763"/>
            </a:lvl5pPr>
          </a:lstStyle>
          <a:p>
            <a:pPr lvl="0"/>
            <a:r>
              <a:rPr lang="en-US"/>
              <a:t>Click to add text</a:t>
            </a:r>
          </a:p>
        </p:txBody>
      </p:sp>
      <p:sp>
        <p:nvSpPr>
          <p:cNvPr id="12" name="Text Placeholder 7">
            <a:extLst>
              <a:ext uri="{FF2B5EF4-FFF2-40B4-BE49-F238E27FC236}">
                <a16:creationId xmlns:a16="http://schemas.microsoft.com/office/drawing/2014/main" id="{A9FD7831-866F-4D83-9851-7C1EC44256F9}"/>
              </a:ext>
            </a:extLst>
          </p:cNvPr>
          <p:cNvSpPr>
            <a:spLocks noGrp="1"/>
          </p:cNvSpPr>
          <p:nvPr>
            <p:ph type="body" sz="quarter" idx="15" hasCustomPrompt="1"/>
          </p:nvPr>
        </p:nvSpPr>
        <p:spPr>
          <a:xfrm>
            <a:off x="381277" y="3372313"/>
            <a:ext cx="6249495" cy="657440"/>
          </a:xfrm>
          <a:prstGeom prst="rect">
            <a:avLst/>
          </a:prstGeom>
        </p:spPr>
        <p:txBody>
          <a:bodyPr>
            <a:normAutofit/>
          </a:bodyPr>
          <a:lstStyle>
            <a:lvl1pPr marL="0" indent="0">
              <a:lnSpc>
                <a:spcPts val="2207"/>
              </a:lnSpc>
              <a:spcBef>
                <a:spcPts val="0"/>
              </a:spcBef>
              <a:buNone/>
              <a:defRPr sz="1547"/>
            </a:lvl1pPr>
            <a:lvl2pPr marL="504031" indent="0">
              <a:lnSpc>
                <a:spcPts val="2865"/>
              </a:lnSpc>
              <a:buNone/>
              <a:defRPr sz="1763"/>
            </a:lvl2pPr>
            <a:lvl3pPr marL="1008063" indent="0">
              <a:lnSpc>
                <a:spcPts val="2865"/>
              </a:lnSpc>
              <a:buNone/>
              <a:defRPr sz="1763"/>
            </a:lvl3pPr>
            <a:lvl4pPr marL="1512094" indent="0">
              <a:lnSpc>
                <a:spcPts val="2865"/>
              </a:lnSpc>
              <a:buNone/>
              <a:defRPr sz="1763"/>
            </a:lvl4pPr>
            <a:lvl5pPr marL="2016127" indent="0">
              <a:lnSpc>
                <a:spcPts val="2865"/>
              </a:lnSpc>
              <a:buNone/>
              <a:defRPr sz="1763"/>
            </a:lvl5pPr>
          </a:lstStyle>
          <a:p>
            <a:pPr lvl="0"/>
            <a:r>
              <a:rPr lang="en-US"/>
              <a:t>Click to add text</a:t>
            </a:r>
          </a:p>
        </p:txBody>
      </p:sp>
      <p:sp>
        <p:nvSpPr>
          <p:cNvPr id="20" name="Text Placeholder 7">
            <a:extLst>
              <a:ext uri="{FF2B5EF4-FFF2-40B4-BE49-F238E27FC236}">
                <a16:creationId xmlns:a16="http://schemas.microsoft.com/office/drawing/2014/main" id="{3B3F01A4-87E3-450B-951E-0784E7C2B6DA}"/>
              </a:ext>
            </a:extLst>
          </p:cNvPr>
          <p:cNvSpPr>
            <a:spLocks noGrp="1"/>
          </p:cNvSpPr>
          <p:nvPr>
            <p:ph type="body" sz="quarter" idx="18" hasCustomPrompt="1"/>
          </p:nvPr>
        </p:nvSpPr>
        <p:spPr>
          <a:xfrm>
            <a:off x="381277" y="4080149"/>
            <a:ext cx="6249495" cy="403183"/>
          </a:xfrm>
          <a:prstGeom prst="rect">
            <a:avLst/>
          </a:prstGeom>
        </p:spPr>
        <p:txBody>
          <a:bodyPr anchor="ctr" anchorCtr="0">
            <a:noAutofit/>
          </a:bodyPr>
          <a:lstStyle>
            <a:lvl1pPr marL="0" indent="0">
              <a:lnSpc>
                <a:spcPts val="2865"/>
              </a:lnSpc>
              <a:buNone/>
              <a:defRPr sz="1989" cap="all" baseline="0">
                <a:solidFill>
                  <a:schemeClr val="bg1">
                    <a:lumMod val="50000"/>
                  </a:schemeClr>
                </a:solidFill>
                <a:latin typeface="+mj-lt"/>
              </a:defRPr>
            </a:lvl1pPr>
            <a:lvl2pPr marL="504031" indent="0">
              <a:lnSpc>
                <a:spcPts val="2865"/>
              </a:lnSpc>
              <a:buNone/>
              <a:defRPr sz="1763"/>
            </a:lvl2pPr>
            <a:lvl3pPr marL="1008063" indent="0">
              <a:lnSpc>
                <a:spcPts val="2865"/>
              </a:lnSpc>
              <a:buNone/>
              <a:defRPr sz="1763"/>
            </a:lvl3pPr>
            <a:lvl4pPr marL="1512094" indent="0">
              <a:lnSpc>
                <a:spcPts val="2865"/>
              </a:lnSpc>
              <a:buNone/>
              <a:defRPr sz="1763"/>
            </a:lvl4pPr>
            <a:lvl5pPr marL="2016127" indent="0">
              <a:lnSpc>
                <a:spcPts val="2865"/>
              </a:lnSpc>
              <a:buNone/>
              <a:defRPr sz="1763"/>
            </a:lvl5pPr>
          </a:lstStyle>
          <a:p>
            <a:pPr lvl="0"/>
            <a:r>
              <a:rPr lang="en-US"/>
              <a:t>Click to add text</a:t>
            </a:r>
          </a:p>
        </p:txBody>
      </p:sp>
      <p:sp>
        <p:nvSpPr>
          <p:cNvPr id="19" name="Text Placeholder 7">
            <a:extLst>
              <a:ext uri="{FF2B5EF4-FFF2-40B4-BE49-F238E27FC236}">
                <a16:creationId xmlns:a16="http://schemas.microsoft.com/office/drawing/2014/main" id="{270A9661-E377-43D7-96E8-70CD35163958}"/>
              </a:ext>
            </a:extLst>
          </p:cNvPr>
          <p:cNvSpPr>
            <a:spLocks noGrp="1"/>
          </p:cNvSpPr>
          <p:nvPr>
            <p:ph type="body" sz="quarter" idx="17" hasCustomPrompt="1"/>
          </p:nvPr>
        </p:nvSpPr>
        <p:spPr>
          <a:xfrm>
            <a:off x="381277" y="4533731"/>
            <a:ext cx="6249495" cy="711374"/>
          </a:xfrm>
          <a:prstGeom prst="rect">
            <a:avLst/>
          </a:prstGeom>
        </p:spPr>
        <p:txBody>
          <a:bodyPr>
            <a:normAutofit/>
          </a:bodyPr>
          <a:lstStyle>
            <a:lvl1pPr marL="0" indent="0">
              <a:lnSpc>
                <a:spcPts val="2207"/>
              </a:lnSpc>
              <a:spcBef>
                <a:spcPts val="0"/>
              </a:spcBef>
              <a:buNone/>
              <a:defRPr sz="1547"/>
            </a:lvl1pPr>
            <a:lvl2pPr marL="504031" indent="0">
              <a:lnSpc>
                <a:spcPts val="2865"/>
              </a:lnSpc>
              <a:buNone/>
              <a:defRPr sz="1763"/>
            </a:lvl2pPr>
            <a:lvl3pPr marL="1008063" indent="0">
              <a:lnSpc>
                <a:spcPts val="2865"/>
              </a:lnSpc>
              <a:buNone/>
              <a:defRPr sz="1763"/>
            </a:lvl3pPr>
            <a:lvl4pPr marL="1512094" indent="0">
              <a:lnSpc>
                <a:spcPts val="2865"/>
              </a:lnSpc>
              <a:buNone/>
              <a:defRPr sz="1763"/>
            </a:lvl4pPr>
            <a:lvl5pPr marL="2016127" indent="0">
              <a:lnSpc>
                <a:spcPts val="2865"/>
              </a:lnSpc>
              <a:buNone/>
              <a:defRPr sz="1763"/>
            </a:lvl5pPr>
          </a:lstStyle>
          <a:p>
            <a:pPr lvl="0"/>
            <a:r>
              <a:rPr lang="en-US"/>
              <a:t>Click to add text</a:t>
            </a:r>
          </a:p>
        </p:txBody>
      </p:sp>
      <p:sp>
        <p:nvSpPr>
          <p:cNvPr id="22" name="Text Placeholder 7">
            <a:extLst>
              <a:ext uri="{FF2B5EF4-FFF2-40B4-BE49-F238E27FC236}">
                <a16:creationId xmlns:a16="http://schemas.microsoft.com/office/drawing/2014/main" id="{AF629732-FB4B-4F7C-85A0-756352911849}"/>
              </a:ext>
            </a:extLst>
          </p:cNvPr>
          <p:cNvSpPr>
            <a:spLocks noGrp="1"/>
          </p:cNvSpPr>
          <p:nvPr>
            <p:ph type="body" sz="quarter" idx="20" hasCustomPrompt="1"/>
          </p:nvPr>
        </p:nvSpPr>
        <p:spPr>
          <a:xfrm>
            <a:off x="381277" y="5303480"/>
            <a:ext cx="6249495" cy="403183"/>
          </a:xfrm>
          <a:prstGeom prst="rect">
            <a:avLst/>
          </a:prstGeom>
        </p:spPr>
        <p:txBody>
          <a:bodyPr anchor="ctr" anchorCtr="0">
            <a:noAutofit/>
          </a:bodyPr>
          <a:lstStyle>
            <a:lvl1pPr marL="0" indent="0">
              <a:lnSpc>
                <a:spcPts val="2865"/>
              </a:lnSpc>
              <a:buNone/>
              <a:defRPr sz="1989" cap="all" baseline="0">
                <a:solidFill>
                  <a:schemeClr val="bg1">
                    <a:lumMod val="50000"/>
                  </a:schemeClr>
                </a:solidFill>
                <a:latin typeface="+mj-lt"/>
              </a:defRPr>
            </a:lvl1pPr>
            <a:lvl2pPr marL="504031" indent="0">
              <a:lnSpc>
                <a:spcPts val="2865"/>
              </a:lnSpc>
              <a:buNone/>
              <a:defRPr sz="1763"/>
            </a:lvl2pPr>
            <a:lvl3pPr marL="1008063" indent="0">
              <a:lnSpc>
                <a:spcPts val="2865"/>
              </a:lnSpc>
              <a:buNone/>
              <a:defRPr sz="1763"/>
            </a:lvl3pPr>
            <a:lvl4pPr marL="1512094" indent="0">
              <a:lnSpc>
                <a:spcPts val="2865"/>
              </a:lnSpc>
              <a:buNone/>
              <a:defRPr sz="1763"/>
            </a:lvl4pPr>
            <a:lvl5pPr marL="2016127" indent="0">
              <a:lnSpc>
                <a:spcPts val="2865"/>
              </a:lnSpc>
              <a:buNone/>
              <a:defRPr sz="1763"/>
            </a:lvl5pPr>
          </a:lstStyle>
          <a:p>
            <a:pPr lvl="0"/>
            <a:r>
              <a:rPr lang="en-US"/>
              <a:t>Click to add text</a:t>
            </a:r>
          </a:p>
        </p:txBody>
      </p:sp>
      <p:sp>
        <p:nvSpPr>
          <p:cNvPr id="21" name="Text Placeholder 7">
            <a:extLst>
              <a:ext uri="{FF2B5EF4-FFF2-40B4-BE49-F238E27FC236}">
                <a16:creationId xmlns:a16="http://schemas.microsoft.com/office/drawing/2014/main" id="{07183A59-7582-4A62-94A7-0FC05D4E3F13}"/>
              </a:ext>
            </a:extLst>
          </p:cNvPr>
          <p:cNvSpPr>
            <a:spLocks noGrp="1"/>
          </p:cNvSpPr>
          <p:nvPr>
            <p:ph type="body" sz="quarter" idx="19" hasCustomPrompt="1"/>
          </p:nvPr>
        </p:nvSpPr>
        <p:spPr>
          <a:xfrm>
            <a:off x="381277" y="5756646"/>
            <a:ext cx="6249495" cy="705570"/>
          </a:xfrm>
          <a:prstGeom prst="rect">
            <a:avLst/>
          </a:prstGeom>
        </p:spPr>
        <p:txBody>
          <a:bodyPr>
            <a:normAutofit/>
          </a:bodyPr>
          <a:lstStyle>
            <a:lvl1pPr marL="0" indent="0">
              <a:lnSpc>
                <a:spcPts val="2207"/>
              </a:lnSpc>
              <a:spcBef>
                <a:spcPts val="0"/>
              </a:spcBef>
              <a:buNone/>
              <a:defRPr sz="1547"/>
            </a:lvl1pPr>
            <a:lvl2pPr marL="504031" indent="0">
              <a:lnSpc>
                <a:spcPts val="2865"/>
              </a:lnSpc>
              <a:buNone/>
              <a:defRPr sz="1763"/>
            </a:lvl2pPr>
            <a:lvl3pPr marL="1008063" indent="0">
              <a:lnSpc>
                <a:spcPts val="2865"/>
              </a:lnSpc>
              <a:buNone/>
              <a:defRPr sz="1763"/>
            </a:lvl3pPr>
            <a:lvl4pPr marL="1512094" indent="0">
              <a:lnSpc>
                <a:spcPts val="2865"/>
              </a:lnSpc>
              <a:buNone/>
              <a:defRPr sz="1763"/>
            </a:lvl4pPr>
            <a:lvl5pPr marL="2016127" indent="0">
              <a:lnSpc>
                <a:spcPts val="2865"/>
              </a:lnSpc>
              <a:buNone/>
              <a:defRPr sz="1763"/>
            </a:lvl5pPr>
          </a:lstStyle>
          <a:p>
            <a:pPr lvl="0"/>
            <a:r>
              <a:rPr lang="en-US"/>
              <a:t>Click to add text</a:t>
            </a:r>
          </a:p>
        </p:txBody>
      </p:sp>
      <p:sp>
        <p:nvSpPr>
          <p:cNvPr id="4" name="Date Placeholder 3">
            <a:extLst>
              <a:ext uri="{FF2B5EF4-FFF2-40B4-BE49-F238E27FC236}">
                <a16:creationId xmlns:a16="http://schemas.microsoft.com/office/drawing/2014/main" id="{3EDAC16E-5725-4AC1-AB85-871F25D26688}"/>
              </a:ext>
            </a:extLst>
          </p:cNvPr>
          <p:cNvSpPr>
            <a:spLocks noGrp="1"/>
          </p:cNvSpPr>
          <p:nvPr>
            <p:ph type="dt" sz="half" idx="10"/>
          </p:nvPr>
        </p:nvSpPr>
        <p:spPr>
          <a:xfrm>
            <a:off x="923988" y="7006701"/>
            <a:ext cx="3023949" cy="402484"/>
          </a:xfrm>
          <a:prstGeom prst="rect">
            <a:avLst/>
          </a:prstGeom>
        </p:spPr>
        <p:txBody>
          <a:bodyPr/>
          <a:lstStyle/>
          <a:p>
            <a:endParaRPr lang="en-US"/>
          </a:p>
        </p:txBody>
      </p:sp>
      <p:sp>
        <p:nvSpPr>
          <p:cNvPr id="15" name="Footer Placeholder 4">
            <a:extLst>
              <a:ext uri="{FF2B5EF4-FFF2-40B4-BE49-F238E27FC236}">
                <a16:creationId xmlns:a16="http://schemas.microsoft.com/office/drawing/2014/main" id="{EF9214E9-6126-4AC1-90E2-D969038661B4}"/>
              </a:ext>
            </a:extLst>
          </p:cNvPr>
          <p:cNvSpPr>
            <a:spLocks noGrp="1"/>
          </p:cNvSpPr>
          <p:nvPr>
            <p:ph type="ftr" sz="quarter" idx="11"/>
          </p:nvPr>
        </p:nvSpPr>
        <p:spPr>
          <a:xfrm>
            <a:off x="6630774" y="7006701"/>
            <a:ext cx="3326344" cy="402484"/>
          </a:xfrm>
          <a:prstGeom prst="rect">
            <a:avLst/>
          </a:prstGeom>
        </p:spPr>
        <p:txBody>
          <a:bodyPr/>
          <a:lstStyle>
            <a:lvl1pPr algn="l">
              <a:defRPr/>
            </a:lvl1pPr>
          </a:lstStyle>
          <a:p>
            <a:endParaRPr lang="en-US"/>
          </a:p>
        </p:txBody>
      </p:sp>
      <p:sp>
        <p:nvSpPr>
          <p:cNvPr id="16" name="Slide Number Placeholder 5">
            <a:extLst>
              <a:ext uri="{FF2B5EF4-FFF2-40B4-BE49-F238E27FC236}">
                <a16:creationId xmlns:a16="http://schemas.microsoft.com/office/drawing/2014/main" id="{F79F1588-A4C7-4DC1-A75C-D24B4A0CAA28}"/>
              </a:ext>
            </a:extLst>
          </p:cNvPr>
          <p:cNvSpPr>
            <a:spLocks noGrp="1"/>
          </p:cNvSpPr>
          <p:nvPr>
            <p:ph type="sldNum" sz="quarter" idx="12"/>
          </p:nvPr>
        </p:nvSpPr>
        <p:spPr>
          <a:xfrm>
            <a:off x="11095845" y="7006701"/>
            <a:ext cx="1814371" cy="402484"/>
          </a:xfrm>
          <a:prstGeom prst="rect">
            <a:avLst/>
          </a:prstGeom>
        </p:spPr>
        <p:txBody>
          <a:bodyPr/>
          <a:lstStyle/>
          <a:p>
            <a:fld id="{B5CEABB6-07DC-46E8-9B57-56EC44A396E5}" type="slidenum">
              <a:rPr lang="en-US" smtClean="0"/>
              <a:t>‹№›</a:t>
            </a:fld>
            <a:endParaRPr lang="en-US"/>
          </a:p>
        </p:txBody>
      </p:sp>
      <p:sp>
        <p:nvSpPr>
          <p:cNvPr id="5" name="Text Placeholder 7">
            <a:extLst>
              <a:ext uri="{FF2B5EF4-FFF2-40B4-BE49-F238E27FC236}">
                <a16:creationId xmlns:a16="http://schemas.microsoft.com/office/drawing/2014/main" id="{6A28D06D-3297-7AAE-B413-DAA2B9E713C7}"/>
              </a:ext>
            </a:extLst>
          </p:cNvPr>
          <p:cNvSpPr>
            <a:spLocks noGrp="1"/>
          </p:cNvSpPr>
          <p:nvPr>
            <p:ph type="body" sz="quarter" idx="21" hasCustomPrompt="1"/>
          </p:nvPr>
        </p:nvSpPr>
        <p:spPr>
          <a:xfrm>
            <a:off x="6832370" y="1691291"/>
            <a:ext cx="6249495" cy="403183"/>
          </a:xfrm>
          <a:prstGeom prst="rect">
            <a:avLst/>
          </a:prstGeom>
        </p:spPr>
        <p:txBody>
          <a:bodyPr anchor="ctr" anchorCtr="0">
            <a:noAutofit/>
          </a:bodyPr>
          <a:lstStyle>
            <a:lvl1pPr marL="0" indent="0">
              <a:lnSpc>
                <a:spcPts val="2865"/>
              </a:lnSpc>
              <a:buNone/>
              <a:defRPr sz="1989" cap="all" baseline="0">
                <a:solidFill>
                  <a:schemeClr val="bg1">
                    <a:lumMod val="50000"/>
                  </a:schemeClr>
                </a:solidFill>
                <a:latin typeface="+mj-lt"/>
              </a:defRPr>
            </a:lvl1pPr>
            <a:lvl2pPr marL="504031" indent="0">
              <a:lnSpc>
                <a:spcPts val="2865"/>
              </a:lnSpc>
              <a:buNone/>
              <a:defRPr sz="1763"/>
            </a:lvl2pPr>
            <a:lvl3pPr marL="1008063" indent="0">
              <a:lnSpc>
                <a:spcPts val="2865"/>
              </a:lnSpc>
              <a:buNone/>
              <a:defRPr sz="1763"/>
            </a:lvl3pPr>
            <a:lvl4pPr marL="1512094" indent="0">
              <a:lnSpc>
                <a:spcPts val="2865"/>
              </a:lnSpc>
              <a:buNone/>
              <a:defRPr sz="1763"/>
            </a:lvl4pPr>
            <a:lvl5pPr marL="2016127" indent="0">
              <a:lnSpc>
                <a:spcPts val="2865"/>
              </a:lnSpc>
              <a:buNone/>
              <a:defRPr sz="1763"/>
            </a:lvl5pPr>
          </a:lstStyle>
          <a:p>
            <a:pPr lvl="0"/>
            <a:r>
              <a:rPr lang="en-US"/>
              <a:t>Click to add text</a:t>
            </a:r>
          </a:p>
        </p:txBody>
      </p:sp>
      <p:sp>
        <p:nvSpPr>
          <p:cNvPr id="6" name="Text Placeholder 7">
            <a:extLst>
              <a:ext uri="{FF2B5EF4-FFF2-40B4-BE49-F238E27FC236}">
                <a16:creationId xmlns:a16="http://schemas.microsoft.com/office/drawing/2014/main" id="{49581C3B-4A30-9514-D977-30661751DA31}"/>
              </a:ext>
            </a:extLst>
          </p:cNvPr>
          <p:cNvSpPr>
            <a:spLocks noGrp="1"/>
          </p:cNvSpPr>
          <p:nvPr>
            <p:ph type="body" sz="quarter" idx="22" hasCustomPrompt="1"/>
          </p:nvPr>
        </p:nvSpPr>
        <p:spPr>
          <a:xfrm>
            <a:off x="6832370" y="2144869"/>
            <a:ext cx="6249495" cy="705570"/>
          </a:xfrm>
          <a:prstGeom prst="rect">
            <a:avLst/>
          </a:prstGeom>
        </p:spPr>
        <p:txBody>
          <a:bodyPr>
            <a:normAutofit/>
          </a:bodyPr>
          <a:lstStyle>
            <a:lvl1pPr marL="0" indent="0">
              <a:lnSpc>
                <a:spcPts val="2207"/>
              </a:lnSpc>
              <a:spcBef>
                <a:spcPts val="0"/>
              </a:spcBef>
              <a:buNone/>
              <a:defRPr sz="1547"/>
            </a:lvl1pPr>
            <a:lvl2pPr marL="504031" indent="0">
              <a:lnSpc>
                <a:spcPts val="2865"/>
              </a:lnSpc>
              <a:buNone/>
              <a:defRPr sz="1763"/>
            </a:lvl2pPr>
            <a:lvl3pPr marL="1008063" indent="0">
              <a:lnSpc>
                <a:spcPts val="2865"/>
              </a:lnSpc>
              <a:buNone/>
              <a:defRPr sz="1763"/>
            </a:lvl3pPr>
            <a:lvl4pPr marL="1512094" indent="0">
              <a:lnSpc>
                <a:spcPts val="2865"/>
              </a:lnSpc>
              <a:buNone/>
              <a:defRPr sz="1763"/>
            </a:lvl4pPr>
            <a:lvl5pPr marL="2016127" indent="0">
              <a:lnSpc>
                <a:spcPts val="2865"/>
              </a:lnSpc>
              <a:buNone/>
              <a:defRPr sz="1763"/>
            </a:lvl5pPr>
          </a:lstStyle>
          <a:p>
            <a:pPr lvl="0"/>
            <a:r>
              <a:rPr lang="en-US"/>
              <a:t>Click to add text</a:t>
            </a:r>
          </a:p>
        </p:txBody>
      </p:sp>
      <p:sp>
        <p:nvSpPr>
          <p:cNvPr id="7" name="Text Placeholder 7">
            <a:extLst>
              <a:ext uri="{FF2B5EF4-FFF2-40B4-BE49-F238E27FC236}">
                <a16:creationId xmlns:a16="http://schemas.microsoft.com/office/drawing/2014/main" id="{5D5EDA2F-B380-C8D6-5067-4C8117DA828D}"/>
              </a:ext>
            </a:extLst>
          </p:cNvPr>
          <p:cNvSpPr>
            <a:spLocks noGrp="1"/>
          </p:cNvSpPr>
          <p:nvPr>
            <p:ph type="body" sz="quarter" idx="23" hasCustomPrompt="1"/>
          </p:nvPr>
        </p:nvSpPr>
        <p:spPr>
          <a:xfrm>
            <a:off x="6832370" y="2908651"/>
            <a:ext cx="6249495" cy="403183"/>
          </a:xfrm>
          <a:prstGeom prst="rect">
            <a:avLst/>
          </a:prstGeom>
        </p:spPr>
        <p:txBody>
          <a:bodyPr anchor="ctr" anchorCtr="0">
            <a:noAutofit/>
          </a:bodyPr>
          <a:lstStyle>
            <a:lvl1pPr marL="0" indent="0">
              <a:lnSpc>
                <a:spcPts val="2865"/>
              </a:lnSpc>
              <a:buNone/>
              <a:defRPr sz="1989" cap="all" baseline="0">
                <a:solidFill>
                  <a:schemeClr val="bg1">
                    <a:lumMod val="50000"/>
                  </a:schemeClr>
                </a:solidFill>
                <a:latin typeface="+mj-lt"/>
              </a:defRPr>
            </a:lvl1pPr>
            <a:lvl2pPr marL="504031" indent="0">
              <a:lnSpc>
                <a:spcPts val="2865"/>
              </a:lnSpc>
              <a:buNone/>
              <a:defRPr sz="1763"/>
            </a:lvl2pPr>
            <a:lvl3pPr marL="1008063" indent="0">
              <a:lnSpc>
                <a:spcPts val="2865"/>
              </a:lnSpc>
              <a:buNone/>
              <a:defRPr sz="1763"/>
            </a:lvl3pPr>
            <a:lvl4pPr marL="1512094" indent="0">
              <a:lnSpc>
                <a:spcPts val="2865"/>
              </a:lnSpc>
              <a:buNone/>
              <a:defRPr sz="1763"/>
            </a:lvl4pPr>
            <a:lvl5pPr marL="2016127" indent="0">
              <a:lnSpc>
                <a:spcPts val="2865"/>
              </a:lnSpc>
              <a:buNone/>
              <a:defRPr sz="1763"/>
            </a:lvl5pPr>
          </a:lstStyle>
          <a:p>
            <a:pPr lvl="0"/>
            <a:r>
              <a:rPr lang="en-US"/>
              <a:t>Click to add text</a:t>
            </a:r>
          </a:p>
        </p:txBody>
      </p:sp>
      <p:sp>
        <p:nvSpPr>
          <p:cNvPr id="8" name="Text Placeholder 7">
            <a:extLst>
              <a:ext uri="{FF2B5EF4-FFF2-40B4-BE49-F238E27FC236}">
                <a16:creationId xmlns:a16="http://schemas.microsoft.com/office/drawing/2014/main" id="{37B1AA20-A188-F6CE-5F33-7D55CE16A481}"/>
              </a:ext>
            </a:extLst>
          </p:cNvPr>
          <p:cNvSpPr>
            <a:spLocks noGrp="1"/>
          </p:cNvSpPr>
          <p:nvPr>
            <p:ph type="body" sz="quarter" idx="24" hasCustomPrompt="1"/>
          </p:nvPr>
        </p:nvSpPr>
        <p:spPr>
          <a:xfrm>
            <a:off x="6832370" y="3372313"/>
            <a:ext cx="6249495" cy="657440"/>
          </a:xfrm>
          <a:prstGeom prst="rect">
            <a:avLst/>
          </a:prstGeom>
        </p:spPr>
        <p:txBody>
          <a:bodyPr>
            <a:normAutofit/>
          </a:bodyPr>
          <a:lstStyle>
            <a:lvl1pPr marL="0" indent="0">
              <a:lnSpc>
                <a:spcPts val="2207"/>
              </a:lnSpc>
              <a:spcBef>
                <a:spcPts val="0"/>
              </a:spcBef>
              <a:buNone/>
              <a:defRPr sz="1547"/>
            </a:lvl1pPr>
            <a:lvl2pPr marL="504031" indent="0">
              <a:lnSpc>
                <a:spcPts val="2865"/>
              </a:lnSpc>
              <a:buNone/>
              <a:defRPr sz="1763"/>
            </a:lvl2pPr>
            <a:lvl3pPr marL="1008063" indent="0">
              <a:lnSpc>
                <a:spcPts val="2865"/>
              </a:lnSpc>
              <a:buNone/>
              <a:defRPr sz="1763"/>
            </a:lvl3pPr>
            <a:lvl4pPr marL="1512094" indent="0">
              <a:lnSpc>
                <a:spcPts val="2865"/>
              </a:lnSpc>
              <a:buNone/>
              <a:defRPr sz="1763"/>
            </a:lvl4pPr>
            <a:lvl5pPr marL="2016127" indent="0">
              <a:lnSpc>
                <a:spcPts val="2865"/>
              </a:lnSpc>
              <a:buNone/>
              <a:defRPr sz="1763"/>
            </a:lvl5pPr>
          </a:lstStyle>
          <a:p>
            <a:pPr lvl="0"/>
            <a:r>
              <a:rPr lang="en-US"/>
              <a:t>Click to add text</a:t>
            </a:r>
          </a:p>
        </p:txBody>
      </p:sp>
      <p:sp>
        <p:nvSpPr>
          <p:cNvPr id="9" name="Text Placeholder 7">
            <a:extLst>
              <a:ext uri="{FF2B5EF4-FFF2-40B4-BE49-F238E27FC236}">
                <a16:creationId xmlns:a16="http://schemas.microsoft.com/office/drawing/2014/main" id="{5B399097-8D88-C9BC-97ED-BEBD4F408320}"/>
              </a:ext>
            </a:extLst>
          </p:cNvPr>
          <p:cNvSpPr>
            <a:spLocks noGrp="1"/>
          </p:cNvSpPr>
          <p:nvPr>
            <p:ph type="body" sz="quarter" idx="25" hasCustomPrompt="1"/>
          </p:nvPr>
        </p:nvSpPr>
        <p:spPr>
          <a:xfrm>
            <a:off x="6832370" y="4080149"/>
            <a:ext cx="6249495" cy="403183"/>
          </a:xfrm>
          <a:prstGeom prst="rect">
            <a:avLst/>
          </a:prstGeom>
        </p:spPr>
        <p:txBody>
          <a:bodyPr anchor="ctr" anchorCtr="0">
            <a:noAutofit/>
          </a:bodyPr>
          <a:lstStyle>
            <a:lvl1pPr marL="0" indent="0">
              <a:lnSpc>
                <a:spcPts val="2865"/>
              </a:lnSpc>
              <a:buNone/>
              <a:defRPr sz="1989" cap="all" baseline="0">
                <a:solidFill>
                  <a:schemeClr val="bg1">
                    <a:lumMod val="50000"/>
                  </a:schemeClr>
                </a:solidFill>
                <a:latin typeface="+mj-lt"/>
              </a:defRPr>
            </a:lvl1pPr>
            <a:lvl2pPr marL="504031" indent="0">
              <a:lnSpc>
                <a:spcPts val="2865"/>
              </a:lnSpc>
              <a:buNone/>
              <a:defRPr sz="1763"/>
            </a:lvl2pPr>
            <a:lvl3pPr marL="1008063" indent="0">
              <a:lnSpc>
                <a:spcPts val="2865"/>
              </a:lnSpc>
              <a:buNone/>
              <a:defRPr sz="1763"/>
            </a:lvl3pPr>
            <a:lvl4pPr marL="1512094" indent="0">
              <a:lnSpc>
                <a:spcPts val="2865"/>
              </a:lnSpc>
              <a:buNone/>
              <a:defRPr sz="1763"/>
            </a:lvl4pPr>
            <a:lvl5pPr marL="2016127" indent="0">
              <a:lnSpc>
                <a:spcPts val="2865"/>
              </a:lnSpc>
              <a:buNone/>
              <a:defRPr sz="1763"/>
            </a:lvl5pPr>
          </a:lstStyle>
          <a:p>
            <a:pPr lvl="0"/>
            <a:r>
              <a:rPr lang="en-US"/>
              <a:t>Click to add text</a:t>
            </a:r>
          </a:p>
        </p:txBody>
      </p:sp>
      <p:sp>
        <p:nvSpPr>
          <p:cNvPr id="14" name="Text Placeholder 7">
            <a:extLst>
              <a:ext uri="{FF2B5EF4-FFF2-40B4-BE49-F238E27FC236}">
                <a16:creationId xmlns:a16="http://schemas.microsoft.com/office/drawing/2014/main" id="{B6D03F2F-566F-E2EA-49A9-A14C52CF433E}"/>
              </a:ext>
            </a:extLst>
          </p:cNvPr>
          <p:cNvSpPr>
            <a:spLocks noGrp="1"/>
          </p:cNvSpPr>
          <p:nvPr>
            <p:ph type="body" sz="quarter" idx="26" hasCustomPrompt="1"/>
          </p:nvPr>
        </p:nvSpPr>
        <p:spPr>
          <a:xfrm>
            <a:off x="6832370" y="4533731"/>
            <a:ext cx="6249495" cy="711374"/>
          </a:xfrm>
          <a:prstGeom prst="rect">
            <a:avLst/>
          </a:prstGeom>
        </p:spPr>
        <p:txBody>
          <a:bodyPr>
            <a:normAutofit/>
          </a:bodyPr>
          <a:lstStyle>
            <a:lvl1pPr marL="0" indent="0">
              <a:lnSpc>
                <a:spcPts val="2207"/>
              </a:lnSpc>
              <a:spcBef>
                <a:spcPts val="0"/>
              </a:spcBef>
              <a:buNone/>
              <a:defRPr sz="1547"/>
            </a:lvl1pPr>
            <a:lvl2pPr marL="504031" indent="0">
              <a:lnSpc>
                <a:spcPts val="2865"/>
              </a:lnSpc>
              <a:buNone/>
              <a:defRPr sz="1763"/>
            </a:lvl2pPr>
            <a:lvl3pPr marL="1008063" indent="0">
              <a:lnSpc>
                <a:spcPts val="2865"/>
              </a:lnSpc>
              <a:buNone/>
              <a:defRPr sz="1763"/>
            </a:lvl3pPr>
            <a:lvl4pPr marL="1512094" indent="0">
              <a:lnSpc>
                <a:spcPts val="2865"/>
              </a:lnSpc>
              <a:buNone/>
              <a:defRPr sz="1763"/>
            </a:lvl4pPr>
            <a:lvl5pPr marL="2016127" indent="0">
              <a:lnSpc>
                <a:spcPts val="2865"/>
              </a:lnSpc>
              <a:buNone/>
              <a:defRPr sz="1763"/>
            </a:lvl5pPr>
          </a:lstStyle>
          <a:p>
            <a:pPr lvl="0"/>
            <a:r>
              <a:rPr lang="en-US"/>
              <a:t>Click to add text</a:t>
            </a:r>
          </a:p>
        </p:txBody>
      </p:sp>
      <p:sp>
        <p:nvSpPr>
          <p:cNvPr id="17" name="Text Placeholder 7">
            <a:extLst>
              <a:ext uri="{FF2B5EF4-FFF2-40B4-BE49-F238E27FC236}">
                <a16:creationId xmlns:a16="http://schemas.microsoft.com/office/drawing/2014/main" id="{00ECD885-9DAD-1F82-3510-4DFA7D783F4D}"/>
              </a:ext>
            </a:extLst>
          </p:cNvPr>
          <p:cNvSpPr>
            <a:spLocks noGrp="1"/>
          </p:cNvSpPr>
          <p:nvPr>
            <p:ph type="body" sz="quarter" idx="27" hasCustomPrompt="1"/>
          </p:nvPr>
        </p:nvSpPr>
        <p:spPr>
          <a:xfrm>
            <a:off x="6832370" y="5303480"/>
            <a:ext cx="6249495" cy="403183"/>
          </a:xfrm>
          <a:prstGeom prst="rect">
            <a:avLst/>
          </a:prstGeom>
        </p:spPr>
        <p:txBody>
          <a:bodyPr anchor="ctr" anchorCtr="0">
            <a:noAutofit/>
          </a:bodyPr>
          <a:lstStyle>
            <a:lvl1pPr marL="0" indent="0">
              <a:lnSpc>
                <a:spcPts val="2865"/>
              </a:lnSpc>
              <a:buNone/>
              <a:defRPr sz="1989" cap="all" baseline="0">
                <a:solidFill>
                  <a:schemeClr val="bg1">
                    <a:lumMod val="50000"/>
                  </a:schemeClr>
                </a:solidFill>
                <a:latin typeface="+mj-lt"/>
              </a:defRPr>
            </a:lvl1pPr>
            <a:lvl2pPr marL="504031" indent="0">
              <a:lnSpc>
                <a:spcPts val="2865"/>
              </a:lnSpc>
              <a:buNone/>
              <a:defRPr sz="1763"/>
            </a:lvl2pPr>
            <a:lvl3pPr marL="1008063" indent="0">
              <a:lnSpc>
                <a:spcPts val="2865"/>
              </a:lnSpc>
              <a:buNone/>
              <a:defRPr sz="1763"/>
            </a:lvl3pPr>
            <a:lvl4pPr marL="1512094" indent="0">
              <a:lnSpc>
                <a:spcPts val="2865"/>
              </a:lnSpc>
              <a:buNone/>
              <a:defRPr sz="1763"/>
            </a:lvl4pPr>
            <a:lvl5pPr marL="2016127" indent="0">
              <a:lnSpc>
                <a:spcPts val="2865"/>
              </a:lnSpc>
              <a:buNone/>
              <a:defRPr sz="1763"/>
            </a:lvl5pPr>
          </a:lstStyle>
          <a:p>
            <a:pPr lvl="0"/>
            <a:r>
              <a:rPr lang="en-US"/>
              <a:t>Click to add text</a:t>
            </a:r>
          </a:p>
        </p:txBody>
      </p:sp>
      <p:sp>
        <p:nvSpPr>
          <p:cNvPr id="18" name="Text Placeholder 7">
            <a:extLst>
              <a:ext uri="{FF2B5EF4-FFF2-40B4-BE49-F238E27FC236}">
                <a16:creationId xmlns:a16="http://schemas.microsoft.com/office/drawing/2014/main" id="{69D3058E-2D15-4618-C460-EB0240667DA4}"/>
              </a:ext>
            </a:extLst>
          </p:cNvPr>
          <p:cNvSpPr>
            <a:spLocks noGrp="1"/>
          </p:cNvSpPr>
          <p:nvPr>
            <p:ph type="body" sz="quarter" idx="28" hasCustomPrompt="1"/>
          </p:nvPr>
        </p:nvSpPr>
        <p:spPr>
          <a:xfrm>
            <a:off x="6832370" y="5756646"/>
            <a:ext cx="6249495" cy="705570"/>
          </a:xfrm>
          <a:prstGeom prst="rect">
            <a:avLst/>
          </a:prstGeom>
        </p:spPr>
        <p:txBody>
          <a:bodyPr>
            <a:normAutofit/>
          </a:bodyPr>
          <a:lstStyle>
            <a:lvl1pPr marL="0" indent="0">
              <a:lnSpc>
                <a:spcPts val="2207"/>
              </a:lnSpc>
              <a:spcBef>
                <a:spcPts val="0"/>
              </a:spcBef>
              <a:buNone/>
              <a:defRPr sz="1547"/>
            </a:lvl1pPr>
            <a:lvl2pPr marL="504031" indent="0">
              <a:lnSpc>
                <a:spcPts val="2865"/>
              </a:lnSpc>
              <a:buNone/>
              <a:defRPr sz="1763"/>
            </a:lvl2pPr>
            <a:lvl3pPr marL="1008063" indent="0">
              <a:lnSpc>
                <a:spcPts val="2865"/>
              </a:lnSpc>
              <a:buNone/>
              <a:defRPr sz="1763"/>
            </a:lvl3pPr>
            <a:lvl4pPr marL="1512094" indent="0">
              <a:lnSpc>
                <a:spcPts val="2865"/>
              </a:lnSpc>
              <a:buNone/>
              <a:defRPr sz="1763"/>
            </a:lvl4pPr>
            <a:lvl5pPr marL="2016127" indent="0">
              <a:lnSpc>
                <a:spcPts val="2865"/>
              </a:lnSpc>
              <a:buNone/>
              <a:defRPr sz="1763"/>
            </a:lvl5pPr>
          </a:lstStyle>
          <a:p>
            <a:pPr lvl="0"/>
            <a:r>
              <a:rPr lang="en-US"/>
              <a:t>Click to add text</a:t>
            </a:r>
          </a:p>
        </p:txBody>
      </p:sp>
    </p:spTree>
    <p:extLst>
      <p:ext uri="{BB962C8B-B14F-4D97-AF65-F5344CB8AC3E}">
        <p14:creationId xmlns:p14="http://schemas.microsoft.com/office/powerpoint/2010/main" val="189553930"/>
      </p:ext>
    </p:extLst>
  </p:cSld>
  <p:clrMapOvr>
    <a:masterClrMapping/>
  </p:clrMapOvr>
  <p:extLst>
    <p:ext uri="{DCECCB84-F9BA-43D5-87BE-67443E8EF086}">
      <p15:sldGuideLst xmlns:p15="http://schemas.microsoft.com/office/powerpoint/2012/main">
        <p15:guide id="1" pos="3841">
          <p15:clr>
            <a:srgbClr val="FBAE40"/>
          </p15:clr>
        </p15:guide>
        <p15:guide id="2" pos="2568">
          <p15:clr>
            <a:srgbClr val="5ACBF0"/>
          </p15:clr>
        </p15:guide>
        <p15:guide id="3" pos="5137">
          <p15:clr>
            <a:srgbClr val="5ACBF0"/>
          </p15:clr>
        </p15:guide>
        <p15:guide id="4" pos="7391">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5_Product Overview">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AE12D1-08AF-45E9-A34A-BDE9E860BAA2}"/>
              </a:ext>
            </a:extLst>
          </p:cNvPr>
          <p:cNvSpPr>
            <a:spLocks noGrp="1"/>
          </p:cNvSpPr>
          <p:nvPr>
            <p:ph type="title" hasCustomPrompt="1"/>
          </p:nvPr>
        </p:nvSpPr>
        <p:spPr>
          <a:xfrm>
            <a:off x="1945487" y="150495"/>
            <a:ext cx="9547775" cy="1531394"/>
          </a:xfrm>
          <a:prstGeom prst="rect">
            <a:avLst/>
          </a:prstGeom>
          <a:noFill/>
        </p:spPr>
        <p:txBody>
          <a:bodyPr anchor="b" anchorCtr="0"/>
          <a:lstStyle>
            <a:lvl1pPr algn="ctr">
              <a:defRPr cap="all" baseline="0"/>
            </a:lvl1pPr>
          </a:lstStyle>
          <a:p>
            <a:r>
              <a:rPr lang="en-US"/>
              <a:t>CLICK TO add TITLE</a:t>
            </a:r>
          </a:p>
        </p:txBody>
      </p:sp>
      <p:sp>
        <p:nvSpPr>
          <p:cNvPr id="21" name="Text Placeholder 9">
            <a:extLst>
              <a:ext uri="{FF2B5EF4-FFF2-40B4-BE49-F238E27FC236}">
                <a16:creationId xmlns:a16="http://schemas.microsoft.com/office/drawing/2014/main" id="{7E30BBCA-EC62-4514-BAE7-F5373866DA07}"/>
              </a:ext>
            </a:extLst>
          </p:cNvPr>
          <p:cNvSpPr>
            <a:spLocks noGrp="1"/>
          </p:cNvSpPr>
          <p:nvPr>
            <p:ph type="body" sz="quarter" idx="15" hasCustomPrompt="1"/>
          </p:nvPr>
        </p:nvSpPr>
        <p:spPr>
          <a:xfrm>
            <a:off x="1945486" y="2011017"/>
            <a:ext cx="4535925" cy="444221"/>
          </a:xfrm>
          <a:prstGeom prst="rect">
            <a:avLst/>
          </a:prstGeom>
        </p:spPr>
        <p:txBody>
          <a:bodyPr anchor="ctr" anchorCtr="0">
            <a:noAutofit/>
          </a:bodyPr>
          <a:lstStyle>
            <a:lvl1pPr marL="0" indent="0" algn="l">
              <a:lnSpc>
                <a:spcPts val="2865"/>
              </a:lnSpc>
              <a:spcBef>
                <a:spcPts val="0"/>
              </a:spcBef>
              <a:buNone/>
              <a:defRPr sz="1989" cap="all" baseline="0">
                <a:solidFill>
                  <a:schemeClr val="bg1">
                    <a:lumMod val="50000"/>
                  </a:schemeClr>
                </a:solidFill>
                <a:latin typeface="+mj-lt"/>
              </a:defRPr>
            </a:lvl1pPr>
            <a:lvl2pPr marL="504031" indent="0">
              <a:lnSpc>
                <a:spcPts val="2865"/>
              </a:lnSpc>
              <a:buNone/>
              <a:defRPr sz="1763"/>
            </a:lvl2pPr>
            <a:lvl3pPr marL="1008063" indent="0">
              <a:lnSpc>
                <a:spcPts val="2865"/>
              </a:lnSpc>
              <a:buNone/>
              <a:defRPr sz="1763"/>
            </a:lvl3pPr>
            <a:lvl4pPr marL="1512094" indent="0">
              <a:lnSpc>
                <a:spcPts val="2865"/>
              </a:lnSpc>
              <a:buNone/>
              <a:defRPr sz="1763"/>
            </a:lvl4pPr>
            <a:lvl5pPr marL="2016127" indent="0">
              <a:lnSpc>
                <a:spcPts val="2865"/>
              </a:lnSpc>
              <a:buNone/>
              <a:defRPr sz="1763"/>
            </a:lvl5pPr>
          </a:lstStyle>
          <a:p>
            <a:pPr lvl="0"/>
            <a:r>
              <a:rPr lang="en-US"/>
              <a:t>Click to add text</a:t>
            </a:r>
          </a:p>
        </p:txBody>
      </p:sp>
      <p:sp>
        <p:nvSpPr>
          <p:cNvPr id="10" name="Text Placeholder 9">
            <a:extLst>
              <a:ext uri="{FF2B5EF4-FFF2-40B4-BE49-F238E27FC236}">
                <a16:creationId xmlns:a16="http://schemas.microsoft.com/office/drawing/2014/main" id="{FB6CE9C2-1F1B-43C7-A998-FC5946D7D3A6}"/>
              </a:ext>
            </a:extLst>
          </p:cNvPr>
          <p:cNvSpPr>
            <a:spLocks noGrp="1"/>
          </p:cNvSpPr>
          <p:nvPr>
            <p:ph type="body" sz="quarter" idx="13" hasCustomPrompt="1"/>
          </p:nvPr>
        </p:nvSpPr>
        <p:spPr>
          <a:xfrm>
            <a:off x="1945486" y="2513760"/>
            <a:ext cx="4535925" cy="907162"/>
          </a:xfrm>
          <a:prstGeom prst="rect">
            <a:avLst/>
          </a:prstGeom>
        </p:spPr>
        <p:txBody>
          <a:bodyPr>
            <a:normAutofit/>
          </a:bodyPr>
          <a:lstStyle>
            <a:lvl1pPr marL="0" indent="0" algn="l">
              <a:lnSpc>
                <a:spcPts val="2207"/>
              </a:lnSpc>
              <a:spcBef>
                <a:spcPts val="0"/>
              </a:spcBef>
              <a:buNone/>
              <a:defRPr sz="1547"/>
            </a:lvl1pPr>
            <a:lvl2pPr marL="504031" indent="0">
              <a:lnSpc>
                <a:spcPts val="2865"/>
              </a:lnSpc>
              <a:buNone/>
              <a:defRPr sz="1763"/>
            </a:lvl2pPr>
            <a:lvl3pPr marL="1008063" indent="0">
              <a:lnSpc>
                <a:spcPts val="2865"/>
              </a:lnSpc>
              <a:buNone/>
              <a:defRPr sz="1763"/>
            </a:lvl3pPr>
            <a:lvl4pPr marL="1512094" indent="0">
              <a:lnSpc>
                <a:spcPts val="2865"/>
              </a:lnSpc>
              <a:buNone/>
              <a:defRPr sz="1763"/>
            </a:lvl4pPr>
            <a:lvl5pPr marL="2016127" indent="0">
              <a:lnSpc>
                <a:spcPts val="2865"/>
              </a:lnSpc>
              <a:buNone/>
              <a:defRPr sz="1763"/>
            </a:lvl5pPr>
          </a:lstStyle>
          <a:p>
            <a:pPr lvl="0"/>
            <a:r>
              <a:rPr lang="en-US"/>
              <a:t>Click to add text</a:t>
            </a:r>
          </a:p>
        </p:txBody>
      </p:sp>
      <p:sp>
        <p:nvSpPr>
          <p:cNvPr id="18" name="Text Placeholder 9">
            <a:extLst>
              <a:ext uri="{FF2B5EF4-FFF2-40B4-BE49-F238E27FC236}">
                <a16:creationId xmlns:a16="http://schemas.microsoft.com/office/drawing/2014/main" id="{90030F54-B798-4D46-A4CD-ACD5BBD57DB3}"/>
              </a:ext>
            </a:extLst>
          </p:cNvPr>
          <p:cNvSpPr>
            <a:spLocks noGrp="1"/>
          </p:cNvSpPr>
          <p:nvPr>
            <p:ph type="body" sz="quarter" idx="17" hasCustomPrompt="1"/>
          </p:nvPr>
        </p:nvSpPr>
        <p:spPr>
          <a:xfrm>
            <a:off x="1945486" y="3548236"/>
            <a:ext cx="4535925" cy="444221"/>
          </a:xfrm>
          <a:prstGeom prst="rect">
            <a:avLst/>
          </a:prstGeom>
        </p:spPr>
        <p:txBody>
          <a:bodyPr anchor="ctr" anchorCtr="0">
            <a:noAutofit/>
          </a:bodyPr>
          <a:lstStyle>
            <a:lvl1pPr marL="0" indent="0" algn="l">
              <a:lnSpc>
                <a:spcPts val="2865"/>
              </a:lnSpc>
              <a:spcBef>
                <a:spcPts val="0"/>
              </a:spcBef>
              <a:buNone/>
              <a:defRPr sz="1989" cap="all" baseline="0">
                <a:solidFill>
                  <a:schemeClr val="bg1">
                    <a:lumMod val="50000"/>
                  </a:schemeClr>
                </a:solidFill>
                <a:latin typeface="+mj-lt"/>
              </a:defRPr>
            </a:lvl1pPr>
            <a:lvl2pPr marL="504031" indent="0">
              <a:lnSpc>
                <a:spcPts val="2865"/>
              </a:lnSpc>
              <a:buNone/>
              <a:defRPr sz="1763"/>
            </a:lvl2pPr>
            <a:lvl3pPr marL="1008063" indent="0">
              <a:lnSpc>
                <a:spcPts val="2865"/>
              </a:lnSpc>
              <a:buNone/>
              <a:defRPr sz="1763"/>
            </a:lvl3pPr>
            <a:lvl4pPr marL="1512094" indent="0">
              <a:lnSpc>
                <a:spcPts val="2865"/>
              </a:lnSpc>
              <a:buNone/>
              <a:defRPr sz="1763"/>
            </a:lvl4pPr>
            <a:lvl5pPr marL="2016127" indent="0">
              <a:lnSpc>
                <a:spcPts val="2865"/>
              </a:lnSpc>
              <a:buNone/>
              <a:defRPr sz="1763"/>
            </a:lvl5pPr>
          </a:lstStyle>
          <a:p>
            <a:pPr lvl="0"/>
            <a:r>
              <a:rPr lang="en-US"/>
              <a:t>Click to add text</a:t>
            </a:r>
          </a:p>
        </p:txBody>
      </p:sp>
      <p:sp>
        <p:nvSpPr>
          <p:cNvPr id="17" name="Text Placeholder 9">
            <a:extLst>
              <a:ext uri="{FF2B5EF4-FFF2-40B4-BE49-F238E27FC236}">
                <a16:creationId xmlns:a16="http://schemas.microsoft.com/office/drawing/2014/main" id="{92C6694F-2B95-4B4C-BA1B-C0324F61B8AE}"/>
              </a:ext>
            </a:extLst>
          </p:cNvPr>
          <p:cNvSpPr>
            <a:spLocks noGrp="1"/>
          </p:cNvSpPr>
          <p:nvPr>
            <p:ph type="body" sz="quarter" idx="16" hasCustomPrompt="1"/>
          </p:nvPr>
        </p:nvSpPr>
        <p:spPr>
          <a:xfrm>
            <a:off x="1945486" y="4055278"/>
            <a:ext cx="4535925" cy="907162"/>
          </a:xfrm>
          <a:prstGeom prst="rect">
            <a:avLst/>
          </a:prstGeom>
        </p:spPr>
        <p:txBody>
          <a:bodyPr>
            <a:normAutofit/>
          </a:bodyPr>
          <a:lstStyle>
            <a:lvl1pPr marL="0" indent="0" algn="l">
              <a:lnSpc>
                <a:spcPts val="2207"/>
              </a:lnSpc>
              <a:spcBef>
                <a:spcPts val="0"/>
              </a:spcBef>
              <a:buNone/>
              <a:defRPr sz="1547"/>
            </a:lvl1pPr>
            <a:lvl2pPr marL="504031" indent="0">
              <a:lnSpc>
                <a:spcPts val="2865"/>
              </a:lnSpc>
              <a:buNone/>
              <a:defRPr sz="1763"/>
            </a:lvl2pPr>
            <a:lvl3pPr marL="1008063" indent="0">
              <a:lnSpc>
                <a:spcPts val="2865"/>
              </a:lnSpc>
              <a:buNone/>
              <a:defRPr sz="1763"/>
            </a:lvl3pPr>
            <a:lvl4pPr marL="1512094" indent="0">
              <a:lnSpc>
                <a:spcPts val="2865"/>
              </a:lnSpc>
              <a:buNone/>
              <a:defRPr sz="1763"/>
            </a:lvl4pPr>
            <a:lvl5pPr marL="2016127" indent="0">
              <a:lnSpc>
                <a:spcPts val="2865"/>
              </a:lnSpc>
              <a:buNone/>
              <a:defRPr sz="1763"/>
            </a:lvl5pPr>
          </a:lstStyle>
          <a:p>
            <a:pPr lvl="0"/>
            <a:r>
              <a:rPr lang="en-US"/>
              <a:t>Click to add text</a:t>
            </a:r>
          </a:p>
        </p:txBody>
      </p:sp>
      <p:sp>
        <p:nvSpPr>
          <p:cNvPr id="22" name="Text Placeholder 9">
            <a:extLst>
              <a:ext uri="{FF2B5EF4-FFF2-40B4-BE49-F238E27FC236}">
                <a16:creationId xmlns:a16="http://schemas.microsoft.com/office/drawing/2014/main" id="{7B8F0619-4E85-42A4-85C2-D6BB13201858}"/>
              </a:ext>
            </a:extLst>
          </p:cNvPr>
          <p:cNvSpPr>
            <a:spLocks noGrp="1"/>
          </p:cNvSpPr>
          <p:nvPr>
            <p:ph type="body" sz="quarter" idx="19" hasCustomPrompt="1"/>
          </p:nvPr>
        </p:nvSpPr>
        <p:spPr>
          <a:xfrm>
            <a:off x="6957336" y="2011017"/>
            <a:ext cx="4535925" cy="444221"/>
          </a:xfrm>
          <a:prstGeom prst="rect">
            <a:avLst/>
          </a:prstGeom>
        </p:spPr>
        <p:txBody>
          <a:bodyPr anchor="ctr" anchorCtr="0">
            <a:noAutofit/>
          </a:bodyPr>
          <a:lstStyle>
            <a:lvl1pPr marL="0" indent="0" algn="l">
              <a:lnSpc>
                <a:spcPts val="2865"/>
              </a:lnSpc>
              <a:spcBef>
                <a:spcPts val="0"/>
              </a:spcBef>
              <a:buNone/>
              <a:defRPr sz="1989" cap="all" baseline="0">
                <a:solidFill>
                  <a:schemeClr val="bg1">
                    <a:lumMod val="50000"/>
                  </a:schemeClr>
                </a:solidFill>
                <a:latin typeface="+mj-lt"/>
              </a:defRPr>
            </a:lvl1pPr>
            <a:lvl2pPr marL="504031" indent="0">
              <a:lnSpc>
                <a:spcPts val="2865"/>
              </a:lnSpc>
              <a:buNone/>
              <a:defRPr sz="1763"/>
            </a:lvl2pPr>
            <a:lvl3pPr marL="1008063" indent="0">
              <a:lnSpc>
                <a:spcPts val="2865"/>
              </a:lnSpc>
              <a:buNone/>
              <a:defRPr sz="1763"/>
            </a:lvl3pPr>
            <a:lvl4pPr marL="1512094" indent="0">
              <a:lnSpc>
                <a:spcPts val="2865"/>
              </a:lnSpc>
              <a:buNone/>
              <a:defRPr sz="1763"/>
            </a:lvl4pPr>
            <a:lvl5pPr marL="2016127" indent="0">
              <a:lnSpc>
                <a:spcPts val="2865"/>
              </a:lnSpc>
              <a:buNone/>
              <a:defRPr sz="1763"/>
            </a:lvl5pPr>
          </a:lstStyle>
          <a:p>
            <a:pPr lvl="0"/>
            <a:r>
              <a:rPr lang="en-US"/>
              <a:t>Click to add text</a:t>
            </a:r>
          </a:p>
        </p:txBody>
      </p:sp>
      <p:sp>
        <p:nvSpPr>
          <p:cNvPr id="19" name="Text Placeholder 9">
            <a:extLst>
              <a:ext uri="{FF2B5EF4-FFF2-40B4-BE49-F238E27FC236}">
                <a16:creationId xmlns:a16="http://schemas.microsoft.com/office/drawing/2014/main" id="{6BCC7FE8-95AF-4413-95CB-0BEFC63F6C3A}"/>
              </a:ext>
            </a:extLst>
          </p:cNvPr>
          <p:cNvSpPr>
            <a:spLocks noGrp="1"/>
          </p:cNvSpPr>
          <p:nvPr>
            <p:ph type="body" sz="quarter" idx="18" hasCustomPrompt="1"/>
          </p:nvPr>
        </p:nvSpPr>
        <p:spPr>
          <a:xfrm>
            <a:off x="6957336" y="2513760"/>
            <a:ext cx="4535925" cy="907162"/>
          </a:xfrm>
          <a:prstGeom prst="rect">
            <a:avLst/>
          </a:prstGeom>
        </p:spPr>
        <p:txBody>
          <a:bodyPr>
            <a:normAutofit/>
          </a:bodyPr>
          <a:lstStyle>
            <a:lvl1pPr marL="0" indent="0" algn="l">
              <a:lnSpc>
                <a:spcPts val="2207"/>
              </a:lnSpc>
              <a:spcBef>
                <a:spcPts val="0"/>
              </a:spcBef>
              <a:buNone/>
              <a:defRPr sz="1547"/>
            </a:lvl1pPr>
            <a:lvl2pPr marL="504031" indent="0">
              <a:lnSpc>
                <a:spcPts val="2865"/>
              </a:lnSpc>
              <a:buNone/>
              <a:defRPr sz="1763"/>
            </a:lvl2pPr>
            <a:lvl3pPr marL="1008063" indent="0">
              <a:lnSpc>
                <a:spcPts val="2865"/>
              </a:lnSpc>
              <a:buNone/>
              <a:defRPr sz="1763"/>
            </a:lvl3pPr>
            <a:lvl4pPr marL="1512094" indent="0">
              <a:lnSpc>
                <a:spcPts val="2865"/>
              </a:lnSpc>
              <a:buNone/>
              <a:defRPr sz="1763"/>
            </a:lvl4pPr>
            <a:lvl5pPr marL="2016127" indent="0">
              <a:lnSpc>
                <a:spcPts val="2865"/>
              </a:lnSpc>
              <a:buNone/>
              <a:defRPr sz="1763"/>
            </a:lvl5pPr>
          </a:lstStyle>
          <a:p>
            <a:pPr lvl="0"/>
            <a:r>
              <a:rPr lang="en-US"/>
              <a:t>Click to add text</a:t>
            </a:r>
          </a:p>
        </p:txBody>
      </p:sp>
      <p:sp>
        <p:nvSpPr>
          <p:cNvPr id="24" name="Text Placeholder 9">
            <a:extLst>
              <a:ext uri="{FF2B5EF4-FFF2-40B4-BE49-F238E27FC236}">
                <a16:creationId xmlns:a16="http://schemas.microsoft.com/office/drawing/2014/main" id="{521874F3-36B0-4030-9576-95D94C95A719}"/>
              </a:ext>
            </a:extLst>
          </p:cNvPr>
          <p:cNvSpPr>
            <a:spLocks noGrp="1"/>
          </p:cNvSpPr>
          <p:nvPr>
            <p:ph type="body" sz="quarter" idx="21" hasCustomPrompt="1"/>
          </p:nvPr>
        </p:nvSpPr>
        <p:spPr>
          <a:xfrm>
            <a:off x="6957336" y="3548236"/>
            <a:ext cx="4535925" cy="444221"/>
          </a:xfrm>
          <a:prstGeom prst="rect">
            <a:avLst/>
          </a:prstGeom>
        </p:spPr>
        <p:txBody>
          <a:bodyPr anchor="ctr" anchorCtr="0">
            <a:noAutofit/>
          </a:bodyPr>
          <a:lstStyle>
            <a:lvl1pPr marL="0" indent="0" algn="l">
              <a:lnSpc>
                <a:spcPts val="2865"/>
              </a:lnSpc>
              <a:spcBef>
                <a:spcPts val="0"/>
              </a:spcBef>
              <a:buNone/>
              <a:defRPr sz="1989" cap="all" baseline="0">
                <a:solidFill>
                  <a:schemeClr val="bg1">
                    <a:lumMod val="50000"/>
                  </a:schemeClr>
                </a:solidFill>
                <a:latin typeface="+mj-lt"/>
              </a:defRPr>
            </a:lvl1pPr>
            <a:lvl2pPr marL="504031" indent="0">
              <a:lnSpc>
                <a:spcPts val="2865"/>
              </a:lnSpc>
              <a:buNone/>
              <a:defRPr sz="1763"/>
            </a:lvl2pPr>
            <a:lvl3pPr marL="1008063" indent="0">
              <a:lnSpc>
                <a:spcPts val="2865"/>
              </a:lnSpc>
              <a:buNone/>
              <a:defRPr sz="1763"/>
            </a:lvl3pPr>
            <a:lvl4pPr marL="1512094" indent="0">
              <a:lnSpc>
                <a:spcPts val="2865"/>
              </a:lnSpc>
              <a:buNone/>
              <a:defRPr sz="1763"/>
            </a:lvl4pPr>
            <a:lvl5pPr marL="2016127" indent="0">
              <a:lnSpc>
                <a:spcPts val="2865"/>
              </a:lnSpc>
              <a:buNone/>
              <a:defRPr sz="1763"/>
            </a:lvl5pPr>
          </a:lstStyle>
          <a:p>
            <a:pPr lvl="0"/>
            <a:r>
              <a:rPr lang="en-US"/>
              <a:t>Click to add text</a:t>
            </a:r>
          </a:p>
        </p:txBody>
      </p:sp>
      <p:sp>
        <p:nvSpPr>
          <p:cNvPr id="23" name="Text Placeholder 9">
            <a:extLst>
              <a:ext uri="{FF2B5EF4-FFF2-40B4-BE49-F238E27FC236}">
                <a16:creationId xmlns:a16="http://schemas.microsoft.com/office/drawing/2014/main" id="{5E79BC06-B039-47CF-9DCC-6D96D6B07850}"/>
              </a:ext>
            </a:extLst>
          </p:cNvPr>
          <p:cNvSpPr>
            <a:spLocks noGrp="1"/>
          </p:cNvSpPr>
          <p:nvPr>
            <p:ph type="body" sz="quarter" idx="20" hasCustomPrompt="1"/>
          </p:nvPr>
        </p:nvSpPr>
        <p:spPr>
          <a:xfrm>
            <a:off x="6957336" y="4055278"/>
            <a:ext cx="4535925" cy="907162"/>
          </a:xfrm>
          <a:prstGeom prst="rect">
            <a:avLst/>
          </a:prstGeom>
        </p:spPr>
        <p:txBody>
          <a:bodyPr>
            <a:normAutofit/>
          </a:bodyPr>
          <a:lstStyle>
            <a:lvl1pPr marL="0" indent="0" algn="l">
              <a:lnSpc>
                <a:spcPts val="2207"/>
              </a:lnSpc>
              <a:spcBef>
                <a:spcPts val="0"/>
              </a:spcBef>
              <a:buNone/>
              <a:defRPr sz="1547"/>
            </a:lvl1pPr>
            <a:lvl2pPr marL="504031" indent="0">
              <a:lnSpc>
                <a:spcPts val="2865"/>
              </a:lnSpc>
              <a:buNone/>
              <a:defRPr sz="1763"/>
            </a:lvl2pPr>
            <a:lvl3pPr marL="1008063" indent="0">
              <a:lnSpc>
                <a:spcPts val="2865"/>
              </a:lnSpc>
              <a:buNone/>
              <a:defRPr sz="1763"/>
            </a:lvl3pPr>
            <a:lvl4pPr marL="1512094" indent="0">
              <a:lnSpc>
                <a:spcPts val="2865"/>
              </a:lnSpc>
              <a:buNone/>
              <a:defRPr sz="1763"/>
            </a:lvl4pPr>
            <a:lvl5pPr marL="2016127" indent="0">
              <a:lnSpc>
                <a:spcPts val="2865"/>
              </a:lnSpc>
              <a:buNone/>
              <a:defRPr sz="1763"/>
            </a:lvl5pPr>
          </a:lstStyle>
          <a:p>
            <a:pPr lvl="0"/>
            <a:r>
              <a:rPr lang="en-US"/>
              <a:t>Click to add text</a:t>
            </a:r>
          </a:p>
        </p:txBody>
      </p:sp>
      <p:pic>
        <p:nvPicPr>
          <p:cNvPr id="3" name="Picture 2">
            <a:extLst>
              <a:ext uri="{FF2B5EF4-FFF2-40B4-BE49-F238E27FC236}">
                <a16:creationId xmlns:a16="http://schemas.microsoft.com/office/drawing/2014/main" id="{B264BBFD-41A5-2E0B-2662-48EE09B5B626}"/>
              </a:ext>
            </a:extLst>
          </p:cNvPr>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r="45608"/>
          <a:stretch/>
        </p:blipFill>
        <p:spPr bwMode="auto">
          <a:xfrm rot="16200000" flipH="1">
            <a:off x="4826021" y="-1054075"/>
            <a:ext cx="8467217" cy="876028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8393107"/>
      </p:ext>
    </p:extLst>
  </p:cSld>
  <p:clrMapOvr>
    <a:masterClrMapping/>
  </p:clrMapOvr>
  <p:extLst>
    <p:ext uri="{DCECCB84-F9BA-43D5-87BE-67443E8EF086}">
      <p15:sldGuideLst xmlns:p15="http://schemas.microsoft.com/office/powerpoint/2012/main">
        <p15:guide id="1" pos="3841">
          <p15:clr>
            <a:srgbClr val="FBAE40"/>
          </p15:clr>
        </p15:guide>
        <p15:guide id="2" pos="576">
          <p15:clr>
            <a:srgbClr val="FBAE40"/>
          </p15:clr>
        </p15:guide>
        <p15:guide id="3" pos="7079">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6_Product Benefi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AE12D1-08AF-45E9-A34A-BDE9E860BAA2}"/>
              </a:ext>
            </a:extLst>
          </p:cNvPr>
          <p:cNvSpPr>
            <a:spLocks noGrp="1"/>
          </p:cNvSpPr>
          <p:nvPr>
            <p:ph type="title"/>
          </p:nvPr>
        </p:nvSpPr>
        <p:spPr>
          <a:xfrm>
            <a:off x="923985" y="402485"/>
            <a:ext cx="11591806" cy="1461189"/>
          </a:xfrm>
          <a:prstGeom prst="rect">
            <a:avLst/>
          </a:prstGeom>
        </p:spPr>
        <p:txBody>
          <a:bodyPr/>
          <a:lstStyle>
            <a:lvl1pPr algn="ctr">
              <a:defRPr baseline="0"/>
            </a:lvl1pPr>
          </a:lstStyle>
          <a:p>
            <a:pPr lvl="0"/>
            <a:r>
              <a:rPr lang="en-US"/>
              <a:t>Click to edit Master title style</a:t>
            </a:r>
          </a:p>
        </p:txBody>
      </p:sp>
      <p:sp>
        <p:nvSpPr>
          <p:cNvPr id="35" name="Text Placeholder 16">
            <a:extLst>
              <a:ext uri="{FF2B5EF4-FFF2-40B4-BE49-F238E27FC236}">
                <a16:creationId xmlns:a16="http://schemas.microsoft.com/office/drawing/2014/main" id="{E7EB506B-A069-4967-8BF4-C080EC34A3FD}"/>
              </a:ext>
            </a:extLst>
          </p:cNvPr>
          <p:cNvSpPr>
            <a:spLocks noGrp="1"/>
          </p:cNvSpPr>
          <p:nvPr>
            <p:ph type="body" sz="quarter" idx="21" hasCustomPrompt="1"/>
          </p:nvPr>
        </p:nvSpPr>
        <p:spPr>
          <a:xfrm>
            <a:off x="2099967" y="2392334"/>
            <a:ext cx="2517436" cy="3023870"/>
          </a:xfrm>
          <a:prstGeom prst="rect">
            <a:avLst/>
          </a:prstGeom>
          <a:ln w="22225">
            <a:solidFill>
              <a:schemeClr val="tx1"/>
            </a:solidFill>
          </a:ln>
        </p:spPr>
        <p:txBody>
          <a:bodyPr lIns="365760" tIns="1554480" rIns="365760">
            <a:normAutofit/>
          </a:bodyPr>
          <a:lstStyle>
            <a:lvl1pPr marL="0" indent="0" algn="ctr">
              <a:lnSpc>
                <a:spcPts val="2207"/>
              </a:lnSpc>
              <a:spcBef>
                <a:spcPts val="0"/>
              </a:spcBef>
              <a:buNone/>
              <a:defRPr sz="1547"/>
            </a:lvl1pPr>
            <a:lvl2pPr marL="504031" indent="0">
              <a:buNone/>
              <a:defRPr sz="1763"/>
            </a:lvl2pPr>
            <a:lvl3pPr marL="1008063" indent="0">
              <a:buNone/>
              <a:defRPr sz="1763"/>
            </a:lvl3pPr>
            <a:lvl4pPr marL="1512094" indent="0">
              <a:buNone/>
              <a:defRPr sz="1763"/>
            </a:lvl4pPr>
            <a:lvl5pPr marL="2016127" indent="0">
              <a:buNone/>
              <a:defRPr sz="1763"/>
            </a:lvl5pPr>
          </a:lstStyle>
          <a:p>
            <a:pPr lvl="0"/>
            <a:r>
              <a:rPr lang="en-US"/>
              <a:t>Click to add text</a:t>
            </a:r>
          </a:p>
        </p:txBody>
      </p:sp>
      <p:sp>
        <p:nvSpPr>
          <p:cNvPr id="13" name="Content Placeholder 12">
            <a:extLst>
              <a:ext uri="{FF2B5EF4-FFF2-40B4-BE49-F238E27FC236}">
                <a16:creationId xmlns:a16="http://schemas.microsoft.com/office/drawing/2014/main" id="{7EAC5CD7-1A3E-485E-B8D8-C6B22ADD6AE4}"/>
              </a:ext>
            </a:extLst>
          </p:cNvPr>
          <p:cNvSpPr>
            <a:spLocks noGrp="1"/>
          </p:cNvSpPr>
          <p:nvPr>
            <p:ph sz="quarter" idx="13" hasCustomPrompt="1"/>
          </p:nvPr>
        </p:nvSpPr>
        <p:spPr>
          <a:xfrm>
            <a:off x="2355020" y="2595196"/>
            <a:ext cx="2015968" cy="1450237"/>
          </a:xfrm>
          <a:prstGeom prst="rect">
            <a:avLst/>
          </a:prstGeom>
        </p:spPr>
        <p:txBody>
          <a:bodyPr>
            <a:normAutofit/>
          </a:bodyPr>
          <a:lstStyle>
            <a:lvl1pPr marL="0" indent="0" algn="ctr">
              <a:buNone/>
              <a:defRPr sz="1328"/>
            </a:lvl1pPr>
            <a:lvl2pPr marL="504031" indent="0">
              <a:buNone/>
              <a:defRPr sz="1547"/>
            </a:lvl2pPr>
            <a:lvl3pPr marL="1008063" indent="0">
              <a:buNone/>
              <a:defRPr sz="1547"/>
            </a:lvl3pPr>
            <a:lvl4pPr marL="1512094" indent="0">
              <a:buNone/>
              <a:defRPr sz="1547"/>
            </a:lvl4pPr>
            <a:lvl5pPr marL="2016127" indent="0">
              <a:buNone/>
              <a:defRPr sz="1547"/>
            </a:lvl5pPr>
          </a:lstStyle>
          <a:p>
            <a:pPr lvl="0"/>
            <a:r>
              <a:rPr lang="en-US"/>
              <a:t>Click to add content</a:t>
            </a:r>
          </a:p>
        </p:txBody>
      </p:sp>
      <p:sp>
        <p:nvSpPr>
          <p:cNvPr id="34" name="Text Placeholder 16">
            <a:extLst>
              <a:ext uri="{FF2B5EF4-FFF2-40B4-BE49-F238E27FC236}">
                <a16:creationId xmlns:a16="http://schemas.microsoft.com/office/drawing/2014/main" id="{C0972073-5297-411C-B27C-5CC1985668B9}"/>
              </a:ext>
            </a:extLst>
          </p:cNvPr>
          <p:cNvSpPr>
            <a:spLocks noGrp="1"/>
          </p:cNvSpPr>
          <p:nvPr>
            <p:ph type="body" sz="quarter" idx="20" hasCustomPrompt="1"/>
          </p:nvPr>
        </p:nvSpPr>
        <p:spPr>
          <a:xfrm>
            <a:off x="5457413" y="2394836"/>
            <a:ext cx="2517436" cy="3023870"/>
          </a:xfrm>
          <a:prstGeom prst="rect">
            <a:avLst/>
          </a:prstGeom>
          <a:ln w="22225">
            <a:solidFill>
              <a:schemeClr val="tx1"/>
            </a:solidFill>
          </a:ln>
        </p:spPr>
        <p:txBody>
          <a:bodyPr lIns="365760" tIns="1554480" rIns="365760">
            <a:normAutofit/>
          </a:bodyPr>
          <a:lstStyle>
            <a:lvl1pPr marL="0" indent="0" algn="ctr">
              <a:lnSpc>
                <a:spcPts val="2207"/>
              </a:lnSpc>
              <a:spcBef>
                <a:spcPts val="0"/>
              </a:spcBef>
              <a:buNone/>
              <a:defRPr sz="1547"/>
            </a:lvl1pPr>
            <a:lvl2pPr marL="504031" indent="0">
              <a:buNone/>
              <a:defRPr sz="1763"/>
            </a:lvl2pPr>
            <a:lvl3pPr marL="1008063" indent="0">
              <a:buNone/>
              <a:defRPr sz="1763"/>
            </a:lvl3pPr>
            <a:lvl4pPr marL="1512094" indent="0">
              <a:buNone/>
              <a:defRPr sz="1763"/>
            </a:lvl4pPr>
            <a:lvl5pPr marL="2016127" indent="0">
              <a:buNone/>
              <a:defRPr sz="1763"/>
            </a:lvl5pPr>
          </a:lstStyle>
          <a:p>
            <a:pPr lvl="0"/>
            <a:r>
              <a:rPr lang="en-US"/>
              <a:t>Click to add text</a:t>
            </a:r>
          </a:p>
        </p:txBody>
      </p:sp>
      <p:sp>
        <p:nvSpPr>
          <p:cNvPr id="19" name="Content Placeholder 12">
            <a:extLst>
              <a:ext uri="{FF2B5EF4-FFF2-40B4-BE49-F238E27FC236}">
                <a16:creationId xmlns:a16="http://schemas.microsoft.com/office/drawing/2014/main" id="{B004E4D5-7F92-4D3E-BB88-35ED384CCF52}"/>
              </a:ext>
            </a:extLst>
          </p:cNvPr>
          <p:cNvSpPr>
            <a:spLocks noGrp="1"/>
          </p:cNvSpPr>
          <p:nvPr>
            <p:ph sz="quarter" idx="15" hasCustomPrompt="1"/>
          </p:nvPr>
        </p:nvSpPr>
        <p:spPr>
          <a:xfrm>
            <a:off x="5712468" y="2597699"/>
            <a:ext cx="2015968" cy="1451458"/>
          </a:xfrm>
          <a:prstGeom prst="rect">
            <a:avLst/>
          </a:prstGeom>
        </p:spPr>
        <p:txBody>
          <a:bodyPr>
            <a:normAutofit/>
          </a:bodyPr>
          <a:lstStyle>
            <a:lvl1pPr marL="0" indent="0" algn="ctr">
              <a:buNone/>
              <a:defRPr sz="1328"/>
            </a:lvl1pPr>
            <a:lvl2pPr marL="504031" indent="0">
              <a:buNone/>
              <a:defRPr sz="1547"/>
            </a:lvl2pPr>
            <a:lvl3pPr marL="1008063" indent="0">
              <a:buNone/>
              <a:defRPr sz="1547"/>
            </a:lvl3pPr>
            <a:lvl4pPr marL="1512094" indent="0">
              <a:buNone/>
              <a:defRPr sz="1547"/>
            </a:lvl4pPr>
            <a:lvl5pPr marL="2016127" indent="0">
              <a:buNone/>
              <a:defRPr sz="1547"/>
            </a:lvl5pPr>
          </a:lstStyle>
          <a:p>
            <a:pPr lvl="0"/>
            <a:r>
              <a:rPr lang="en-US"/>
              <a:t>Click to add content</a:t>
            </a:r>
          </a:p>
        </p:txBody>
      </p:sp>
      <p:sp>
        <p:nvSpPr>
          <p:cNvPr id="23" name="Text Placeholder 16">
            <a:extLst>
              <a:ext uri="{FF2B5EF4-FFF2-40B4-BE49-F238E27FC236}">
                <a16:creationId xmlns:a16="http://schemas.microsoft.com/office/drawing/2014/main" id="{4E2096A1-8340-4D15-A6EA-3B804C1A5F4B}"/>
              </a:ext>
            </a:extLst>
          </p:cNvPr>
          <p:cNvSpPr>
            <a:spLocks noGrp="1"/>
          </p:cNvSpPr>
          <p:nvPr>
            <p:ph type="body" sz="quarter" idx="18" hasCustomPrompt="1"/>
          </p:nvPr>
        </p:nvSpPr>
        <p:spPr>
          <a:xfrm>
            <a:off x="8822378" y="2389822"/>
            <a:ext cx="2517436" cy="3023870"/>
          </a:xfrm>
          <a:prstGeom prst="rect">
            <a:avLst/>
          </a:prstGeom>
          <a:ln w="22225">
            <a:solidFill>
              <a:schemeClr val="tx1"/>
            </a:solidFill>
          </a:ln>
        </p:spPr>
        <p:txBody>
          <a:bodyPr lIns="365760" tIns="1554480" rIns="365760">
            <a:normAutofit/>
          </a:bodyPr>
          <a:lstStyle>
            <a:lvl1pPr marL="0" indent="0" algn="ctr">
              <a:lnSpc>
                <a:spcPts val="2207"/>
              </a:lnSpc>
              <a:spcBef>
                <a:spcPts val="0"/>
              </a:spcBef>
              <a:buNone/>
              <a:defRPr sz="1547"/>
            </a:lvl1pPr>
            <a:lvl2pPr marL="504031" indent="0">
              <a:buNone/>
              <a:defRPr sz="1763"/>
            </a:lvl2pPr>
            <a:lvl3pPr marL="1008063" indent="0">
              <a:buNone/>
              <a:defRPr sz="1763"/>
            </a:lvl3pPr>
            <a:lvl4pPr marL="1512094" indent="0">
              <a:buNone/>
              <a:defRPr sz="1763"/>
            </a:lvl4pPr>
            <a:lvl5pPr marL="2016127" indent="0">
              <a:buNone/>
              <a:defRPr sz="1763"/>
            </a:lvl5pPr>
          </a:lstStyle>
          <a:p>
            <a:pPr lvl="0"/>
            <a:r>
              <a:rPr lang="en-US"/>
              <a:t>Click to add text</a:t>
            </a:r>
          </a:p>
        </p:txBody>
      </p:sp>
      <p:sp>
        <p:nvSpPr>
          <p:cNvPr id="22" name="Content Placeholder 12">
            <a:extLst>
              <a:ext uri="{FF2B5EF4-FFF2-40B4-BE49-F238E27FC236}">
                <a16:creationId xmlns:a16="http://schemas.microsoft.com/office/drawing/2014/main" id="{575F9DFF-43AF-4E05-8407-87D47C1818C4}"/>
              </a:ext>
            </a:extLst>
          </p:cNvPr>
          <p:cNvSpPr>
            <a:spLocks noGrp="1"/>
          </p:cNvSpPr>
          <p:nvPr>
            <p:ph sz="quarter" idx="17" hasCustomPrompt="1"/>
          </p:nvPr>
        </p:nvSpPr>
        <p:spPr>
          <a:xfrm>
            <a:off x="9077430" y="2592681"/>
            <a:ext cx="2015968" cy="1451458"/>
          </a:xfrm>
          <a:prstGeom prst="rect">
            <a:avLst/>
          </a:prstGeom>
        </p:spPr>
        <p:txBody>
          <a:bodyPr>
            <a:normAutofit/>
          </a:bodyPr>
          <a:lstStyle>
            <a:lvl1pPr marL="0" indent="0" algn="ctr">
              <a:buNone/>
              <a:defRPr sz="1328"/>
            </a:lvl1pPr>
            <a:lvl2pPr marL="504031" indent="0">
              <a:buNone/>
              <a:defRPr sz="1547"/>
            </a:lvl2pPr>
            <a:lvl3pPr marL="1008063" indent="0">
              <a:buNone/>
              <a:defRPr sz="1547"/>
            </a:lvl3pPr>
            <a:lvl4pPr marL="1512094" indent="0">
              <a:buNone/>
              <a:defRPr sz="1547"/>
            </a:lvl4pPr>
            <a:lvl5pPr marL="2016127" indent="0">
              <a:buNone/>
              <a:defRPr sz="1547"/>
            </a:lvl5pPr>
          </a:lstStyle>
          <a:p>
            <a:pPr lvl="0"/>
            <a:r>
              <a:rPr lang="en-US"/>
              <a:t>Click to add content</a:t>
            </a:r>
          </a:p>
        </p:txBody>
      </p:sp>
      <p:cxnSp>
        <p:nvCxnSpPr>
          <p:cNvPr id="27" name="Straight Connector 26">
            <a:extLst>
              <a:ext uri="{FF2B5EF4-FFF2-40B4-BE49-F238E27FC236}">
                <a16:creationId xmlns:a16="http://schemas.microsoft.com/office/drawing/2014/main" id="{20CC67AF-EFC9-4B23-9479-0F61E17DB384}"/>
              </a:ext>
              <a:ext uri="{C183D7F6-B498-43B3-948B-1728B52AA6E4}">
                <adec:decorative xmlns:adec="http://schemas.microsoft.com/office/drawing/2017/decorative" val="1"/>
              </a:ext>
            </a:extLst>
          </p:cNvPr>
          <p:cNvCxnSpPr>
            <a:cxnSpLocks/>
          </p:cNvCxnSpPr>
          <p:nvPr userDrawn="1"/>
        </p:nvCxnSpPr>
        <p:spPr>
          <a:xfrm>
            <a:off x="-5737" y="6551722"/>
            <a:ext cx="13463578" cy="464429"/>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sp>
        <p:nvSpPr>
          <p:cNvPr id="25" name="Rectangle 9">
            <a:extLst>
              <a:ext uri="{FF2B5EF4-FFF2-40B4-BE49-F238E27FC236}">
                <a16:creationId xmlns:a16="http://schemas.microsoft.com/office/drawing/2014/main" id="{1BB11DB2-95D5-40A8-A5DA-12C7BE6B1D08}"/>
              </a:ext>
              <a:ext uri="{C183D7F6-B498-43B3-948B-1728B52AA6E4}">
                <adec:decorative xmlns:adec="http://schemas.microsoft.com/office/drawing/2017/decorative" val="1"/>
              </a:ext>
            </a:extLst>
          </p:cNvPr>
          <p:cNvSpPr/>
          <p:nvPr userDrawn="1"/>
        </p:nvSpPr>
        <p:spPr>
          <a:xfrm flipH="1">
            <a:off x="-5737" y="6551722"/>
            <a:ext cx="13463578" cy="1034205"/>
          </a:xfrm>
          <a:custGeom>
            <a:avLst/>
            <a:gdLst>
              <a:gd name="connsiteX0" fmla="*/ 0 w 12192000"/>
              <a:gd name="connsiteY0" fmla="*/ 0 h 914400"/>
              <a:gd name="connsiteX1" fmla="*/ 12192000 w 12192000"/>
              <a:gd name="connsiteY1" fmla="*/ 0 h 914400"/>
              <a:gd name="connsiteX2" fmla="*/ 12192000 w 12192000"/>
              <a:gd name="connsiteY2" fmla="*/ 914400 h 914400"/>
              <a:gd name="connsiteX3" fmla="*/ 0 w 12192000"/>
              <a:gd name="connsiteY3" fmla="*/ 914400 h 914400"/>
              <a:gd name="connsiteX4" fmla="*/ 0 w 12192000"/>
              <a:gd name="connsiteY4" fmla="*/ 0 h 914400"/>
              <a:gd name="connsiteX0" fmla="*/ 0 w 12228095"/>
              <a:gd name="connsiteY0" fmla="*/ 457200 h 914400"/>
              <a:gd name="connsiteX1" fmla="*/ 12228095 w 12228095"/>
              <a:gd name="connsiteY1" fmla="*/ 0 h 914400"/>
              <a:gd name="connsiteX2" fmla="*/ 12228095 w 12228095"/>
              <a:gd name="connsiteY2" fmla="*/ 914400 h 914400"/>
              <a:gd name="connsiteX3" fmla="*/ 36095 w 12228095"/>
              <a:gd name="connsiteY3" fmla="*/ 914400 h 914400"/>
              <a:gd name="connsiteX4" fmla="*/ 0 w 12228095"/>
              <a:gd name="connsiteY4" fmla="*/ 457200 h 914400"/>
              <a:gd name="connsiteX0" fmla="*/ 11652 w 12239747"/>
              <a:gd name="connsiteY0" fmla="*/ 457200 h 938212"/>
              <a:gd name="connsiteX1" fmla="*/ 12239747 w 12239747"/>
              <a:gd name="connsiteY1" fmla="*/ 0 h 938212"/>
              <a:gd name="connsiteX2" fmla="*/ 12239747 w 12239747"/>
              <a:gd name="connsiteY2" fmla="*/ 914400 h 938212"/>
              <a:gd name="connsiteX3" fmla="*/ 0 w 12239747"/>
              <a:gd name="connsiteY3" fmla="*/ 938212 h 938212"/>
              <a:gd name="connsiteX4" fmla="*/ 11652 w 12239747"/>
              <a:gd name="connsiteY4" fmla="*/ 457200 h 938212"/>
              <a:gd name="connsiteX0" fmla="*/ 0 w 12251968"/>
              <a:gd name="connsiteY0" fmla="*/ 438150 h 938212"/>
              <a:gd name="connsiteX1" fmla="*/ 12251968 w 12251968"/>
              <a:gd name="connsiteY1" fmla="*/ 0 h 938212"/>
              <a:gd name="connsiteX2" fmla="*/ 12251968 w 12251968"/>
              <a:gd name="connsiteY2" fmla="*/ 914400 h 938212"/>
              <a:gd name="connsiteX3" fmla="*/ 12221 w 12251968"/>
              <a:gd name="connsiteY3" fmla="*/ 938212 h 938212"/>
              <a:gd name="connsiteX4" fmla="*/ 0 w 12251968"/>
              <a:gd name="connsiteY4" fmla="*/ 438150 h 938212"/>
              <a:gd name="connsiteX0" fmla="*/ 0 w 12275842"/>
              <a:gd name="connsiteY0" fmla="*/ 438150 h 938212"/>
              <a:gd name="connsiteX1" fmla="*/ 12275842 w 12275842"/>
              <a:gd name="connsiteY1" fmla="*/ 0 h 938212"/>
              <a:gd name="connsiteX2" fmla="*/ 12275842 w 12275842"/>
              <a:gd name="connsiteY2" fmla="*/ 914400 h 938212"/>
              <a:gd name="connsiteX3" fmla="*/ 36095 w 12275842"/>
              <a:gd name="connsiteY3" fmla="*/ 938212 h 938212"/>
              <a:gd name="connsiteX4" fmla="*/ 0 w 12275842"/>
              <a:gd name="connsiteY4" fmla="*/ 438150 h 938212"/>
              <a:gd name="connsiteX0" fmla="*/ 11652 w 12239747"/>
              <a:gd name="connsiteY0" fmla="*/ 438150 h 938212"/>
              <a:gd name="connsiteX1" fmla="*/ 12239747 w 12239747"/>
              <a:gd name="connsiteY1" fmla="*/ 0 h 938212"/>
              <a:gd name="connsiteX2" fmla="*/ 12239747 w 12239747"/>
              <a:gd name="connsiteY2" fmla="*/ 914400 h 938212"/>
              <a:gd name="connsiteX3" fmla="*/ 0 w 12239747"/>
              <a:gd name="connsiteY3" fmla="*/ 938212 h 938212"/>
              <a:gd name="connsiteX4" fmla="*/ 11652 w 12239747"/>
              <a:gd name="connsiteY4" fmla="*/ 438150 h 938212"/>
              <a:gd name="connsiteX0" fmla="*/ 11652 w 12239747"/>
              <a:gd name="connsiteY0" fmla="*/ 438150 h 938212"/>
              <a:gd name="connsiteX1" fmla="*/ 12239747 w 12239747"/>
              <a:gd name="connsiteY1" fmla="*/ 0 h 938212"/>
              <a:gd name="connsiteX2" fmla="*/ 12239747 w 12239747"/>
              <a:gd name="connsiteY2" fmla="*/ 914400 h 938212"/>
              <a:gd name="connsiteX3" fmla="*/ 0 w 12239747"/>
              <a:gd name="connsiteY3" fmla="*/ 938212 h 938212"/>
              <a:gd name="connsiteX4" fmla="*/ 11652 w 12239747"/>
              <a:gd name="connsiteY4" fmla="*/ 438150 h 938212"/>
              <a:gd name="connsiteX0" fmla="*/ 0 w 12244968"/>
              <a:gd name="connsiteY0" fmla="*/ 421321 h 938212"/>
              <a:gd name="connsiteX1" fmla="*/ 12244968 w 12244968"/>
              <a:gd name="connsiteY1" fmla="*/ 0 h 938212"/>
              <a:gd name="connsiteX2" fmla="*/ 12244968 w 12244968"/>
              <a:gd name="connsiteY2" fmla="*/ 914400 h 938212"/>
              <a:gd name="connsiteX3" fmla="*/ 5221 w 12244968"/>
              <a:gd name="connsiteY3" fmla="*/ 938212 h 938212"/>
              <a:gd name="connsiteX4" fmla="*/ 0 w 12244968"/>
              <a:gd name="connsiteY4" fmla="*/ 421321 h 938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44968" h="938212">
                <a:moveTo>
                  <a:pt x="0" y="421321"/>
                </a:moveTo>
                <a:lnTo>
                  <a:pt x="12244968" y="0"/>
                </a:lnTo>
                <a:lnTo>
                  <a:pt x="12244968" y="914400"/>
                </a:lnTo>
                <a:lnTo>
                  <a:pt x="5221" y="938212"/>
                </a:lnTo>
                <a:cubicBezTo>
                  <a:pt x="3481" y="765915"/>
                  <a:pt x="1740" y="593618"/>
                  <a:pt x="0" y="421321"/>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29"/>
          </a:p>
        </p:txBody>
      </p:sp>
      <p:sp>
        <p:nvSpPr>
          <p:cNvPr id="4" name="Date Placeholder 3">
            <a:extLst>
              <a:ext uri="{FF2B5EF4-FFF2-40B4-BE49-F238E27FC236}">
                <a16:creationId xmlns:a16="http://schemas.microsoft.com/office/drawing/2014/main" id="{3EDAC16E-5725-4AC1-AB85-871F25D26688}"/>
              </a:ext>
            </a:extLst>
          </p:cNvPr>
          <p:cNvSpPr>
            <a:spLocks noGrp="1"/>
          </p:cNvSpPr>
          <p:nvPr>
            <p:ph type="dt" sz="half" idx="10"/>
          </p:nvPr>
        </p:nvSpPr>
        <p:spPr>
          <a:xfrm>
            <a:off x="923988" y="7006701"/>
            <a:ext cx="3023949" cy="402484"/>
          </a:xfrm>
          <a:prstGeom prst="rect">
            <a:avLst/>
          </a:prstGeom>
        </p:spPr>
        <p:txBody>
          <a:bodyPr/>
          <a:lstStyle/>
          <a:p>
            <a:endParaRPr lang="en-US"/>
          </a:p>
        </p:txBody>
      </p:sp>
      <p:sp>
        <p:nvSpPr>
          <p:cNvPr id="5" name="Footer Placeholder 4">
            <a:extLst>
              <a:ext uri="{FF2B5EF4-FFF2-40B4-BE49-F238E27FC236}">
                <a16:creationId xmlns:a16="http://schemas.microsoft.com/office/drawing/2014/main" id="{FD10B5D8-71E9-48DC-A04C-559359603CB0}"/>
              </a:ext>
            </a:extLst>
          </p:cNvPr>
          <p:cNvSpPr>
            <a:spLocks noGrp="1"/>
          </p:cNvSpPr>
          <p:nvPr>
            <p:ph type="ftr" sz="quarter" idx="11"/>
          </p:nvPr>
        </p:nvSpPr>
        <p:spPr>
          <a:xfrm>
            <a:off x="4451927" y="7006701"/>
            <a:ext cx="4535925" cy="402484"/>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A0FDD81F-9379-48E6-9B14-83486F920A39}"/>
              </a:ext>
            </a:extLst>
          </p:cNvPr>
          <p:cNvSpPr>
            <a:spLocks noGrp="1"/>
          </p:cNvSpPr>
          <p:nvPr>
            <p:ph type="sldNum" sz="quarter" idx="12"/>
          </p:nvPr>
        </p:nvSpPr>
        <p:spPr>
          <a:xfrm>
            <a:off x="9491845" y="7006701"/>
            <a:ext cx="3023949" cy="402484"/>
          </a:xfrm>
          <a:prstGeom prst="rect">
            <a:avLst/>
          </a:prstGeom>
        </p:spPr>
        <p:txBody>
          <a:bodyPr/>
          <a:lstStyle/>
          <a:p>
            <a:fld id="{B5CEABB6-07DC-46E8-9B57-56EC44A396E5}" type="slidenum">
              <a:rPr lang="en-US" smtClean="0"/>
              <a:t>‹№›</a:t>
            </a:fld>
            <a:endParaRPr lang="en-US"/>
          </a:p>
        </p:txBody>
      </p:sp>
    </p:spTree>
    <p:extLst>
      <p:ext uri="{BB962C8B-B14F-4D97-AF65-F5344CB8AC3E}">
        <p14:creationId xmlns:p14="http://schemas.microsoft.com/office/powerpoint/2010/main" val="120844770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7_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E3D039-0A18-4031-8A63-D83666B066F6}"/>
              </a:ext>
            </a:extLst>
          </p:cNvPr>
          <p:cNvSpPr>
            <a:spLocks noGrp="1"/>
          </p:cNvSpPr>
          <p:nvPr>
            <p:ph type="title" hasCustomPrompt="1"/>
          </p:nvPr>
        </p:nvSpPr>
        <p:spPr>
          <a:xfrm>
            <a:off x="916986" y="5150660"/>
            <a:ext cx="11591806" cy="1432360"/>
          </a:xfrm>
          <a:prstGeom prst="rect">
            <a:avLst/>
          </a:prstGeom>
        </p:spPr>
        <p:txBody>
          <a:bodyPr anchor="b">
            <a:noAutofit/>
          </a:bodyPr>
          <a:lstStyle>
            <a:lvl1pPr>
              <a:defRPr sz="4410" baseline="0"/>
            </a:lvl1pPr>
          </a:lstStyle>
          <a:p>
            <a:r>
              <a:rPr lang="en-US"/>
              <a:t>CLICK TO add TITLE</a:t>
            </a:r>
          </a:p>
        </p:txBody>
      </p:sp>
      <p:pic>
        <p:nvPicPr>
          <p:cNvPr id="3" name="Picture 2" descr="D:\- from Disk 1 -\Мои документы\РАБОТА\DTEK\2019\УК\16х9\Re__исходники_КВ____УК\ЦЭ 16к9 слайд 2-03.png">
            <a:extLst>
              <a:ext uri="{FF2B5EF4-FFF2-40B4-BE49-F238E27FC236}">
                <a16:creationId xmlns:a16="http://schemas.microsoft.com/office/drawing/2014/main" id="{655B30B8-2313-F7E1-3438-7704DB4EE701}"/>
              </a:ext>
            </a:extLst>
          </p:cNvPr>
          <p:cNvPicPr>
            <a:picLocks noChangeArrowheads="1"/>
          </p:cNvPicPr>
          <p:nvPr userDrawn="1"/>
        </p:nvPicPr>
        <p:blipFill rotWithShape="1">
          <a:blip r:embed="rId2" cstate="screen">
            <a:extLst>
              <a:ext uri="{28A0092B-C50C-407E-A947-70E740481C1C}">
                <a14:useLocalDpi xmlns:a14="http://schemas.microsoft.com/office/drawing/2010/main"/>
              </a:ext>
            </a:extLst>
          </a:blip>
          <a:srcRect l="4395" t="4395" r="672"/>
          <a:stretch/>
        </p:blipFill>
        <p:spPr bwMode="ltGray">
          <a:xfrm flipV="1">
            <a:off x="3359946" y="1"/>
            <a:ext cx="10079832" cy="566975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0006929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8_Business Mode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AE12D1-08AF-45E9-A34A-BDE9E860BAA2}"/>
              </a:ext>
            </a:extLst>
          </p:cNvPr>
          <p:cNvSpPr>
            <a:spLocks noGrp="1"/>
          </p:cNvSpPr>
          <p:nvPr>
            <p:ph type="title" hasCustomPrompt="1"/>
          </p:nvPr>
        </p:nvSpPr>
        <p:spPr>
          <a:xfrm>
            <a:off x="923985" y="402485"/>
            <a:ext cx="11591806" cy="1461189"/>
          </a:xfrm>
          <a:prstGeom prst="rect">
            <a:avLst/>
          </a:prstGeom>
        </p:spPr>
        <p:txBody>
          <a:bodyPr/>
          <a:lstStyle>
            <a:lvl1pPr algn="ctr">
              <a:defRPr baseline="0"/>
            </a:lvl1pPr>
          </a:lstStyle>
          <a:p>
            <a:r>
              <a:rPr lang="en-US"/>
              <a:t>CLICK TO add TITLE</a:t>
            </a:r>
          </a:p>
        </p:txBody>
      </p:sp>
      <p:sp>
        <p:nvSpPr>
          <p:cNvPr id="13" name="Content Placeholder 12">
            <a:extLst>
              <a:ext uri="{FF2B5EF4-FFF2-40B4-BE49-F238E27FC236}">
                <a16:creationId xmlns:a16="http://schemas.microsoft.com/office/drawing/2014/main" id="{7EAC5CD7-1A3E-485E-B8D8-C6B22ADD6AE4}"/>
              </a:ext>
            </a:extLst>
          </p:cNvPr>
          <p:cNvSpPr>
            <a:spLocks noGrp="1"/>
          </p:cNvSpPr>
          <p:nvPr>
            <p:ph sz="quarter" idx="13" hasCustomPrompt="1"/>
          </p:nvPr>
        </p:nvSpPr>
        <p:spPr>
          <a:xfrm>
            <a:off x="2355020" y="2185714"/>
            <a:ext cx="2015968" cy="1450237"/>
          </a:xfrm>
          <a:prstGeom prst="rect">
            <a:avLst/>
          </a:prstGeom>
        </p:spPr>
        <p:txBody>
          <a:bodyPr>
            <a:normAutofit/>
          </a:bodyPr>
          <a:lstStyle>
            <a:lvl1pPr marL="0" indent="0" algn="ctr">
              <a:buNone/>
              <a:defRPr sz="1328"/>
            </a:lvl1pPr>
            <a:lvl2pPr marL="504031" indent="0">
              <a:buNone/>
              <a:defRPr sz="1547"/>
            </a:lvl2pPr>
            <a:lvl3pPr marL="1008063" indent="0">
              <a:buNone/>
              <a:defRPr sz="1547"/>
            </a:lvl3pPr>
            <a:lvl4pPr marL="1512094" indent="0">
              <a:buNone/>
              <a:defRPr sz="1547"/>
            </a:lvl4pPr>
            <a:lvl5pPr marL="2016127" indent="0">
              <a:buNone/>
              <a:defRPr sz="1547"/>
            </a:lvl5pPr>
          </a:lstStyle>
          <a:p>
            <a:pPr lvl="0"/>
            <a:r>
              <a:rPr lang="en-US"/>
              <a:t>Click to add content</a:t>
            </a:r>
          </a:p>
        </p:txBody>
      </p:sp>
      <p:sp>
        <p:nvSpPr>
          <p:cNvPr id="15" name="Text Placeholder 8">
            <a:extLst>
              <a:ext uri="{FF2B5EF4-FFF2-40B4-BE49-F238E27FC236}">
                <a16:creationId xmlns:a16="http://schemas.microsoft.com/office/drawing/2014/main" id="{62CE8502-2A5C-4AF6-9580-821991C9C0A7}"/>
              </a:ext>
            </a:extLst>
          </p:cNvPr>
          <p:cNvSpPr>
            <a:spLocks noGrp="1"/>
          </p:cNvSpPr>
          <p:nvPr>
            <p:ph type="body" sz="quarter" idx="33" hasCustomPrompt="1"/>
          </p:nvPr>
        </p:nvSpPr>
        <p:spPr>
          <a:xfrm>
            <a:off x="2201300" y="4188781"/>
            <a:ext cx="2318361" cy="396833"/>
          </a:xfrm>
          <a:prstGeom prst="rect">
            <a:avLst/>
          </a:prstGeom>
        </p:spPr>
        <p:txBody>
          <a:bodyPr anchor="ctr" anchorCtr="0">
            <a:noAutofit/>
          </a:bodyPr>
          <a:lstStyle>
            <a:lvl1pPr marL="0" indent="0" algn="ctr">
              <a:buFont typeface="Arial" panose="020B0604020202020204" pitchFamily="34" charset="0"/>
              <a:buNone/>
              <a:defRPr sz="1989" cap="all" baseline="0">
                <a:solidFill>
                  <a:schemeClr val="bg1">
                    <a:lumMod val="50000"/>
                  </a:schemeClr>
                </a:solidFill>
                <a:latin typeface="+mj-lt"/>
              </a:defRPr>
            </a:lvl1pPr>
          </a:lstStyle>
          <a:p>
            <a:pPr lvl="0"/>
            <a:r>
              <a:rPr lang="en-US"/>
              <a:t>add text here</a:t>
            </a:r>
          </a:p>
        </p:txBody>
      </p:sp>
      <p:sp>
        <p:nvSpPr>
          <p:cNvPr id="17" name="Text Placeholder 16">
            <a:extLst>
              <a:ext uri="{FF2B5EF4-FFF2-40B4-BE49-F238E27FC236}">
                <a16:creationId xmlns:a16="http://schemas.microsoft.com/office/drawing/2014/main" id="{31B2C19D-178B-430A-AB7C-D759E13E9D09}"/>
              </a:ext>
            </a:extLst>
          </p:cNvPr>
          <p:cNvSpPr>
            <a:spLocks noGrp="1"/>
          </p:cNvSpPr>
          <p:nvPr>
            <p:ph type="body" sz="quarter" idx="14" hasCustomPrompt="1"/>
          </p:nvPr>
        </p:nvSpPr>
        <p:spPr>
          <a:xfrm>
            <a:off x="2201300" y="4677919"/>
            <a:ext cx="2318361" cy="1310344"/>
          </a:xfrm>
          <a:prstGeom prst="rect">
            <a:avLst/>
          </a:prstGeom>
        </p:spPr>
        <p:txBody>
          <a:bodyPr>
            <a:normAutofit/>
          </a:bodyPr>
          <a:lstStyle>
            <a:lvl1pPr marL="0" indent="0" algn="ctr">
              <a:lnSpc>
                <a:spcPts val="2207"/>
              </a:lnSpc>
              <a:spcBef>
                <a:spcPts val="0"/>
              </a:spcBef>
              <a:buNone/>
              <a:defRPr sz="1547"/>
            </a:lvl1pPr>
            <a:lvl2pPr marL="504031" indent="0">
              <a:buNone/>
              <a:defRPr sz="1763"/>
            </a:lvl2pPr>
            <a:lvl3pPr marL="1008063" indent="0">
              <a:buNone/>
              <a:defRPr sz="1763"/>
            </a:lvl3pPr>
            <a:lvl4pPr marL="1512094" indent="0">
              <a:buNone/>
              <a:defRPr sz="1763"/>
            </a:lvl4pPr>
            <a:lvl5pPr marL="2016127" indent="0">
              <a:buNone/>
              <a:defRPr sz="1763"/>
            </a:lvl5pPr>
          </a:lstStyle>
          <a:p>
            <a:pPr lvl="0"/>
            <a:r>
              <a:rPr lang="en-US"/>
              <a:t>Click to add text</a:t>
            </a:r>
          </a:p>
        </p:txBody>
      </p:sp>
      <p:sp>
        <p:nvSpPr>
          <p:cNvPr id="19" name="Content Placeholder 12">
            <a:extLst>
              <a:ext uri="{FF2B5EF4-FFF2-40B4-BE49-F238E27FC236}">
                <a16:creationId xmlns:a16="http://schemas.microsoft.com/office/drawing/2014/main" id="{B004E4D5-7F92-4D3E-BB88-35ED384CCF52}"/>
              </a:ext>
            </a:extLst>
          </p:cNvPr>
          <p:cNvSpPr>
            <a:spLocks noGrp="1"/>
          </p:cNvSpPr>
          <p:nvPr>
            <p:ph sz="quarter" idx="15" hasCustomPrompt="1"/>
          </p:nvPr>
        </p:nvSpPr>
        <p:spPr>
          <a:xfrm>
            <a:off x="5712468" y="2188217"/>
            <a:ext cx="2015968" cy="1451458"/>
          </a:xfrm>
          <a:prstGeom prst="rect">
            <a:avLst/>
          </a:prstGeom>
        </p:spPr>
        <p:txBody>
          <a:bodyPr>
            <a:normAutofit/>
          </a:bodyPr>
          <a:lstStyle>
            <a:lvl1pPr marL="0" indent="0" algn="ctr">
              <a:buNone/>
              <a:defRPr sz="1328"/>
            </a:lvl1pPr>
            <a:lvl2pPr marL="504031" indent="0">
              <a:buNone/>
              <a:defRPr sz="1547"/>
            </a:lvl2pPr>
            <a:lvl3pPr marL="1008063" indent="0">
              <a:buNone/>
              <a:defRPr sz="1547"/>
            </a:lvl3pPr>
            <a:lvl4pPr marL="1512094" indent="0">
              <a:buNone/>
              <a:defRPr sz="1547"/>
            </a:lvl4pPr>
            <a:lvl5pPr marL="2016127" indent="0">
              <a:buNone/>
              <a:defRPr sz="1547"/>
            </a:lvl5pPr>
          </a:lstStyle>
          <a:p>
            <a:pPr lvl="0"/>
            <a:r>
              <a:rPr lang="en-US"/>
              <a:t>Click to add content</a:t>
            </a:r>
          </a:p>
        </p:txBody>
      </p:sp>
      <p:sp>
        <p:nvSpPr>
          <p:cNvPr id="16" name="Text Placeholder 8">
            <a:extLst>
              <a:ext uri="{FF2B5EF4-FFF2-40B4-BE49-F238E27FC236}">
                <a16:creationId xmlns:a16="http://schemas.microsoft.com/office/drawing/2014/main" id="{97B2ABAD-B1D1-47F3-9008-0EDFC6F61F7C}"/>
              </a:ext>
            </a:extLst>
          </p:cNvPr>
          <p:cNvSpPr>
            <a:spLocks noGrp="1"/>
          </p:cNvSpPr>
          <p:nvPr>
            <p:ph type="body" sz="quarter" idx="35" hasCustomPrompt="1"/>
          </p:nvPr>
        </p:nvSpPr>
        <p:spPr>
          <a:xfrm>
            <a:off x="5562412" y="4188781"/>
            <a:ext cx="2318361" cy="396833"/>
          </a:xfrm>
          <a:prstGeom prst="rect">
            <a:avLst/>
          </a:prstGeom>
        </p:spPr>
        <p:txBody>
          <a:bodyPr anchor="ctr" anchorCtr="0">
            <a:noAutofit/>
          </a:bodyPr>
          <a:lstStyle>
            <a:lvl1pPr marL="0" indent="0" algn="ctr">
              <a:buFont typeface="Arial" panose="020B0604020202020204" pitchFamily="34" charset="0"/>
              <a:buNone/>
              <a:defRPr sz="1989" cap="all" baseline="0">
                <a:solidFill>
                  <a:schemeClr val="bg1">
                    <a:lumMod val="50000"/>
                  </a:schemeClr>
                </a:solidFill>
                <a:latin typeface="+mj-lt"/>
              </a:defRPr>
            </a:lvl1pPr>
          </a:lstStyle>
          <a:p>
            <a:pPr lvl="0"/>
            <a:r>
              <a:rPr lang="en-US"/>
              <a:t>add text here</a:t>
            </a:r>
          </a:p>
        </p:txBody>
      </p:sp>
      <p:sp>
        <p:nvSpPr>
          <p:cNvPr id="20" name="Text Placeholder 16">
            <a:extLst>
              <a:ext uri="{FF2B5EF4-FFF2-40B4-BE49-F238E27FC236}">
                <a16:creationId xmlns:a16="http://schemas.microsoft.com/office/drawing/2014/main" id="{870165D6-1CE9-4D32-9B1C-526EFE3C3FF9}"/>
              </a:ext>
            </a:extLst>
          </p:cNvPr>
          <p:cNvSpPr>
            <a:spLocks noGrp="1"/>
          </p:cNvSpPr>
          <p:nvPr>
            <p:ph type="body" sz="quarter" idx="16" hasCustomPrompt="1"/>
          </p:nvPr>
        </p:nvSpPr>
        <p:spPr>
          <a:xfrm>
            <a:off x="5562412" y="4680423"/>
            <a:ext cx="2318361" cy="1310344"/>
          </a:xfrm>
          <a:prstGeom prst="rect">
            <a:avLst/>
          </a:prstGeom>
        </p:spPr>
        <p:txBody>
          <a:bodyPr>
            <a:normAutofit/>
          </a:bodyPr>
          <a:lstStyle>
            <a:lvl1pPr marL="0" indent="0" algn="ctr">
              <a:lnSpc>
                <a:spcPts val="2207"/>
              </a:lnSpc>
              <a:spcBef>
                <a:spcPts val="0"/>
              </a:spcBef>
              <a:buNone/>
              <a:defRPr sz="1547"/>
            </a:lvl1pPr>
            <a:lvl2pPr marL="504031" indent="0">
              <a:buNone/>
              <a:defRPr sz="1763"/>
            </a:lvl2pPr>
            <a:lvl3pPr marL="1008063" indent="0">
              <a:buNone/>
              <a:defRPr sz="1763"/>
            </a:lvl3pPr>
            <a:lvl4pPr marL="1512094" indent="0">
              <a:buNone/>
              <a:defRPr sz="1763"/>
            </a:lvl4pPr>
            <a:lvl5pPr marL="2016127" indent="0">
              <a:buNone/>
              <a:defRPr sz="1763"/>
            </a:lvl5pPr>
          </a:lstStyle>
          <a:p>
            <a:pPr lvl="0"/>
            <a:r>
              <a:rPr lang="en-US"/>
              <a:t>Click to add text</a:t>
            </a:r>
          </a:p>
        </p:txBody>
      </p:sp>
      <p:sp>
        <p:nvSpPr>
          <p:cNvPr id="22" name="Content Placeholder 12">
            <a:extLst>
              <a:ext uri="{FF2B5EF4-FFF2-40B4-BE49-F238E27FC236}">
                <a16:creationId xmlns:a16="http://schemas.microsoft.com/office/drawing/2014/main" id="{575F9DFF-43AF-4E05-8407-87D47C1818C4}"/>
              </a:ext>
            </a:extLst>
          </p:cNvPr>
          <p:cNvSpPr>
            <a:spLocks noGrp="1"/>
          </p:cNvSpPr>
          <p:nvPr>
            <p:ph sz="quarter" idx="17" hasCustomPrompt="1"/>
          </p:nvPr>
        </p:nvSpPr>
        <p:spPr>
          <a:xfrm>
            <a:off x="9077430" y="2183197"/>
            <a:ext cx="2015968" cy="1451458"/>
          </a:xfrm>
          <a:prstGeom prst="rect">
            <a:avLst/>
          </a:prstGeom>
        </p:spPr>
        <p:txBody>
          <a:bodyPr>
            <a:normAutofit/>
          </a:bodyPr>
          <a:lstStyle>
            <a:lvl1pPr marL="0" indent="0" algn="ctr">
              <a:buNone/>
              <a:defRPr sz="1328"/>
            </a:lvl1pPr>
            <a:lvl2pPr marL="504031" indent="0">
              <a:buNone/>
              <a:defRPr sz="1547"/>
            </a:lvl2pPr>
            <a:lvl3pPr marL="1008063" indent="0">
              <a:buNone/>
              <a:defRPr sz="1547"/>
            </a:lvl3pPr>
            <a:lvl4pPr marL="1512094" indent="0">
              <a:buNone/>
              <a:defRPr sz="1547"/>
            </a:lvl4pPr>
            <a:lvl5pPr marL="2016127" indent="0">
              <a:buNone/>
              <a:defRPr sz="1547"/>
            </a:lvl5pPr>
          </a:lstStyle>
          <a:p>
            <a:pPr lvl="0"/>
            <a:r>
              <a:rPr lang="en-US"/>
              <a:t>Click to add content</a:t>
            </a:r>
          </a:p>
        </p:txBody>
      </p:sp>
      <p:sp>
        <p:nvSpPr>
          <p:cNvPr id="24" name="Text Placeholder 8">
            <a:extLst>
              <a:ext uri="{FF2B5EF4-FFF2-40B4-BE49-F238E27FC236}">
                <a16:creationId xmlns:a16="http://schemas.microsoft.com/office/drawing/2014/main" id="{BD7CE6C1-36AE-4F6D-948C-7CF1B5AF383B}"/>
              </a:ext>
            </a:extLst>
          </p:cNvPr>
          <p:cNvSpPr>
            <a:spLocks noGrp="1"/>
          </p:cNvSpPr>
          <p:nvPr>
            <p:ph type="body" sz="quarter" idx="37" hasCustomPrompt="1"/>
          </p:nvPr>
        </p:nvSpPr>
        <p:spPr>
          <a:xfrm>
            <a:off x="8916873" y="4188781"/>
            <a:ext cx="2318361" cy="396833"/>
          </a:xfrm>
          <a:prstGeom prst="rect">
            <a:avLst/>
          </a:prstGeom>
        </p:spPr>
        <p:txBody>
          <a:bodyPr anchor="ctr" anchorCtr="0">
            <a:noAutofit/>
          </a:bodyPr>
          <a:lstStyle>
            <a:lvl1pPr marL="0" indent="0" algn="ctr">
              <a:buFont typeface="Arial" panose="020B0604020202020204" pitchFamily="34" charset="0"/>
              <a:buNone/>
              <a:defRPr sz="1989" cap="all" baseline="0">
                <a:solidFill>
                  <a:schemeClr val="bg1">
                    <a:lumMod val="50000"/>
                  </a:schemeClr>
                </a:solidFill>
                <a:latin typeface="+mj-lt"/>
              </a:defRPr>
            </a:lvl1pPr>
          </a:lstStyle>
          <a:p>
            <a:pPr lvl="0"/>
            <a:r>
              <a:rPr lang="en-US"/>
              <a:t>add text here</a:t>
            </a:r>
          </a:p>
        </p:txBody>
      </p:sp>
      <p:sp>
        <p:nvSpPr>
          <p:cNvPr id="23" name="Text Placeholder 16">
            <a:extLst>
              <a:ext uri="{FF2B5EF4-FFF2-40B4-BE49-F238E27FC236}">
                <a16:creationId xmlns:a16="http://schemas.microsoft.com/office/drawing/2014/main" id="{4E2096A1-8340-4D15-A6EA-3B804C1A5F4B}"/>
              </a:ext>
            </a:extLst>
          </p:cNvPr>
          <p:cNvSpPr>
            <a:spLocks noGrp="1"/>
          </p:cNvSpPr>
          <p:nvPr>
            <p:ph type="body" sz="quarter" idx="18" hasCustomPrompt="1"/>
          </p:nvPr>
        </p:nvSpPr>
        <p:spPr>
          <a:xfrm>
            <a:off x="8916873" y="4675403"/>
            <a:ext cx="2318361" cy="1310344"/>
          </a:xfrm>
          <a:prstGeom prst="rect">
            <a:avLst/>
          </a:prstGeom>
        </p:spPr>
        <p:txBody>
          <a:bodyPr>
            <a:normAutofit/>
          </a:bodyPr>
          <a:lstStyle>
            <a:lvl1pPr marL="0" indent="0" algn="ctr">
              <a:lnSpc>
                <a:spcPts val="2207"/>
              </a:lnSpc>
              <a:spcBef>
                <a:spcPts val="0"/>
              </a:spcBef>
              <a:buNone/>
              <a:defRPr sz="1547"/>
            </a:lvl1pPr>
            <a:lvl2pPr marL="504031" indent="0">
              <a:buNone/>
              <a:defRPr sz="1763"/>
            </a:lvl2pPr>
            <a:lvl3pPr marL="1008063" indent="0">
              <a:buNone/>
              <a:defRPr sz="1763"/>
            </a:lvl3pPr>
            <a:lvl4pPr marL="1512094" indent="0">
              <a:buNone/>
              <a:defRPr sz="1763"/>
            </a:lvl4pPr>
            <a:lvl5pPr marL="2016127" indent="0">
              <a:buNone/>
              <a:defRPr sz="1763"/>
            </a:lvl5pPr>
          </a:lstStyle>
          <a:p>
            <a:pPr lvl="0"/>
            <a:r>
              <a:rPr lang="en-US"/>
              <a:t>Click to add text</a:t>
            </a:r>
          </a:p>
        </p:txBody>
      </p:sp>
      <p:sp>
        <p:nvSpPr>
          <p:cNvPr id="3" name="Rectangle 9">
            <a:extLst>
              <a:ext uri="{FF2B5EF4-FFF2-40B4-BE49-F238E27FC236}">
                <a16:creationId xmlns:a16="http://schemas.microsoft.com/office/drawing/2014/main" id="{53E651DB-268C-47F2-B510-168B1A59A1BE}"/>
              </a:ext>
              <a:ext uri="{C183D7F6-B498-43B3-948B-1728B52AA6E4}">
                <adec:decorative xmlns:adec="http://schemas.microsoft.com/office/drawing/2017/decorative" val="1"/>
              </a:ext>
            </a:extLst>
          </p:cNvPr>
          <p:cNvSpPr/>
          <p:nvPr userDrawn="1"/>
        </p:nvSpPr>
        <p:spPr>
          <a:xfrm>
            <a:off x="-5737" y="6551722"/>
            <a:ext cx="13463578" cy="1034205"/>
          </a:xfrm>
          <a:custGeom>
            <a:avLst/>
            <a:gdLst>
              <a:gd name="connsiteX0" fmla="*/ 0 w 12192000"/>
              <a:gd name="connsiteY0" fmla="*/ 0 h 914400"/>
              <a:gd name="connsiteX1" fmla="*/ 12192000 w 12192000"/>
              <a:gd name="connsiteY1" fmla="*/ 0 h 914400"/>
              <a:gd name="connsiteX2" fmla="*/ 12192000 w 12192000"/>
              <a:gd name="connsiteY2" fmla="*/ 914400 h 914400"/>
              <a:gd name="connsiteX3" fmla="*/ 0 w 12192000"/>
              <a:gd name="connsiteY3" fmla="*/ 914400 h 914400"/>
              <a:gd name="connsiteX4" fmla="*/ 0 w 12192000"/>
              <a:gd name="connsiteY4" fmla="*/ 0 h 914400"/>
              <a:gd name="connsiteX0" fmla="*/ 0 w 12228095"/>
              <a:gd name="connsiteY0" fmla="*/ 457200 h 914400"/>
              <a:gd name="connsiteX1" fmla="*/ 12228095 w 12228095"/>
              <a:gd name="connsiteY1" fmla="*/ 0 h 914400"/>
              <a:gd name="connsiteX2" fmla="*/ 12228095 w 12228095"/>
              <a:gd name="connsiteY2" fmla="*/ 914400 h 914400"/>
              <a:gd name="connsiteX3" fmla="*/ 36095 w 12228095"/>
              <a:gd name="connsiteY3" fmla="*/ 914400 h 914400"/>
              <a:gd name="connsiteX4" fmla="*/ 0 w 12228095"/>
              <a:gd name="connsiteY4" fmla="*/ 457200 h 914400"/>
              <a:gd name="connsiteX0" fmla="*/ 11652 w 12239747"/>
              <a:gd name="connsiteY0" fmla="*/ 457200 h 938212"/>
              <a:gd name="connsiteX1" fmla="*/ 12239747 w 12239747"/>
              <a:gd name="connsiteY1" fmla="*/ 0 h 938212"/>
              <a:gd name="connsiteX2" fmla="*/ 12239747 w 12239747"/>
              <a:gd name="connsiteY2" fmla="*/ 914400 h 938212"/>
              <a:gd name="connsiteX3" fmla="*/ 0 w 12239747"/>
              <a:gd name="connsiteY3" fmla="*/ 938212 h 938212"/>
              <a:gd name="connsiteX4" fmla="*/ 11652 w 12239747"/>
              <a:gd name="connsiteY4" fmla="*/ 457200 h 938212"/>
              <a:gd name="connsiteX0" fmla="*/ 0 w 12251968"/>
              <a:gd name="connsiteY0" fmla="*/ 438150 h 938212"/>
              <a:gd name="connsiteX1" fmla="*/ 12251968 w 12251968"/>
              <a:gd name="connsiteY1" fmla="*/ 0 h 938212"/>
              <a:gd name="connsiteX2" fmla="*/ 12251968 w 12251968"/>
              <a:gd name="connsiteY2" fmla="*/ 914400 h 938212"/>
              <a:gd name="connsiteX3" fmla="*/ 12221 w 12251968"/>
              <a:gd name="connsiteY3" fmla="*/ 938212 h 938212"/>
              <a:gd name="connsiteX4" fmla="*/ 0 w 12251968"/>
              <a:gd name="connsiteY4" fmla="*/ 438150 h 938212"/>
              <a:gd name="connsiteX0" fmla="*/ 0 w 12275842"/>
              <a:gd name="connsiteY0" fmla="*/ 438150 h 938212"/>
              <a:gd name="connsiteX1" fmla="*/ 12275842 w 12275842"/>
              <a:gd name="connsiteY1" fmla="*/ 0 h 938212"/>
              <a:gd name="connsiteX2" fmla="*/ 12275842 w 12275842"/>
              <a:gd name="connsiteY2" fmla="*/ 914400 h 938212"/>
              <a:gd name="connsiteX3" fmla="*/ 36095 w 12275842"/>
              <a:gd name="connsiteY3" fmla="*/ 938212 h 938212"/>
              <a:gd name="connsiteX4" fmla="*/ 0 w 12275842"/>
              <a:gd name="connsiteY4" fmla="*/ 438150 h 938212"/>
              <a:gd name="connsiteX0" fmla="*/ 11652 w 12239747"/>
              <a:gd name="connsiteY0" fmla="*/ 438150 h 938212"/>
              <a:gd name="connsiteX1" fmla="*/ 12239747 w 12239747"/>
              <a:gd name="connsiteY1" fmla="*/ 0 h 938212"/>
              <a:gd name="connsiteX2" fmla="*/ 12239747 w 12239747"/>
              <a:gd name="connsiteY2" fmla="*/ 914400 h 938212"/>
              <a:gd name="connsiteX3" fmla="*/ 0 w 12239747"/>
              <a:gd name="connsiteY3" fmla="*/ 938212 h 938212"/>
              <a:gd name="connsiteX4" fmla="*/ 11652 w 12239747"/>
              <a:gd name="connsiteY4" fmla="*/ 438150 h 938212"/>
              <a:gd name="connsiteX0" fmla="*/ 11652 w 12239747"/>
              <a:gd name="connsiteY0" fmla="*/ 438150 h 938212"/>
              <a:gd name="connsiteX1" fmla="*/ 12239747 w 12239747"/>
              <a:gd name="connsiteY1" fmla="*/ 0 h 938212"/>
              <a:gd name="connsiteX2" fmla="*/ 12239747 w 12239747"/>
              <a:gd name="connsiteY2" fmla="*/ 914400 h 938212"/>
              <a:gd name="connsiteX3" fmla="*/ 0 w 12239747"/>
              <a:gd name="connsiteY3" fmla="*/ 938212 h 938212"/>
              <a:gd name="connsiteX4" fmla="*/ 11652 w 12239747"/>
              <a:gd name="connsiteY4" fmla="*/ 438150 h 938212"/>
              <a:gd name="connsiteX0" fmla="*/ 0 w 12244968"/>
              <a:gd name="connsiteY0" fmla="*/ 421321 h 938212"/>
              <a:gd name="connsiteX1" fmla="*/ 12244968 w 12244968"/>
              <a:gd name="connsiteY1" fmla="*/ 0 h 938212"/>
              <a:gd name="connsiteX2" fmla="*/ 12244968 w 12244968"/>
              <a:gd name="connsiteY2" fmla="*/ 914400 h 938212"/>
              <a:gd name="connsiteX3" fmla="*/ 5221 w 12244968"/>
              <a:gd name="connsiteY3" fmla="*/ 938212 h 938212"/>
              <a:gd name="connsiteX4" fmla="*/ 0 w 12244968"/>
              <a:gd name="connsiteY4" fmla="*/ 421321 h 938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44968" h="938212">
                <a:moveTo>
                  <a:pt x="0" y="421321"/>
                </a:moveTo>
                <a:lnTo>
                  <a:pt x="12244968" y="0"/>
                </a:lnTo>
                <a:lnTo>
                  <a:pt x="12244968" y="914400"/>
                </a:lnTo>
                <a:lnTo>
                  <a:pt x="5221" y="938212"/>
                </a:lnTo>
                <a:cubicBezTo>
                  <a:pt x="3481" y="765915"/>
                  <a:pt x="1740" y="593618"/>
                  <a:pt x="0" y="421321"/>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29"/>
          </a:p>
        </p:txBody>
      </p:sp>
      <p:cxnSp>
        <p:nvCxnSpPr>
          <p:cNvPr id="8" name="Straight Connector 7">
            <a:extLst>
              <a:ext uri="{FF2B5EF4-FFF2-40B4-BE49-F238E27FC236}">
                <a16:creationId xmlns:a16="http://schemas.microsoft.com/office/drawing/2014/main" id="{A109EA94-D4C0-489D-B11F-AAF2C1D27B88}"/>
              </a:ext>
              <a:ext uri="{C183D7F6-B498-43B3-948B-1728B52AA6E4}">
                <adec:decorative xmlns:adec="http://schemas.microsoft.com/office/drawing/2017/decorative" val="1"/>
              </a:ext>
            </a:extLst>
          </p:cNvPr>
          <p:cNvCxnSpPr>
            <a:cxnSpLocks/>
            <a:stCxn id="3" idx="1"/>
            <a:endCxn id="3" idx="0"/>
          </p:cNvCxnSpPr>
          <p:nvPr userDrawn="1"/>
        </p:nvCxnSpPr>
        <p:spPr>
          <a:xfrm flipH="1">
            <a:off x="-5737" y="6551722"/>
            <a:ext cx="13463578" cy="464429"/>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26DC72DD-030A-4AF2-8123-478BE9277165}"/>
              </a:ext>
              <a:ext uri="{C183D7F6-B498-43B3-948B-1728B52AA6E4}">
                <adec:decorative xmlns:adec="http://schemas.microsoft.com/office/drawing/2017/decorative" val="1"/>
              </a:ext>
            </a:extLst>
          </p:cNvPr>
          <p:cNvCxnSpPr/>
          <p:nvPr userDrawn="1"/>
        </p:nvCxnSpPr>
        <p:spPr>
          <a:xfrm>
            <a:off x="2379797" y="3855143"/>
            <a:ext cx="2015968" cy="0"/>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5D71F1BF-0652-4581-AC74-7A608C1A0290}"/>
              </a:ext>
              <a:ext uri="{C183D7F6-B498-43B3-948B-1728B52AA6E4}">
                <adec:decorative xmlns:adec="http://schemas.microsoft.com/office/drawing/2017/decorative" val="1"/>
              </a:ext>
            </a:extLst>
          </p:cNvPr>
          <p:cNvCxnSpPr>
            <a:cxnSpLocks/>
          </p:cNvCxnSpPr>
          <p:nvPr userDrawn="1"/>
        </p:nvCxnSpPr>
        <p:spPr>
          <a:xfrm>
            <a:off x="5711908" y="3844644"/>
            <a:ext cx="2015968" cy="0"/>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AF8D050-0D5E-490F-98C5-C491541E54D2}"/>
              </a:ext>
              <a:ext uri="{C183D7F6-B498-43B3-948B-1728B52AA6E4}">
                <adec:decorative xmlns:adec="http://schemas.microsoft.com/office/drawing/2017/decorative" val="1"/>
              </a:ext>
            </a:extLst>
          </p:cNvPr>
          <p:cNvCxnSpPr>
            <a:cxnSpLocks/>
          </p:cNvCxnSpPr>
          <p:nvPr userDrawn="1"/>
        </p:nvCxnSpPr>
        <p:spPr>
          <a:xfrm>
            <a:off x="9038519" y="3849895"/>
            <a:ext cx="2015968" cy="0"/>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sp>
        <p:nvSpPr>
          <p:cNvPr id="4" name="Date Placeholder 3">
            <a:extLst>
              <a:ext uri="{FF2B5EF4-FFF2-40B4-BE49-F238E27FC236}">
                <a16:creationId xmlns:a16="http://schemas.microsoft.com/office/drawing/2014/main" id="{3EDAC16E-5725-4AC1-AB85-871F25D26688}"/>
              </a:ext>
            </a:extLst>
          </p:cNvPr>
          <p:cNvSpPr>
            <a:spLocks noGrp="1"/>
          </p:cNvSpPr>
          <p:nvPr>
            <p:ph type="dt" sz="half" idx="10"/>
          </p:nvPr>
        </p:nvSpPr>
        <p:spPr>
          <a:xfrm>
            <a:off x="923988" y="7006701"/>
            <a:ext cx="3023949" cy="402484"/>
          </a:xfrm>
          <a:prstGeom prst="rect">
            <a:avLst/>
          </a:prstGeom>
        </p:spPr>
        <p:txBody>
          <a:bodyPr/>
          <a:lstStyle/>
          <a:p>
            <a:endParaRPr lang="en-US"/>
          </a:p>
        </p:txBody>
      </p:sp>
      <p:sp>
        <p:nvSpPr>
          <p:cNvPr id="5" name="Footer Placeholder 4">
            <a:extLst>
              <a:ext uri="{FF2B5EF4-FFF2-40B4-BE49-F238E27FC236}">
                <a16:creationId xmlns:a16="http://schemas.microsoft.com/office/drawing/2014/main" id="{FD10B5D8-71E9-48DC-A04C-559359603CB0}"/>
              </a:ext>
            </a:extLst>
          </p:cNvPr>
          <p:cNvSpPr>
            <a:spLocks noGrp="1"/>
          </p:cNvSpPr>
          <p:nvPr>
            <p:ph type="ftr" sz="quarter" idx="11"/>
          </p:nvPr>
        </p:nvSpPr>
        <p:spPr>
          <a:xfrm>
            <a:off x="4451927" y="7006701"/>
            <a:ext cx="4535925" cy="402484"/>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A0FDD81F-9379-48E6-9B14-83486F920A39}"/>
              </a:ext>
            </a:extLst>
          </p:cNvPr>
          <p:cNvSpPr>
            <a:spLocks noGrp="1"/>
          </p:cNvSpPr>
          <p:nvPr>
            <p:ph type="sldNum" sz="quarter" idx="12"/>
          </p:nvPr>
        </p:nvSpPr>
        <p:spPr>
          <a:xfrm>
            <a:off x="9491845" y="7006701"/>
            <a:ext cx="3023949" cy="402484"/>
          </a:xfrm>
          <a:prstGeom prst="rect">
            <a:avLst/>
          </a:prstGeom>
        </p:spPr>
        <p:txBody>
          <a:bodyPr/>
          <a:lstStyle/>
          <a:p>
            <a:fld id="{B5CEABB6-07DC-46E8-9B57-56EC44A396E5}" type="slidenum">
              <a:rPr lang="en-US" smtClean="0"/>
              <a:t>‹№›</a:t>
            </a:fld>
            <a:endParaRPr lang="en-US"/>
          </a:p>
        </p:txBody>
      </p:sp>
    </p:spTree>
    <p:extLst>
      <p:ext uri="{BB962C8B-B14F-4D97-AF65-F5344CB8AC3E}">
        <p14:creationId xmlns:p14="http://schemas.microsoft.com/office/powerpoint/2010/main" val="215375146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9_Business Mode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AE12D1-08AF-45E9-A34A-BDE9E860BAA2}"/>
              </a:ext>
            </a:extLst>
          </p:cNvPr>
          <p:cNvSpPr>
            <a:spLocks noGrp="1"/>
          </p:cNvSpPr>
          <p:nvPr>
            <p:ph type="title" hasCustomPrompt="1"/>
          </p:nvPr>
        </p:nvSpPr>
        <p:spPr>
          <a:xfrm>
            <a:off x="923985" y="402485"/>
            <a:ext cx="11591806" cy="1461189"/>
          </a:xfrm>
          <a:prstGeom prst="rect">
            <a:avLst/>
          </a:prstGeom>
        </p:spPr>
        <p:txBody>
          <a:bodyPr/>
          <a:lstStyle>
            <a:lvl1pPr algn="ctr">
              <a:defRPr baseline="0"/>
            </a:lvl1pPr>
          </a:lstStyle>
          <a:p>
            <a:r>
              <a:rPr lang="en-US"/>
              <a:t>CLICK TO add TITLE</a:t>
            </a:r>
          </a:p>
        </p:txBody>
      </p:sp>
      <p:sp>
        <p:nvSpPr>
          <p:cNvPr id="13" name="Content Placeholder 12">
            <a:extLst>
              <a:ext uri="{FF2B5EF4-FFF2-40B4-BE49-F238E27FC236}">
                <a16:creationId xmlns:a16="http://schemas.microsoft.com/office/drawing/2014/main" id="{7EAC5CD7-1A3E-485E-B8D8-C6B22ADD6AE4}"/>
              </a:ext>
            </a:extLst>
          </p:cNvPr>
          <p:cNvSpPr>
            <a:spLocks noGrp="1"/>
          </p:cNvSpPr>
          <p:nvPr>
            <p:ph sz="quarter" idx="13" hasCustomPrompt="1"/>
          </p:nvPr>
        </p:nvSpPr>
        <p:spPr>
          <a:xfrm>
            <a:off x="772717" y="2093409"/>
            <a:ext cx="2015968" cy="1450237"/>
          </a:xfrm>
          <a:prstGeom prst="rect">
            <a:avLst/>
          </a:prstGeom>
        </p:spPr>
        <p:txBody>
          <a:bodyPr>
            <a:normAutofit/>
          </a:bodyPr>
          <a:lstStyle>
            <a:lvl1pPr marL="0" indent="0" algn="ctr">
              <a:buNone/>
              <a:defRPr sz="1328"/>
            </a:lvl1pPr>
            <a:lvl2pPr marL="504031" indent="0">
              <a:buNone/>
              <a:defRPr sz="1547"/>
            </a:lvl2pPr>
            <a:lvl3pPr marL="1008063" indent="0">
              <a:buNone/>
              <a:defRPr sz="1547"/>
            </a:lvl3pPr>
            <a:lvl4pPr marL="1512094" indent="0">
              <a:buNone/>
              <a:defRPr sz="1547"/>
            </a:lvl4pPr>
            <a:lvl5pPr marL="2016127" indent="0">
              <a:buNone/>
              <a:defRPr sz="1547"/>
            </a:lvl5pPr>
          </a:lstStyle>
          <a:p>
            <a:pPr lvl="0"/>
            <a:r>
              <a:rPr lang="en-US"/>
              <a:t>Click to add content</a:t>
            </a:r>
          </a:p>
        </p:txBody>
      </p:sp>
      <p:sp>
        <p:nvSpPr>
          <p:cNvPr id="15" name="Text Placeholder 8">
            <a:extLst>
              <a:ext uri="{FF2B5EF4-FFF2-40B4-BE49-F238E27FC236}">
                <a16:creationId xmlns:a16="http://schemas.microsoft.com/office/drawing/2014/main" id="{62CE8502-2A5C-4AF6-9580-821991C9C0A7}"/>
              </a:ext>
            </a:extLst>
          </p:cNvPr>
          <p:cNvSpPr>
            <a:spLocks noGrp="1"/>
          </p:cNvSpPr>
          <p:nvPr>
            <p:ph type="body" sz="quarter" idx="33" hasCustomPrompt="1"/>
          </p:nvPr>
        </p:nvSpPr>
        <p:spPr>
          <a:xfrm>
            <a:off x="618996" y="4096475"/>
            <a:ext cx="2318361" cy="396833"/>
          </a:xfrm>
          <a:prstGeom prst="rect">
            <a:avLst/>
          </a:prstGeom>
        </p:spPr>
        <p:txBody>
          <a:bodyPr anchor="ctr" anchorCtr="0">
            <a:noAutofit/>
          </a:bodyPr>
          <a:lstStyle>
            <a:lvl1pPr marL="0" indent="0" algn="ctr">
              <a:buFont typeface="Arial" panose="020B0604020202020204" pitchFamily="34" charset="0"/>
              <a:buNone/>
              <a:defRPr sz="1989" cap="all" baseline="0">
                <a:solidFill>
                  <a:schemeClr val="bg1">
                    <a:lumMod val="50000"/>
                  </a:schemeClr>
                </a:solidFill>
                <a:latin typeface="+mj-lt"/>
              </a:defRPr>
            </a:lvl1pPr>
          </a:lstStyle>
          <a:p>
            <a:pPr lvl="0"/>
            <a:r>
              <a:rPr lang="en-US"/>
              <a:t>add text here</a:t>
            </a:r>
          </a:p>
        </p:txBody>
      </p:sp>
      <p:sp>
        <p:nvSpPr>
          <p:cNvPr id="17" name="Text Placeholder 16">
            <a:extLst>
              <a:ext uri="{FF2B5EF4-FFF2-40B4-BE49-F238E27FC236}">
                <a16:creationId xmlns:a16="http://schemas.microsoft.com/office/drawing/2014/main" id="{31B2C19D-178B-430A-AB7C-D759E13E9D09}"/>
              </a:ext>
            </a:extLst>
          </p:cNvPr>
          <p:cNvSpPr>
            <a:spLocks noGrp="1"/>
          </p:cNvSpPr>
          <p:nvPr>
            <p:ph type="body" sz="quarter" idx="14" hasCustomPrompt="1"/>
          </p:nvPr>
        </p:nvSpPr>
        <p:spPr>
          <a:xfrm>
            <a:off x="618996" y="4585614"/>
            <a:ext cx="2318361" cy="1310344"/>
          </a:xfrm>
          <a:prstGeom prst="rect">
            <a:avLst/>
          </a:prstGeom>
        </p:spPr>
        <p:txBody>
          <a:bodyPr>
            <a:normAutofit/>
          </a:bodyPr>
          <a:lstStyle>
            <a:lvl1pPr marL="0" indent="0" algn="ctr">
              <a:lnSpc>
                <a:spcPts val="2207"/>
              </a:lnSpc>
              <a:spcBef>
                <a:spcPts val="0"/>
              </a:spcBef>
              <a:buNone/>
              <a:defRPr sz="1547"/>
            </a:lvl1pPr>
            <a:lvl2pPr marL="504031" indent="0">
              <a:buNone/>
              <a:defRPr sz="1763"/>
            </a:lvl2pPr>
            <a:lvl3pPr marL="1008063" indent="0">
              <a:buNone/>
              <a:defRPr sz="1763"/>
            </a:lvl3pPr>
            <a:lvl4pPr marL="1512094" indent="0">
              <a:buNone/>
              <a:defRPr sz="1763"/>
            </a:lvl4pPr>
            <a:lvl5pPr marL="2016127" indent="0">
              <a:buNone/>
              <a:defRPr sz="1763"/>
            </a:lvl5pPr>
          </a:lstStyle>
          <a:p>
            <a:pPr lvl="0"/>
            <a:r>
              <a:rPr lang="en-US"/>
              <a:t>Click to add text</a:t>
            </a:r>
          </a:p>
        </p:txBody>
      </p:sp>
      <p:sp>
        <p:nvSpPr>
          <p:cNvPr id="19" name="Content Placeholder 12">
            <a:extLst>
              <a:ext uri="{FF2B5EF4-FFF2-40B4-BE49-F238E27FC236}">
                <a16:creationId xmlns:a16="http://schemas.microsoft.com/office/drawing/2014/main" id="{B004E4D5-7F92-4D3E-BB88-35ED384CCF52}"/>
              </a:ext>
            </a:extLst>
          </p:cNvPr>
          <p:cNvSpPr>
            <a:spLocks noGrp="1"/>
          </p:cNvSpPr>
          <p:nvPr>
            <p:ph sz="quarter" idx="15" hasCustomPrompt="1"/>
          </p:nvPr>
        </p:nvSpPr>
        <p:spPr>
          <a:xfrm>
            <a:off x="3251482" y="2093408"/>
            <a:ext cx="2015968" cy="1451458"/>
          </a:xfrm>
          <a:prstGeom prst="rect">
            <a:avLst/>
          </a:prstGeom>
        </p:spPr>
        <p:txBody>
          <a:bodyPr>
            <a:normAutofit/>
          </a:bodyPr>
          <a:lstStyle>
            <a:lvl1pPr marL="0" indent="0" algn="ctr">
              <a:buNone/>
              <a:defRPr sz="1328"/>
            </a:lvl1pPr>
            <a:lvl2pPr marL="504031" indent="0">
              <a:buNone/>
              <a:defRPr sz="1547"/>
            </a:lvl2pPr>
            <a:lvl3pPr marL="1008063" indent="0">
              <a:buNone/>
              <a:defRPr sz="1547"/>
            </a:lvl3pPr>
            <a:lvl4pPr marL="1512094" indent="0">
              <a:buNone/>
              <a:defRPr sz="1547"/>
            </a:lvl4pPr>
            <a:lvl5pPr marL="2016127" indent="0">
              <a:buNone/>
              <a:defRPr sz="1547"/>
            </a:lvl5pPr>
          </a:lstStyle>
          <a:p>
            <a:pPr lvl="0"/>
            <a:r>
              <a:rPr lang="en-US"/>
              <a:t>Click to add content</a:t>
            </a:r>
          </a:p>
        </p:txBody>
      </p:sp>
      <p:sp>
        <p:nvSpPr>
          <p:cNvPr id="16" name="Text Placeholder 8">
            <a:extLst>
              <a:ext uri="{FF2B5EF4-FFF2-40B4-BE49-F238E27FC236}">
                <a16:creationId xmlns:a16="http://schemas.microsoft.com/office/drawing/2014/main" id="{97B2ABAD-B1D1-47F3-9008-0EDFC6F61F7C}"/>
              </a:ext>
            </a:extLst>
          </p:cNvPr>
          <p:cNvSpPr>
            <a:spLocks noGrp="1"/>
          </p:cNvSpPr>
          <p:nvPr>
            <p:ph type="body" sz="quarter" idx="35" hasCustomPrompt="1"/>
          </p:nvPr>
        </p:nvSpPr>
        <p:spPr>
          <a:xfrm>
            <a:off x="3101428" y="4093972"/>
            <a:ext cx="2318361" cy="396833"/>
          </a:xfrm>
          <a:prstGeom prst="rect">
            <a:avLst/>
          </a:prstGeom>
        </p:spPr>
        <p:txBody>
          <a:bodyPr anchor="ctr" anchorCtr="0">
            <a:noAutofit/>
          </a:bodyPr>
          <a:lstStyle>
            <a:lvl1pPr marL="0" indent="0" algn="ctr">
              <a:buFont typeface="Arial" panose="020B0604020202020204" pitchFamily="34" charset="0"/>
              <a:buNone/>
              <a:defRPr sz="1989" cap="all" baseline="0">
                <a:solidFill>
                  <a:schemeClr val="bg1">
                    <a:lumMod val="50000"/>
                  </a:schemeClr>
                </a:solidFill>
                <a:latin typeface="+mj-lt"/>
              </a:defRPr>
            </a:lvl1pPr>
          </a:lstStyle>
          <a:p>
            <a:pPr lvl="0"/>
            <a:r>
              <a:rPr lang="en-US"/>
              <a:t>add text here</a:t>
            </a:r>
          </a:p>
        </p:txBody>
      </p:sp>
      <p:sp>
        <p:nvSpPr>
          <p:cNvPr id="20" name="Text Placeholder 16">
            <a:extLst>
              <a:ext uri="{FF2B5EF4-FFF2-40B4-BE49-F238E27FC236}">
                <a16:creationId xmlns:a16="http://schemas.microsoft.com/office/drawing/2014/main" id="{870165D6-1CE9-4D32-9B1C-526EFE3C3FF9}"/>
              </a:ext>
            </a:extLst>
          </p:cNvPr>
          <p:cNvSpPr>
            <a:spLocks noGrp="1"/>
          </p:cNvSpPr>
          <p:nvPr>
            <p:ph type="body" sz="quarter" idx="16" hasCustomPrompt="1"/>
          </p:nvPr>
        </p:nvSpPr>
        <p:spPr>
          <a:xfrm>
            <a:off x="3101428" y="4585614"/>
            <a:ext cx="2318361" cy="1310344"/>
          </a:xfrm>
          <a:prstGeom prst="rect">
            <a:avLst/>
          </a:prstGeom>
        </p:spPr>
        <p:txBody>
          <a:bodyPr>
            <a:normAutofit/>
          </a:bodyPr>
          <a:lstStyle>
            <a:lvl1pPr marL="0" indent="0" algn="ctr">
              <a:lnSpc>
                <a:spcPts val="2207"/>
              </a:lnSpc>
              <a:spcBef>
                <a:spcPts val="0"/>
              </a:spcBef>
              <a:buNone/>
              <a:defRPr sz="1547"/>
            </a:lvl1pPr>
            <a:lvl2pPr marL="504031" indent="0">
              <a:buNone/>
              <a:defRPr sz="1763"/>
            </a:lvl2pPr>
            <a:lvl3pPr marL="1008063" indent="0">
              <a:buNone/>
              <a:defRPr sz="1763"/>
            </a:lvl3pPr>
            <a:lvl4pPr marL="1512094" indent="0">
              <a:buNone/>
              <a:defRPr sz="1763"/>
            </a:lvl4pPr>
            <a:lvl5pPr marL="2016127" indent="0">
              <a:buNone/>
              <a:defRPr sz="1763"/>
            </a:lvl5pPr>
          </a:lstStyle>
          <a:p>
            <a:pPr lvl="0"/>
            <a:r>
              <a:rPr lang="en-US"/>
              <a:t>Click to add text</a:t>
            </a:r>
          </a:p>
        </p:txBody>
      </p:sp>
      <p:sp>
        <p:nvSpPr>
          <p:cNvPr id="22" name="Content Placeholder 12">
            <a:extLst>
              <a:ext uri="{FF2B5EF4-FFF2-40B4-BE49-F238E27FC236}">
                <a16:creationId xmlns:a16="http://schemas.microsoft.com/office/drawing/2014/main" id="{575F9DFF-43AF-4E05-8407-87D47C1818C4}"/>
              </a:ext>
            </a:extLst>
          </p:cNvPr>
          <p:cNvSpPr>
            <a:spLocks noGrp="1"/>
          </p:cNvSpPr>
          <p:nvPr>
            <p:ph sz="quarter" idx="17" hasCustomPrompt="1"/>
          </p:nvPr>
        </p:nvSpPr>
        <p:spPr>
          <a:xfrm>
            <a:off x="5733218" y="2093408"/>
            <a:ext cx="2015968" cy="1451458"/>
          </a:xfrm>
          <a:prstGeom prst="rect">
            <a:avLst/>
          </a:prstGeom>
        </p:spPr>
        <p:txBody>
          <a:bodyPr>
            <a:normAutofit/>
          </a:bodyPr>
          <a:lstStyle>
            <a:lvl1pPr marL="0" indent="0" algn="ctr">
              <a:buNone/>
              <a:defRPr sz="1328"/>
            </a:lvl1pPr>
            <a:lvl2pPr marL="504031" indent="0">
              <a:buNone/>
              <a:defRPr sz="1547"/>
            </a:lvl2pPr>
            <a:lvl3pPr marL="1008063" indent="0">
              <a:buNone/>
              <a:defRPr sz="1547"/>
            </a:lvl3pPr>
            <a:lvl4pPr marL="1512094" indent="0">
              <a:buNone/>
              <a:defRPr sz="1547"/>
            </a:lvl4pPr>
            <a:lvl5pPr marL="2016127" indent="0">
              <a:buNone/>
              <a:defRPr sz="1547"/>
            </a:lvl5pPr>
          </a:lstStyle>
          <a:p>
            <a:pPr lvl="0"/>
            <a:r>
              <a:rPr lang="en-US"/>
              <a:t>Click to add content</a:t>
            </a:r>
          </a:p>
        </p:txBody>
      </p:sp>
      <p:sp>
        <p:nvSpPr>
          <p:cNvPr id="24" name="Text Placeholder 8">
            <a:extLst>
              <a:ext uri="{FF2B5EF4-FFF2-40B4-BE49-F238E27FC236}">
                <a16:creationId xmlns:a16="http://schemas.microsoft.com/office/drawing/2014/main" id="{BD7CE6C1-36AE-4F6D-948C-7CF1B5AF383B}"/>
              </a:ext>
            </a:extLst>
          </p:cNvPr>
          <p:cNvSpPr>
            <a:spLocks noGrp="1"/>
          </p:cNvSpPr>
          <p:nvPr>
            <p:ph type="body" sz="quarter" idx="37" hasCustomPrompt="1"/>
          </p:nvPr>
        </p:nvSpPr>
        <p:spPr>
          <a:xfrm>
            <a:off x="5572664" y="4098990"/>
            <a:ext cx="2318361" cy="396833"/>
          </a:xfrm>
          <a:prstGeom prst="rect">
            <a:avLst/>
          </a:prstGeom>
        </p:spPr>
        <p:txBody>
          <a:bodyPr anchor="ctr" anchorCtr="0">
            <a:noAutofit/>
          </a:bodyPr>
          <a:lstStyle>
            <a:lvl1pPr marL="0" indent="0" algn="ctr">
              <a:buFont typeface="Arial" panose="020B0604020202020204" pitchFamily="34" charset="0"/>
              <a:buNone/>
              <a:defRPr sz="1989" cap="all" baseline="0">
                <a:solidFill>
                  <a:schemeClr val="bg1">
                    <a:lumMod val="50000"/>
                  </a:schemeClr>
                </a:solidFill>
                <a:latin typeface="+mj-lt"/>
              </a:defRPr>
            </a:lvl1pPr>
          </a:lstStyle>
          <a:p>
            <a:pPr lvl="0"/>
            <a:r>
              <a:rPr lang="en-US"/>
              <a:t>add text here</a:t>
            </a:r>
          </a:p>
        </p:txBody>
      </p:sp>
      <p:sp>
        <p:nvSpPr>
          <p:cNvPr id="23" name="Text Placeholder 16">
            <a:extLst>
              <a:ext uri="{FF2B5EF4-FFF2-40B4-BE49-F238E27FC236}">
                <a16:creationId xmlns:a16="http://schemas.microsoft.com/office/drawing/2014/main" id="{4E2096A1-8340-4D15-A6EA-3B804C1A5F4B}"/>
              </a:ext>
            </a:extLst>
          </p:cNvPr>
          <p:cNvSpPr>
            <a:spLocks noGrp="1"/>
          </p:cNvSpPr>
          <p:nvPr>
            <p:ph type="body" sz="quarter" idx="18" hasCustomPrompt="1"/>
          </p:nvPr>
        </p:nvSpPr>
        <p:spPr>
          <a:xfrm>
            <a:off x="5572664" y="4585614"/>
            <a:ext cx="2318361" cy="1310344"/>
          </a:xfrm>
          <a:prstGeom prst="rect">
            <a:avLst/>
          </a:prstGeom>
        </p:spPr>
        <p:txBody>
          <a:bodyPr>
            <a:normAutofit/>
          </a:bodyPr>
          <a:lstStyle>
            <a:lvl1pPr marL="0" indent="0" algn="ctr">
              <a:lnSpc>
                <a:spcPts val="2207"/>
              </a:lnSpc>
              <a:spcBef>
                <a:spcPts val="0"/>
              </a:spcBef>
              <a:buNone/>
              <a:defRPr sz="1547"/>
            </a:lvl1pPr>
            <a:lvl2pPr marL="504031" indent="0">
              <a:buNone/>
              <a:defRPr sz="1763"/>
            </a:lvl2pPr>
            <a:lvl3pPr marL="1008063" indent="0">
              <a:buNone/>
              <a:defRPr sz="1763"/>
            </a:lvl3pPr>
            <a:lvl4pPr marL="1512094" indent="0">
              <a:buNone/>
              <a:defRPr sz="1763"/>
            </a:lvl4pPr>
            <a:lvl5pPr marL="2016127" indent="0">
              <a:buNone/>
              <a:defRPr sz="1763"/>
            </a:lvl5pPr>
          </a:lstStyle>
          <a:p>
            <a:pPr lvl="0"/>
            <a:r>
              <a:rPr lang="en-US"/>
              <a:t>Click to add text</a:t>
            </a:r>
          </a:p>
        </p:txBody>
      </p:sp>
      <p:sp>
        <p:nvSpPr>
          <p:cNvPr id="3" name="Rectangle 9">
            <a:extLst>
              <a:ext uri="{FF2B5EF4-FFF2-40B4-BE49-F238E27FC236}">
                <a16:creationId xmlns:a16="http://schemas.microsoft.com/office/drawing/2014/main" id="{53E651DB-268C-47F2-B510-168B1A59A1BE}"/>
              </a:ext>
              <a:ext uri="{C183D7F6-B498-43B3-948B-1728B52AA6E4}">
                <adec:decorative xmlns:adec="http://schemas.microsoft.com/office/drawing/2017/decorative" val="1"/>
              </a:ext>
            </a:extLst>
          </p:cNvPr>
          <p:cNvSpPr/>
          <p:nvPr userDrawn="1"/>
        </p:nvSpPr>
        <p:spPr>
          <a:xfrm>
            <a:off x="-5737" y="6551722"/>
            <a:ext cx="13463578" cy="1034205"/>
          </a:xfrm>
          <a:custGeom>
            <a:avLst/>
            <a:gdLst>
              <a:gd name="connsiteX0" fmla="*/ 0 w 12192000"/>
              <a:gd name="connsiteY0" fmla="*/ 0 h 914400"/>
              <a:gd name="connsiteX1" fmla="*/ 12192000 w 12192000"/>
              <a:gd name="connsiteY1" fmla="*/ 0 h 914400"/>
              <a:gd name="connsiteX2" fmla="*/ 12192000 w 12192000"/>
              <a:gd name="connsiteY2" fmla="*/ 914400 h 914400"/>
              <a:gd name="connsiteX3" fmla="*/ 0 w 12192000"/>
              <a:gd name="connsiteY3" fmla="*/ 914400 h 914400"/>
              <a:gd name="connsiteX4" fmla="*/ 0 w 12192000"/>
              <a:gd name="connsiteY4" fmla="*/ 0 h 914400"/>
              <a:gd name="connsiteX0" fmla="*/ 0 w 12228095"/>
              <a:gd name="connsiteY0" fmla="*/ 457200 h 914400"/>
              <a:gd name="connsiteX1" fmla="*/ 12228095 w 12228095"/>
              <a:gd name="connsiteY1" fmla="*/ 0 h 914400"/>
              <a:gd name="connsiteX2" fmla="*/ 12228095 w 12228095"/>
              <a:gd name="connsiteY2" fmla="*/ 914400 h 914400"/>
              <a:gd name="connsiteX3" fmla="*/ 36095 w 12228095"/>
              <a:gd name="connsiteY3" fmla="*/ 914400 h 914400"/>
              <a:gd name="connsiteX4" fmla="*/ 0 w 12228095"/>
              <a:gd name="connsiteY4" fmla="*/ 457200 h 914400"/>
              <a:gd name="connsiteX0" fmla="*/ 11652 w 12239747"/>
              <a:gd name="connsiteY0" fmla="*/ 457200 h 938212"/>
              <a:gd name="connsiteX1" fmla="*/ 12239747 w 12239747"/>
              <a:gd name="connsiteY1" fmla="*/ 0 h 938212"/>
              <a:gd name="connsiteX2" fmla="*/ 12239747 w 12239747"/>
              <a:gd name="connsiteY2" fmla="*/ 914400 h 938212"/>
              <a:gd name="connsiteX3" fmla="*/ 0 w 12239747"/>
              <a:gd name="connsiteY3" fmla="*/ 938212 h 938212"/>
              <a:gd name="connsiteX4" fmla="*/ 11652 w 12239747"/>
              <a:gd name="connsiteY4" fmla="*/ 457200 h 938212"/>
              <a:gd name="connsiteX0" fmla="*/ 0 w 12251968"/>
              <a:gd name="connsiteY0" fmla="*/ 438150 h 938212"/>
              <a:gd name="connsiteX1" fmla="*/ 12251968 w 12251968"/>
              <a:gd name="connsiteY1" fmla="*/ 0 h 938212"/>
              <a:gd name="connsiteX2" fmla="*/ 12251968 w 12251968"/>
              <a:gd name="connsiteY2" fmla="*/ 914400 h 938212"/>
              <a:gd name="connsiteX3" fmla="*/ 12221 w 12251968"/>
              <a:gd name="connsiteY3" fmla="*/ 938212 h 938212"/>
              <a:gd name="connsiteX4" fmla="*/ 0 w 12251968"/>
              <a:gd name="connsiteY4" fmla="*/ 438150 h 938212"/>
              <a:gd name="connsiteX0" fmla="*/ 0 w 12275842"/>
              <a:gd name="connsiteY0" fmla="*/ 438150 h 938212"/>
              <a:gd name="connsiteX1" fmla="*/ 12275842 w 12275842"/>
              <a:gd name="connsiteY1" fmla="*/ 0 h 938212"/>
              <a:gd name="connsiteX2" fmla="*/ 12275842 w 12275842"/>
              <a:gd name="connsiteY2" fmla="*/ 914400 h 938212"/>
              <a:gd name="connsiteX3" fmla="*/ 36095 w 12275842"/>
              <a:gd name="connsiteY3" fmla="*/ 938212 h 938212"/>
              <a:gd name="connsiteX4" fmla="*/ 0 w 12275842"/>
              <a:gd name="connsiteY4" fmla="*/ 438150 h 938212"/>
              <a:gd name="connsiteX0" fmla="*/ 11652 w 12239747"/>
              <a:gd name="connsiteY0" fmla="*/ 438150 h 938212"/>
              <a:gd name="connsiteX1" fmla="*/ 12239747 w 12239747"/>
              <a:gd name="connsiteY1" fmla="*/ 0 h 938212"/>
              <a:gd name="connsiteX2" fmla="*/ 12239747 w 12239747"/>
              <a:gd name="connsiteY2" fmla="*/ 914400 h 938212"/>
              <a:gd name="connsiteX3" fmla="*/ 0 w 12239747"/>
              <a:gd name="connsiteY3" fmla="*/ 938212 h 938212"/>
              <a:gd name="connsiteX4" fmla="*/ 11652 w 12239747"/>
              <a:gd name="connsiteY4" fmla="*/ 438150 h 938212"/>
              <a:gd name="connsiteX0" fmla="*/ 11652 w 12239747"/>
              <a:gd name="connsiteY0" fmla="*/ 438150 h 938212"/>
              <a:gd name="connsiteX1" fmla="*/ 12239747 w 12239747"/>
              <a:gd name="connsiteY1" fmla="*/ 0 h 938212"/>
              <a:gd name="connsiteX2" fmla="*/ 12239747 w 12239747"/>
              <a:gd name="connsiteY2" fmla="*/ 914400 h 938212"/>
              <a:gd name="connsiteX3" fmla="*/ 0 w 12239747"/>
              <a:gd name="connsiteY3" fmla="*/ 938212 h 938212"/>
              <a:gd name="connsiteX4" fmla="*/ 11652 w 12239747"/>
              <a:gd name="connsiteY4" fmla="*/ 438150 h 938212"/>
              <a:gd name="connsiteX0" fmla="*/ 0 w 12244968"/>
              <a:gd name="connsiteY0" fmla="*/ 421321 h 938212"/>
              <a:gd name="connsiteX1" fmla="*/ 12244968 w 12244968"/>
              <a:gd name="connsiteY1" fmla="*/ 0 h 938212"/>
              <a:gd name="connsiteX2" fmla="*/ 12244968 w 12244968"/>
              <a:gd name="connsiteY2" fmla="*/ 914400 h 938212"/>
              <a:gd name="connsiteX3" fmla="*/ 5221 w 12244968"/>
              <a:gd name="connsiteY3" fmla="*/ 938212 h 938212"/>
              <a:gd name="connsiteX4" fmla="*/ 0 w 12244968"/>
              <a:gd name="connsiteY4" fmla="*/ 421321 h 938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44968" h="938212">
                <a:moveTo>
                  <a:pt x="0" y="421321"/>
                </a:moveTo>
                <a:lnTo>
                  <a:pt x="12244968" y="0"/>
                </a:lnTo>
                <a:lnTo>
                  <a:pt x="12244968" y="914400"/>
                </a:lnTo>
                <a:lnTo>
                  <a:pt x="5221" y="938212"/>
                </a:lnTo>
                <a:cubicBezTo>
                  <a:pt x="3481" y="765915"/>
                  <a:pt x="1740" y="593618"/>
                  <a:pt x="0" y="421321"/>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29"/>
          </a:p>
        </p:txBody>
      </p:sp>
      <p:cxnSp>
        <p:nvCxnSpPr>
          <p:cNvPr id="8" name="Straight Connector 7">
            <a:extLst>
              <a:ext uri="{FF2B5EF4-FFF2-40B4-BE49-F238E27FC236}">
                <a16:creationId xmlns:a16="http://schemas.microsoft.com/office/drawing/2014/main" id="{A109EA94-D4C0-489D-B11F-AAF2C1D27B88}"/>
              </a:ext>
              <a:ext uri="{C183D7F6-B498-43B3-948B-1728B52AA6E4}">
                <adec:decorative xmlns:adec="http://schemas.microsoft.com/office/drawing/2017/decorative" val="1"/>
              </a:ext>
            </a:extLst>
          </p:cNvPr>
          <p:cNvCxnSpPr>
            <a:cxnSpLocks/>
            <a:stCxn id="3" idx="1"/>
            <a:endCxn id="3" idx="0"/>
          </p:cNvCxnSpPr>
          <p:nvPr userDrawn="1"/>
        </p:nvCxnSpPr>
        <p:spPr>
          <a:xfrm flipH="1">
            <a:off x="-5737" y="6551722"/>
            <a:ext cx="13463578" cy="464429"/>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26DC72DD-030A-4AF2-8123-478BE9277165}"/>
              </a:ext>
              <a:ext uri="{C183D7F6-B498-43B3-948B-1728B52AA6E4}">
                <adec:decorative xmlns:adec="http://schemas.microsoft.com/office/drawing/2017/decorative" val="1"/>
              </a:ext>
            </a:extLst>
          </p:cNvPr>
          <p:cNvCxnSpPr/>
          <p:nvPr userDrawn="1"/>
        </p:nvCxnSpPr>
        <p:spPr>
          <a:xfrm>
            <a:off x="797492" y="3762839"/>
            <a:ext cx="2015968" cy="0"/>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5D71F1BF-0652-4581-AC74-7A608C1A0290}"/>
              </a:ext>
              <a:ext uri="{C183D7F6-B498-43B3-948B-1728B52AA6E4}">
                <adec:decorative xmlns:adec="http://schemas.microsoft.com/office/drawing/2017/decorative" val="1"/>
              </a:ext>
            </a:extLst>
          </p:cNvPr>
          <p:cNvCxnSpPr>
            <a:cxnSpLocks/>
          </p:cNvCxnSpPr>
          <p:nvPr userDrawn="1"/>
        </p:nvCxnSpPr>
        <p:spPr>
          <a:xfrm>
            <a:off x="3250922" y="3749836"/>
            <a:ext cx="2015968" cy="0"/>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AF8D050-0D5E-490F-98C5-C491541E54D2}"/>
              </a:ext>
              <a:ext uri="{C183D7F6-B498-43B3-948B-1728B52AA6E4}">
                <adec:decorative xmlns:adec="http://schemas.microsoft.com/office/drawing/2017/decorative" val="1"/>
              </a:ext>
            </a:extLst>
          </p:cNvPr>
          <p:cNvCxnSpPr>
            <a:cxnSpLocks/>
          </p:cNvCxnSpPr>
          <p:nvPr userDrawn="1"/>
        </p:nvCxnSpPr>
        <p:spPr>
          <a:xfrm>
            <a:off x="5694306" y="3760103"/>
            <a:ext cx="2015968" cy="0"/>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sp>
        <p:nvSpPr>
          <p:cNvPr id="4" name="Date Placeholder 3">
            <a:extLst>
              <a:ext uri="{FF2B5EF4-FFF2-40B4-BE49-F238E27FC236}">
                <a16:creationId xmlns:a16="http://schemas.microsoft.com/office/drawing/2014/main" id="{3EDAC16E-5725-4AC1-AB85-871F25D26688}"/>
              </a:ext>
            </a:extLst>
          </p:cNvPr>
          <p:cNvSpPr>
            <a:spLocks noGrp="1"/>
          </p:cNvSpPr>
          <p:nvPr>
            <p:ph type="dt" sz="half" idx="10"/>
          </p:nvPr>
        </p:nvSpPr>
        <p:spPr>
          <a:xfrm>
            <a:off x="923988" y="7006701"/>
            <a:ext cx="3023949" cy="402484"/>
          </a:xfrm>
          <a:prstGeom prst="rect">
            <a:avLst/>
          </a:prstGeom>
        </p:spPr>
        <p:txBody>
          <a:bodyPr/>
          <a:lstStyle/>
          <a:p>
            <a:endParaRPr lang="en-US"/>
          </a:p>
        </p:txBody>
      </p:sp>
      <p:sp>
        <p:nvSpPr>
          <p:cNvPr id="5" name="Footer Placeholder 4">
            <a:extLst>
              <a:ext uri="{FF2B5EF4-FFF2-40B4-BE49-F238E27FC236}">
                <a16:creationId xmlns:a16="http://schemas.microsoft.com/office/drawing/2014/main" id="{FD10B5D8-71E9-48DC-A04C-559359603CB0}"/>
              </a:ext>
            </a:extLst>
          </p:cNvPr>
          <p:cNvSpPr>
            <a:spLocks noGrp="1"/>
          </p:cNvSpPr>
          <p:nvPr>
            <p:ph type="ftr" sz="quarter" idx="11"/>
          </p:nvPr>
        </p:nvSpPr>
        <p:spPr>
          <a:xfrm>
            <a:off x="4451927" y="7006701"/>
            <a:ext cx="4535925" cy="402484"/>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A0FDD81F-9379-48E6-9B14-83486F920A39}"/>
              </a:ext>
            </a:extLst>
          </p:cNvPr>
          <p:cNvSpPr>
            <a:spLocks noGrp="1"/>
          </p:cNvSpPr>
          <p:nvPr>
            <p:ph type="sldNum" sz="quarter" idx="12"/>
          </p:nvPr>
        </p:nvSpPr>
        <p:spPr>
          <a:xfrm>
            <a:off x="9491845" y="7006701"/>
            <a:ext cx="3023949" cy="402484"/>
          </a:xfrm>
          <a:prstGeom prst="rect">
            <a:avLst/>
          </a:prstGeom>
        </p:spPr>
        <p:txBody>
          <a:bodyPr/>
          <a:lstStyle/>
          <a:p>
            <a:fld id="{B5CEABB6-07DC-46E8-9B57-56EC44A396E5}" type="slidenum">
              <a:rPr lang="en-US" smtClean="0"/>
              <a:t>‹№›</a:t>
            </a:fld>
            <a:endParaRPr lang="en-US"/>
          </a:p>
        </p:txBody>
      </p:sp>
      <p:sp>
        <p:nvSpPr>
          <p:cNvPr id="7" name="Content Placeholder 12">
            <a:extLst>
              <a:ext uri="{FF2B5EF4-FFF2-40B4-BE49-F238E27FC236}">
                <a16:creationId xmlns:a16="http://schemas.microsoft.com/office/drawing/2014/main" id="{B2296C46-2D5E-60E2-0C5E-3E8777908287}"/>
              </a:ext>
            </a:extLst>
          </p:cNvPr>
          <p:cNvSpPr>
            <a:spLocks noGrp="1"/>
          </p:cNvSpPr>
          <p:nvPr>
            <p:ph sz="quarter" idx="38" hasCustomPrompt="1"/>
          </p:nvPr>
        </p:nvSpPr>
        <p:spPr>
          <a:xfrm>
            <a:off x="8207428" y="2092186"/>
            <a:ext cx="2015968" cy="1451458"/>
          </a:xfrm>
          <a:prstGeom prst="rect">
            <a:avLst/>
          </a:prstGeom>
        </p:spPr>
        <p:txBody>
          <a:bodyPr>
            <a:normAutofit/>
          </a:bodyPr>
          <a:lstStyle>
            <a:lvl1pPr marL="0" indent="0" algn="ctr">
              <a:buNone/>
              <a:defRPr sz="1328"/>
            </a:lvl1pPr>
            <a:lvl2pPr marL="504031" indent="0">
              <a:buNone/>
              <a:defRPr sz="1547"/>
            </a:lvl2pPr>
            <a:lvl3pPr marL="1008063" indent="0">
              <a:buNone/>
              <a:defRPr sz="1547"/>
            </a:lvl3pPr>
            <a:lvl4pPr marL="1512094" indent="0">
              <a:buNone/>
              <a:defRPr sz="1547"/>
            </a:lvl4pPr>
            <a:lvl5pPr marL="2016127" indent="0">
              <a:buNone/>
              <a:defRPr sz="1547"/>
            </a:lvl5pPr>
          </a:lstStyle>
          <a:p>
            <a:pPr lvl="0"/>
            <a:r>
              <a:rPr lang="en-US"/>
              <a:t>Click to add content</a:t>
            </a:r>
          </a:p>
        </p:txBody>
      </p:sp>
      <p:sp>
        <p:nvSpPr>
          <p:cNvPr id="9" name="Text Placeholder 8">
            <a:extLst>
              <a:ext uri="{FF2B5EF4-FFF2-40B4-BE49-F238E27FC236}">
                <a16:creationId xmlns:a16="http://schemas.microsoft.com/office/drawing/2014/main" id="{188921FC-F072-8C8D-6CDF-FDE5B081A742}"/>
              </a:ext>
            </a:extLst>
          </p:cNvPr>
          <p:cNvSpPr>
            <a:spLocks noGrp="1"/>
          </p:cNvSpPr>
          <p:nvPr>
            <p:ph type="body" sz="quarter" idx="39" hasCustomPrompt="1"/>
          </p:nvPr>
        </p:nvSpPr>
        <p:spPr>
          <a:xfrm>
            <a:off x="8046874" y="4097770"/>
            <a:ext cx="2318361" cy="396833"/>
          </a:xfrm>
          <a:prstGeom prst="rect">
            <a:avLst/>
          </a:prstGeom>
        </p:spPr>
        <p:txBody>
          <a:bodyPr anchor="ctr" anchorCtr="0">
            <a:noAutofit/>
          </a:bodyPr>
          <a:lstStyle>
            <a:lvl1pPr marL="0" indent="0" algn="ctr">
              <a:buFont typeface="Arial" panose="020B0604020202020204" pitchFamily="34" charset="0"/>
              <a:buNone/>
              <a:defRPr sz="1989" cap="all" baseline="0">
                <a:solidFill>
                  <a:schemeClr val="bg1">
                    <a:lumMod val="50000"/>
                  </a:schemeClr>
                </a:solidFill>
                <a:latin typeface="+mj-lt"/>
              </a:defRPr>
            </a:lvl1pPr>
          </a:lstStyle>
          <a:p>
            <a:pPr lvl="0"/>
            <a:r>
              <a:rPr lang="en-US"/>
              <a:t>add text here</a:t>
            </a:r>
          </a:p>
        </p:txBody>
      </p:sp>
      <p:sp>
        <p:nvSpPr>
          <p:cNvPr id="14" name="Text Placeholder 16">
            <a:extLst>
              <a:ext uri="{FF2B5EF4-FFF2-40B4-BE49-F238E27FC236}">
                <a16:creationId xmlns:a16="http://schemas.microsoft.com/office/drawing/2014/main" id="{AE32E144-51E1-FF60-F879-3C5150B92A83}"/>
              </a:ext>
            </a:extLst>
          </p:cNvPr>
          <p:cNvSpPr>
            <a:spLocks noGrp="1"/>
          </p:cNvSpPr>
          <p:nvPr>
            <p:ph type="body" sz="quarter" idx="40" hasCustomPrompt="1"/>
          </p:nvPr>
        </p:nvSpPr>
        <p:spPr>
          <a:xfrm>
            <a:off x="8046874" y="4584393"/>
            <a:ext cx="2318361" cy="1310344"/>
          </a:xfrm>
          <a:prstGeom prst="rect">
            <a:avLst/>
          </a:prstGeom>
        </p:spPr>
        <p:txBody>
          <a:bodyPr>
            <a:normAutofit/>
          </a:bodyPr>
          <a:lstStyle>
            <a:lvl1pPr marL="0" indent="0" algn="ctr">
              <a:lnSpc>
                <a:spcPts val="2207"/>
              </a:lnSpc>
              <a:spcBef>
                <a:spcPts val="0"/>
              </a:spcBef>
              <a:buNone/>
              <a:defRPr sz="1547"/>
            </a:lvl1pPr>
            <a:lvl2pPr marL="504031" indent="0">
              <a:buNone/>
              <a:defRPr sz="1763"/>
            </a:lvl2pPr>
            <a:lvl3pPr marL="1008063" indent="0">
              <a:buNone/>
              <a:defRPr sz="1763"/>
            </a:lvl3pPr>
            <a:lvl4pPr marL="1512094" indent="0">
              <a:buNone/>
              <a:defRPr sz="1763"/>
            </a:lvl4pPr>
            <a:lvl5pPr marL="2016127" indent="0">
              <a:buNone/>
              <a:defRPr sz="1763"/>
            </a:lvl5pPr>
          </a:lstStyle>
          <a:p>
            <a:pPr lvl="0"/>
            <a:r>
              <a:rPr lang="en-US"/>
              <a:t>Click to add text</a:t>
            </a:r>
          </a:p>
        </p:txBody>
      </p:sp>
      <p:cxnSp>
        <p:nvCxnSpPr>
          <p:cNvPr id="18" name="Straight Connector 17">
            <a:extLst>
              <a:ext uri="{FF2B5EF4-FFF2-40B4-BE49-F238E27FC236}">
                <a16:creationId xmlns:a16="http://schemas.microsoft.com/office/drawing/2014/main" id="{8074C830-FB96-58FF-C02B-BAD69F7978BD}"/>
              </a:ext>
              <a:ext uri="{C183D7F6-B498-43B3-948B-1728B52AA6E4}">
                <adec:decorative xmlns:adec="http://schemas.microsoft.com/office/drawing/2017/decorative" val="1"/>
              </a:ext>
            </a:extLst>
          </p:cNvPr>
          <p:cNvCxnSpPr>
            <a:cxnSpLocks/>
          </p:cNvCxnSpPr>
          <p:nvPr userDrawn="1"/>
        </p:nvCxnSpPr>
        <p:spPr>
          <a:xfrm>
            <a:off x="8168517" y="3758882"/>
            <a:ext cx="2015968" cy="0"/>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Content Placeholder 12">
            <a:extLst>
              <a:ext uri="{FF2B5EF4-FFF2-40B4-BE49-F238E27FC236}">
                <a16:creationId xmlns:a16="http://schemas.microsoft.com/office/drawing/2014/main" id="{B0C04049-6C55-306B-3321-B7941AB475D0}"/>
              </a:ext>
            </a:extLst>
          </p:cNvPr>
          <p:cNvSpPr>
            <a:spLocks noGrp="1"/>
          </p:cNvSpPr>
          <p:nvPr>
            <p:ph sz="quarter" idx="41" hasCustomPrompt="1"/>
          </p:nvPr>
        </p:nvSpPr>
        <p:spPr>
          <a:xfrm>
            <a:off x="10681640" y="2092186"/>
            <a:ext cx="2015968" cy="1451458"/>
          </a:xfrm>
          <a:prstGeom prst="rect">
            <a:avLst/>
          </a:prstGeom>
        </p:spPr>
        <p:txBody>
          <a:bodyPr>
            <a:normAutofit/>
          </a:bodyPr>
          <a:lstStyle>
            <a:lvl1pPr marL="0" indent="0" algn="ctr">
              <a:buNone/>
              <a:defRPr sz="1328"/>
            </a:lvl1pPr>
            <a:lvl2pPr marL="504031" indent="0">
              <a:buNone/>
              <a:defRPr sz="1547"/>
            </a:lvl2pPr>
            <a:lvl3pPr marL="1008063" indent="0">
              <a:buNone/>
              <a:defRPr sz="1547"/>
            </a:lvl3pPr>
            <a:lvl4pPr marL="1512094" indent="0">
              <a:buNone/>
              <a:defRPr sz="1547"/>
            </a:lvl4pPr>
            <a:lvl5pPr marL="2016127" indent="0">
              <a:buNone/>
              <a:defRPr sz="1547"/>
            </a:lvl5pPr>
          </a:lstStyle>
          <a:p>
            <a:pPr lvl="0"/>
            <a:r>
              <a:rPr lang="en-US"/>
              <a:t>Click to add content</a:t>
            </a:r>
          </a:p>
        </p:txBody>
      </p:sp>
      <p:sp>
        <p:nvSpPr>
          <p:cNvPr id="25" name="Text Placeholder 8">
            <a:extLst>
              <a:ext uri="{FF2B5EF4-FFF2-40B4-BE49-F238E27FC236}">
                <a16:creationId xmlns:a16="http://schemas.microsoft.com/office/drawing/2014/main" id="{746DD307-D5B4-DAE3-687E-C76E6CD32F68}"/>
              </a:ext>
            </a:extLst>
          </p:cNvPr>
          <p:cNvSpPr>
            <a:spLocks noGrp="1"/>
          </p:cNvSpPr>
          <p:nvPr>
            <p:ph type="body" sz="quarter" idx="42" hasCustomPrompt="1"/>
          </p:nvPr>
        </p:nvSpPr>
        <p:spPr>
          <a:xfrm>
            <a:off x="10521085" y="4097770"/>
            <a:ext cx="2318361" cy="396833"/>
          </a:xfrm>
          <a:prstGeom prst="rect">
            <a:avLst/>
          </a:prstGeom>
        </p:spPr>
        <p:txBody>
          <a:bodyPr anchor="ctr" anchorCtr="0">
            <a:noAutofit/>
          </a:bodyPr>
          <a:lstStyle>
            <a:lvl1pPr marL="0" indent="0" algn="ctr">
              <a:buFont typeface="Arial" panose="020B0604020202020204" pitchFamily="34" charset="0"/>
              <a:buNone/>
              <a:defRPr sz="1989" cap="all" baseline="0">
                <a:solidFill>
                  <a:schemeClr val="bg1">
                    <a:lumMod val="50000"/>
                  </a:schemeClr>
                </a:solidFill>
                <a:latin typeface="+mj-lt"/>
              </a:defRPr>
            </a:lvl1pPr>
          </a:lstStyle>
          <a:p>
            <a:pPr lvl="0"/>
            <a:r>
              <a:rPr lang="en-US"/>
              <a:t>add text here</a:t>
            </a:r>
          </a:p>
        </p:txBody>
      </p:sp>
      <p:sp>
        <p:nvSpPr>
          <p:cNvPr id="26" name="Text Placeholder 16">
            <a:extLst>
              <a:ext uri="{FF2B5EF4-FFF2-40B4-BE49-F238E27FC236}">
                <a16:creationId xmlns:a16="http://schemas.microsoft.com/office/drawing/2014/main" id="{2CE25F25-CC89-2EB6-3091-8FD197603494}"/>
              </a:ext>
            </a:extLst>
          </p:cNvPr>
          <p:cNvSpPr>
            <a:spLocks noGrp="1"/>
          </p:cNvSpPr>
          <p:nvPr>
            <p:ph type="body" sz="quarter" idx="43" hasCustomPrompt="1"/>
          </p:nvPr>
        </p:nvSpPr>
        <p:spPr>
          <a:xfrm>
            <a:off x="10521085" y="4584393"/>
            <a:ext cx="2318361" cy="1310344"/>
          </a:xfrm>
          <a:prstGeom prst="rect">
            <a:avLst/>
          </a:prstGeom>
        </p:spPr>
        <p:txBody>
          <a:bodyPr>
            <a:normAutofit/>
          </a:bodyPr>
          <a:lstStyle>
            <a:lvl1pPr marL="0" indent="0" algn="ctr">
              <a:lnSpc>
                <a:spcPts val="2207"/>
              </a:lnSpc>
              <a:spcBef>
                <a:spcPts val="0"/>
              </a:spcBef>
              <a:buNone/>
              <a:defRPr sz="1547"/>
            </a:lvl1pPr>
            <a:lvl2pPr marL="504031" indent="0">
              <a:buNone/>
              <a:defRPr sz="1763"/>
            </a:lvl2pPr>
            <a:lvl3pPr marL="1008063" indent="0">
              <a:buNone/>
              <a:defRPr sz="1763"/>
            </a:lvl3pPr>
            <a:lvl4pPr marL="1512094" indent="0">
              <a:buNone/>
              <a:defRPr sz="1763"/>
            </a:lvl4pPr>
            <a:lvl5pPr marL="2016127" indent="0">
              <a:buNone/>
              <a:defRPr sz="1763"/>
            </a:lvl5pPr>
          </a:lstStyle>
          <a:p>
            <a:pPr lvl="0"/>
            <a:r>
              <a:rPr lang="en-US"/>
              <a:t>Click to add text</a:t>
            </a:r>
          </a:p>
        </p:txBody>
      </p:sp>
      <p:cxnSp>
        <p:nvCxnSpPr>
          <p:cNvPr id="27" name="Straight Connector 26">
            <a:extLst>
              <a:ext uri="{FF2B5EF4-FFF2-40B4-BE49-F238E27FC236}">
                <a16:creationId xmlns:a16="http://schemas.microsoft.com/office/drawing/2014/main" id="{790FBCCA-FA61-8A7A-049B-309AD9BDD1DF}"/>
              </a:ext>
              <a:ext uri="{C183D7F6-B498-43B3-948B-1728B52AA6E4}">
                <adec:decorative xmlns:adec="http://schemas.microsoft.com/office/drawing/2017/decorative" val="1"/>
              </a:ext>
            </a:extLst>
          </p:cNvPr>
          <p:cNvCxnSpPr>
            <a:cxnSpLocks/>
          </p:cNvCxnSpPr>
          <p:nvPr userDrawn="1"/>
        </p:nvCxnSpPr>
        <p:spPr>
          <a:xfrm>
            <a:off x="10642728" y="3758882"/>
            <a:ext cx="2015968" cy="0"/>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8634595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0_Business Mode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AE12D1-08AF-45E9-A34A-BDE9E860BAA2}"/>
              </a:ext>
            </a:extLst>
          </p:cNvPr>
          <p:cNvSpPr>
            <a:spLocks noGrp="1"/>
          </p:cNvSpPr>
          <p:nvPr>
            <p:ph type="title" hasCustomPrompt="1"/>
          </p:nvPr>
        </p:nvSpPr>
        <p:spPr>
          <a:xfrm>
            <a:off x="923985" y="402486"/>
            <a:ext cx="11591806" cy="945366"/>
          </a:xfrm>
          <a:prstGeom prst="rect">
            <a:avLst/>
          </a:prstGeom>
        </p:spPr>
        <p:txBody>
          <a:bodyPr/>
          <a:lstStyle>
            <a:lvl1pPr algn="ctr">
              <a:defRPr baseline="0"/>
            </a:lvl1pPr>
          </a:lstStyle>
          <a:p>
            <a:r>
              <a:rPr lang="en-US"/>
              <a:t>CLICK TO add TITLE</a:t>
            </a:r>
          </a:p>
        </p:txBody>
      </p:sp>
      <p:sp>
        <p:nvSpPr>
          <p:cNvPr id="13" name="Content Placeholder 12">
            <a:extLst>
              <a:ext uri="{FF2B5EF4-FFF2-40B4-BE49-F238E27FC236}">
                <a16:creationId xmlns:a16="http://schemas.microsoft.com/office/drawing/2014/main" id="{7EAC5CD7-1A3E-485E-B8D8-C6B22ADD6AE4}"/>
              </a:ext>
            </a:extLst>
          </p:cNvPr>
          <p:cNvSpPr>
            <a:spLocks noGrp="1"/>
          </p:cNvSpPr>
          <p:nvPr>
            <p:ph sz="quarter" idx="13" hasCustomPrompt="1"/>
          </p:nvPr>
        </p:nvSpPr>
        <p:spPr>
          <a:xfrm>
            <a:off x="1776913" y="1570460"/>
            <a:ext cx="2015968" cy="1450237"/>
          </a:xfrm>
          <a:prstGeom prst="rect">
            <a:avLst/>
          </a:prstGeom>
        </p:spPr>
        <p:txBody>
          <a:bodyPr>
            <a:normAutofit/>
          </a:bodyPr>
          <a:lstStyle>
            <a:lvl1pPr marL="0" indent="0" algn="ctr">
              <a:buNone/>
              <a:defRPr sz="1328"/>
            </a:lvl1pPr>
            <a:lvl2pPr marL="504031" indent="0">
              <a:buNone/>
              <a:defRPr sz="1547"/>
            </a:lvl2pPr>
            <a:lvl3pPr marL="1008063" indent="0">
              <a:buNone/>
              <a:defRPr sz="1547"/>
            </a:lvl3pPr>
            <a:lvl4pPr marL="1512094" indent="0">
              <a:buNone/>
              <a:defRPr sz="1547"/>
            </a:lvl4pPr>
            <a:lvl5pPr marL="2016127" indent="0">
              <a:buNone/>
              <a:defRPr sz="1547"/>
            </a:lvl5pPr>
          </a:lstStyle>
          <a:p>
            <a:pPr lvl="0"/>
            <a:r>
              <a:rPr lang="en-US"/>
              <a:t>Click to add content</a:t>
            </a:r>
          </a:p>
        </p:txBody>
      </p:sp>
      <p:sp>
        <p:nvSpPr>
          <p:cNvPr id="15" name="Text Placeholder 8">
            <a:extLst>
              <a:ext uri="{FF2B5EF4-FFF2-40B4-BE49-F238E27FC236}">
                <a16:creationId xmlns:a16="http://schemas.microsoft.com/office/drawing/2014/main" id="{62CE8502-2A5C-4AF6-9580-821991C9C0A7}"/>
              </a:ext>
            </a:extLst>
          </p:cNvPr>
          <p:cNvSpPr>
            <a:spLocks noGrp="1"/>
          </p:cNvSpPr>
          <p:nvPr>
            <p:ph type="body" sz="quarter" idx="33" hasCustomPrompt="1"/>
          </p:nvPr>
        </p:nvSpPr>
        <p:spPr>
          <a:xfrm>
            <a:off x="1623194" y="3573527"/>
            <a:ext cx="2318361" cy="396833"/>
          </a:xfrm>
          <a:prstGeom prst="rect">
            <a:avLst/>
          </a:prstGeom>
        </p:spPr>
        <p:txBody>
          <a:bodyPr anchor="ctr" anchorCtr="0">
            <a:noAutofit/>
          </a:bodyPr>
          <a:lstStyle>
            <a:lvl1pPr marL="0" indent="0" algn="ctr">
              <a:buFont typeface="Arial" panose="020B0604020202020204" pitchFamily="34" charset="0"/>
              <a:buNone/>
              <a:defRPr sz="1989" cap="all" baseline="0">
                <a:solidFill>
                  <a:schemeClr val="bg1">
                    <a:lumMod val="50000"/>
                  </a:schemeClr>
                </a:solidFill>
                <a:latin typeface="+mj-lt"/>
              </a:defRPr>
            </a:lvl1pPr>
          </a:lstStyle>
          <a:p>
            <a:pPr lvl="0"/>
            <a:r>
              <a:rPr lang="en-US"/>
              <a:t>add text here</a:t>
            </a:r>
          </a:p>
        </p:txBody>
      </p:sp>
      <p:sp>
        <p:nvSpPr>
          <p:cNvPr id="19" name="Content Placeholder 12">
            <a:extLst>
              <a:ext uri="{FF2B5EF4-FFF2-40B4-BE49-F238E27FC236}">
                <a16:creationId xmlns:a16="http://schemas.microsoft.com/office/drawing/2014/main" id="{B004E4D5-7F92-4D3E-BB88-35ED384CCF52}"/>
              </a:ext>
            </a:extLst>
          </p:cNvPr>
          <p:cNvSpPr>
            <a:spLocks noGrp="1"/>
          </p:cNvSpPr>
          <p:nvPr>
            <p:ph sz="quarter" idx="15" hasCustomPrompt="1"/>
          </p:nvPr>
        </p:nvSpPr>
        <p:spPr>
          <a:xfrm>
            <a:off x="4255679" y="1570459"/>
            <a:ext cx="2015968" cy="1451458"/>
          </a:xfrm>
          <a:prstGeom prst="rect">
            <a:avLst/>
          </a:prstGeom>
        </p:spPr>
        <p:txBody>
          <a:bodyPr>
            <a:normAutofit/>
          </a:bodyPr>
          <a:lstStyle>
            <a:lvl1pPr marL="0" indent="0" algn="ctr">
              <a:buNone/>
              <a:defRPr sz="1328"/>
            </a:lvl1pPr>
            <a:lvl2pPr marL="504031" indent="0">
              <a:buNone/>
              <a:defRPr sz="1547"/>
            </a:lvl2pPr>
            <a:lvl3pPr marL="1008063" indent="0">
              <a:buNone/>
              <a:defRPr sz="1547"/>
            </a:lvl3pPr>
            <a:lvl4pPr marL="1512094" indent="0">
              <a:buNone/>
              <a:defRPr sz="1547"/>
            </a:lvl4pPr>
            <a:lvl5pPr marL="2016127" indent="0">
              <a:buNone/>
              <a:defRPr sz="1547"/>
            </a:lvl5pPr>
          </a:lstStyle>
          <a:p>
            <a:pPr lvl="0"/>
            <a:r>
              <a:rPr lang="en-US"/>
              <a:t>Click to add content</a:t>
            </a:r>
          </a:p>
        </p:txBody>
      </p:sp>
      <p:sp>
        <p:nvSpPr>
          <p:cNvPr id="16" name="Text Placeholder 8">
            <a:extLst>
              <a:ext uri="{FF2B5EF4-FFF2-40B4-BE49-F238E27FC236}">
                <a16:creationId xmlns:a16="http://schemas.microsoft.com/office/drawing/2014/main" id="{97B2ABAD-B1D1-47F3-9008-0EDFC6F61F7C}"/>
              </a:ext>
            </a:extLst>
          </p:cNvPr>
          <p:cNvSpPr>
            <a:spLocks noGrp="1"/>
          </p:cNvSpPr>
          <p:nvPr>
            <p:ph type="body" sz="quarter" idx="35" hasCustomPrompt="1"/>
          </p:nvPr>
        </p:nvSpPr>
        <p:spPr>
          <a:xfrm>
            <a:off x="4105624" y="3571023"/>
            <a:ext cx="2318361" cy="396833"/>
          </a:xfrm>
          <a:prstGeom prst="rect">
            <a:avLst/>
          </a:prstGeom>
        </p:spPr>
        <p:txBody>
          <a:bodyPr anchor="ctr" anchorCtr="0">
            <a:noAutofit/>
          </a:bodyPr>
          <a:lstStyle>
            <a:lvl1pPr marL="0" indent="0" algn="ctr">
              <a:buFont typeface="Arial" panose="020B0604020202020204" pitchFamily="34" charset="0"/>
              <a:buNone/>
              <a:defRPr sz="1989" cap="all" baseline="0">
                <a:solidFill>
                  <a:schemeClr val="bg1">
                    <a:lumMod val="50000"/>
                  </a:schemeClr>
                </a:solidFill>
                <a:latin typeface="+mj-lt"/>
              </a:defRPr>
            </a:lvl1pPr>
          </a:lstStyle>
          <a:p>
            <a:pPr lvl="0"/>
            <a:r>
              <a:rPr lang="en-US"/>
              <a:t>add text here</a:t>
            </a:r>
          </a:p>
        </p:txBody>
      </p:sp>
      <p:sp>
        <p:nvSpPr>
          <p:cNvPr id="22" name="Content Placeholder 12">
            <a:extLst>
              <a:ext uri="{FF2B5EF4-FFF2-40B4-BE49-F238E27FC236}">
                <a16:creationId xmlns:a16="http://schemas.microsoft.com/office/drawing/2014/main" id="{575F9DFF-43AF-4E05-8407-87D47C1818C4}"/>
              </a:ext>
            </a:extLst>
          </p:cNvPr>
          <p:cNvSpPr>
            <a:spLocks noGrp="1"/>
          </p:cNvSpPr>
          <p:nvPr>
            <p:ph sz="quarter" idx="17" hasCustomPrompt="1"/>
          </p:nvPr>
        </p:nvSpPr>
        <p:spPr>
          <a:xfrm>
            <a:off x="1791967" y="4149307"/>
            <a:ext cx="2015968" cy="1451458"/>
          </a:xfrm>
          <a:prstGeom prst="rect">
            <a:avLst/>
          </a:prstGeom>
        </p:spPr>
        <p:txBody>
          <a:bodyPr>
            <a:normAutofit/>
          </a:bodyPr>
          <a:lstStyle>
            <a:lvl1pPr marL="0" indent="0" algn="ctr">
              <a:buNone/>
              <a:defRPr sz="1328"/>
            </a:lvl1pPr>
            <a:lvl2pPr marL="504031" indent="0">
              <a:buNone/>
              <a:defRPr sz="1547"/>
            </a:lvl2pPr>
            <a:lvl3pPr marL="1008063" indent="0">
              <a:buNone/>
              <a:defRPr sz="1547"/>
            </a:lvl3pPr>
            <a:lvl4pPr marL="1512094" indent="0">
              <a:buNone/>
              <a:defRPr sz="1547"/>
            </a:lvl4pPr>
            <a:lvl5pPr marL="2016127" indent="0">
              <a:buNone/>
              <a:defRPr sz="1547"/>
            </a:lvl5pPr>
          </a:lstStyle>
          <a:p>
            <a:pPr lvl="0"/>
            <a:r>
              <a:rPr lang="en-US"/>
              <a:t>Click to add content</a:t>
            </a:r>
          </a:p>
        </p:txBody>
      </p:sp>
      <p:sp>
        <p:nvSpPr>
          <p:cNvPr id="24" name="Text Placeholder 8">
            <a:extLst>
              <a:ext uri="{FF2B5EF4-FFF2-40B4-BE49-F238E27FC236}">
                <a16:creationId xmlns:a16="http://schemas.microsoft.com/office/drawing/2014/main" id="{BD7CE6C1-36AE-4F6D-948C-7CF1B5AF383B}"/>
              </a:ext>
            </a:extLst>
          </p:cNvPr>
          <p:cNvSpPr>
            <a:spLocks noGrp="1"/>
          </p:cNvSpPr>
          <p:nvPr>
            <p:ph type="body" sz="quarter" idx="37" hasCustomPrompt="1"/>
          </p:nvPr>
        </p:nvSpPr>
        <p:spPr>
          <a:xfrm>
            <a:off x="1631413" y="6154890"/>
            <a:ext cx="2318361" cy="396833"/>
          </a:xfrm>
          <a:prstGeom prst="rect">
            <a:avLst/>
          </a:prstGeom>
        </p:spPr>
        <p:txBody>
          <a:bodyPr anchor="ctr" anchorCtr="0">
            <a:noAutofit/>
          </a:bodyPr>
          <a:lstStyle>
            <a:lvl1pPr marL="0" indent="0" algn="ctr">
              <a:buFont typeface="Arial" panose="020B0604020202020204" pitchFamily="34" charset="0"/>
              <a:buNone/>
              <a:defRPr sz="1989" cap="all" baseline="0">
                <a:solidFill>
                  <a:schemeClr val="bg1">
                    <a:lumMod val="50000"/>
                  </a:schemeClr>
                </a:solidFill>
                <a:latin typeface="+mj-lt"/>
              </a:defRPr>
            </a:lvl1pPr>
          </a:lstStyle>
          <a:p>
            <a:pPr lvl="0"/>
            <a:r>
              <a:rPr lang="en-US"/>
              <a:t>add text here</a:t>
            </a:r>
          </a:p>
        </p:txBody>
      </p:sp>
      <p:sp>
        <p:nvSpPr>
          <p:cNvPr id="3" name="Rectangle 9">
            <a:extLst>
              <a:ext uri="{FF2B5EF4-FFF2-40B4-BE49-F238E27FC236}">
                <a16:creationId xmlns:a16="http://schemas.microsoft.com/office/drawing/2014/main" id="{53E651DB-268C-47F2-B510-168B1A59A1BE}"/>
              </a:ext>
              <a:ext uri="{C183D7F6-B498-43B3-948B-1728B52AA6E4}">
                <adec:decorative xmlns:adec="http://schemas.microsoft.com/office/drawing/2017/decorative" val="1"/>
              </a:ext>
            </a:extLst>
          </p:cNvPr>
          <p:cNvSpPr/>
          <p:nvPr userDrawn="1"/>
        </p:nvSpPr>
        <p:spPr>
          <a:xfrm>
            <a:off x="-5737" y="6551722"/>
            <a:ext cx="13463578" cy="1034205"/>
          </a:xfrm>
          <a:custGeom>
            <a:avLst/>
            <a:gdLst>
              <a:gd name="connsiteX0" fmla="*/ 0 w 12192000"/>
              <a:gd name="connsiteY0" fmla="*/ 0 h 914400"/>
              <a:gd name="connsiteX1" fmla="*/ 12192000 w 12192000"/>
              <a:gd name="connsiteY1" fmla="*/ 0 h 914400"/>
              <a:gd name="connsiteX2" fmla="*/ 12192000 w 12192000"/>
              <a:gd name="connsiteY2" fmla="*/ 914400 h 914400"/>
              <a:gd name="connsiteX3" fmla="*/ 0 w 12192000"/>
              <a:gd name="connsiteY3" fmla="*/ 914400 h 914400"/>
              <a:gd name="connsiteX4" fmla="*/ 0 w 12192000"/>
              <a:gd name="connsiteY4" fmla="*/ 0 h 914400"/>
              <a:gd name="connsiteX0" fmla="*/ 0 w 12228095"/>
              <a:gd name="connsiteY0" fmla="*/ 457200 h 914400"/>
              <a:gd name="connsiteX1" fmla="*/ 12228095 w 12228095"/>
              <a:gd name="connsiteY1" fmla="*/ 0 h 914400"/>
              <a:gd name="connsiteX2" fmla="*/ 12228095 w 12228095"/>
              <a:gd name="connsiteY2" fmla="*/ 914400 h 914400"/>
              <a:gd name="connsiteX3" fmla="*/ 36095 w 12228095"/>
              <a:gd name="connsiteY3" fmla="*/ 914400 h 914400"/>
              <a:gd name="connsiteX4" fmla="*/ 0 w 12228095"/>
              <a:gd name="connsiteY4" fmla="*/ 457200 h 914400"/>
              <a:gd name="connsiteX0" fmla="*/ 11652 w 12239747"/>
              <a:gd name="connsiteY0" fmla="*/ 457200 h 938212"/>
              <a:gd name="connsiteX1" fmla="*/ 12239747 w 12239747"/>
              <a:gd name="connsiteY1" fmla="*/ 0 h 938212"/>
              <a:gd name="connsiteX2" fmla="*/ 12239747 w 12239747"/>
              <a:gd name="connsiteY2" fmla="*/ 914400 h 938212"/>
              <a:gd name="connsiteX3" fmla="*/ 0 w 12239747"/>
              <a:gd name="connsiteY3" fmla="*/ 938212 h 938212"/>
              <a:gd name="connsiteX4" fmla="*/ 11652 w 12239747"/>
              <a:gd name="connsiteY4" fmla="*/ 457200 h 938212"/>
              <a:gd name="connsiteX0" fmla="*/ 0 w 12251968"/>
              <a:gd name="connsiteY0" fmla="*/ 438150 h 938212"/>
              <a:gd name="connsiteX1" fmla="*/ 12251968 w 12251968"/>
              <a:gd name="connsiteY1" fmla="*/ 0 h 938212"/>
              <a:gd name="connsiteX2" fmla="*/ 12251968 w 12251968"/>
              <a:gd name="connsiteY2" fmla="*/ 914400 h 938212"/>
              <a:gd name="connsiteX3" fmla="*/ 12221 w 12251968"/>
              <a:gd name="connsiteY3" fmla="*/ 938212 h 938212"/>
              <a:gd name="connsiteX4" fmla="*/ 0 w 12251968"/>
              <a:gd name="connsiteY4" fmla="*/ 438150 h 938212"/>
              <a:gd name="connsiteX0" fmla="*/ 0 w 12275842"/>
              <a:gd name="connsiteY0" fmla="*/ 438150 h 938212"/>
              <a:gd name="connsiteX1" fmla="*/ 12275842 w 12275842"/>
              <a:gd name="connsiteY1" fmla="*/ 0 h 938212"/>
              <a:gd name="connsiteX2" fmla="*/ 12275842 w 12275842"/>
              <a:gd name="connsiteY2" fmla="*/ 914400 h 938212"/>
              <a:gd name="connsiteX3" fmla="*/ 36095 w 12275842"/>
              <a:gd name="connsiteY3" fmla="*/ 938212 h 938212"/>
              <a:gd name="connsiteX4" fmla="*/ 0 w 12275842"/>
              <a:gd name="connsiteY4" fmla="*/ 438150 h 938212"/>
              <a:gd name="connsiteX0" fmla="*/ 11652 w 12239747"/>
              <a:gd name="connsiteY0" fmla="*/ 438150 h 938212"/>
              <a:gd name="connsiteX1" fmla="*/ 12239747 w 12239747"/>
              <a:gd name="connsiteY1" fmla="*/ 0 h 938212"/>
              <a:gd name="connsiteX2" fmla="*/ 12239747 w 12239747"/>
              <a:gd name="connsiteY2" fmla="*/ 914400 h 938212"/>
              <a:gd name="connsiteX3" fmla="*/ 0 w 12239747"/>
              <a:gd name="connsiteY3" fmla="*/ 938212 h 938212"/>
              <a:gd name="connsiteX4" fmla="*/ 11652 w 12239747"/>
              <a:gd name="connsiteY4" fmla="*/ 438150 h 938212"/>
              <a:gd name="connsiteX0" fmla="*/ 11652 w 12239747"/>
              <a:gd name="connsiteY0" fmla="*/ 438150 h 938212"/>
              <a:gd name="connsiteX1" fmla="*/ 12239747 w 12239747"/>
              <a:gd name="connsiteY1" fmla="*/ 0 h 938212"/>
              <a:gd name="connsiteX2" fmla="*/ 12239747 w 12239747"/>
              <a:gd name="connsiteY2" fmla="*/ 914400 h 938212"/>
              <a:gd name="connsiteX3" fmla="*/ 0 w 12239747"/>
              <a:gd name="connsiteY3" fmla="*/ 938212 h 938212"/>
              <a:gd name="connsiteX4" fmla="*/ 11652 w 12239747"/>
              <a:gd name="connsiteY4" fmla="*/ 438150 h 938212"/>
              <a:gd name="connsiteX0" fmla="*/ 0 w 12244968"/>
              <a:gd name="connsiteY0" fmla="*/ 421321 h 938212"/>
              <a:gd name="connsiteX1" fmla="*/ 12244968 w 12244968"/>
              <a:gd name="connsiteY1" fmla="*/ 0 h 938212"/>
              <a:gd name="connsiteX2" fmla="*/ 12244968 w 12244968"/>
              <a:gd name="connsiteY2" fmla="*/ 914400 h 938212"/>
              <a:gd name="connsiteX3" fmla="*/ 5221 w 12244968"/>
              <a:gd name="connsiteY3" fmla="*/ 938212 h 938212"/>
              <a:gd name="connsiteX4" fmla="*/ 0 w 12244968"/>
              <a:gd name="connsiteY4" fmla="*/ 421321 h 938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44968" h="938212">
                <a:moveTo>
                  <a:pt x="0" y="421321"/>
                </a:moveTo>
                <a:lnTo>
                  <a:pt x="12244968" y="0"/>
                </a:lnTo>
                <a:lnTo>
                  <a:pt x="12244968" y="914400"/>
                </a:lnTo>
                <a:lnTo>
                  <a:pt x="5221" y="938212"/>
                </a:lnTo>
                <a:cubicBezTo>
                  <a:pt x="3481" y="765915"/>
                  <a:pt x="1740" y="593618"/>
                  <a:pt x="0" y="421321"/>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29"/>
          </a:p>
        </p:txBody>
      </p:sp>
      <p:cxnSp>
        <p:nvCxnSpPr>
          <p:cNvPr id="8" name="Straight Connector 7">
            <a:extLst>
              <a:ext uri="{FF2B5EF4-FFF2-40B4-BE49-F238E27FC236}">
                <a16:creationId xmlns:a16="http://schemas.microsoft.com/office/drawing/2014/main" id="{A109EA94-D4C0-489D-B11F-AAF2C1D27B88}"/>
              </a:ext>
              <a:ext uri="{C183D7F6-B498-43B3-948B-1728B52AA6E4}">
                <adec:decorative xmlns:adec="http://schemas.microsoft.com/office/drawing/2017/decorative" val="1"/>
              </a:ext>
            </a:extLst>
          </p:cNvPr>
          <p:cNvCxnSpPr>
            <a:cxnSpLocks/>
            <a:stCxn id="3" idx="1"/>
            <a:endCxn id="3" idx="0"/>
          </p:cNvCxnSpPr>
          <p:nvPr userDrawn="1"/>
        </p:nvCxnSpPr>
        <p:spPr>
          <a:xfrm flipH="1">
            <a:off x="-5737" y="6551722"/>
            <a:ext cx="13463578" cy="464429"/>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26DC72DD-030A-4AF2-8123-478BE9277165}"/>
              </a:ext>
              <a:ext uri="{C183D7F6-B498-43B3-948B-1728B52AA6E4}">
                <adec:decorative xmlns:adec="http://schemas.microsoft.com/office/drawing/2017/decorative" val="1"/>
              </a:ext>
            </a:extLst>
          </p:cNvPr>
          <p:cNvCxnSpPr/>
          <p:nvPr userDrawn="1"/>
        </p:nvCxnSpPr>
        <p:spPr>
          <a:xfrm>
            <a:off x="1801688" y="3239891"/>
            <a:ext cx="2015968" cy="0"/>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5D71F1BF-0652-4581-AC74-7A608C1A0290}"/>
              </a:ext>
              <a:ext uri="{C183D7F6-B498-43B3-948B-1728B52AA6E4}">
                <adec:decorative xmlns:adec="http://schemas.microsoft.com/office/drawing/2017/decorative" val="1"/>
              </a:ext>
            </a:extLst>
          </p:cNvPr>
          <p:cNvCxnSpPr>
            <a:cxnSpLocks/>
          </p:cNvCxnSpPr>
          <p:nvPr userDrawn="1"/>
        </p:nvCxnSpPr>
        <p:spPr>
          <a:xfrm>
            <a:off x="4255119" y="3226886"/>
            <a:ext cx="2015968" cy="0"/>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AF8D050-0D5E-490F-98C5-C491541E54D2}"/>
              </a:ext>
              <a:ext uri="{C183D7F6-B498-43B3-948B-1728B52AA6E4}">
                <adec:decorative xmlns:adec="http://schemas.microsoft.com/office/drawing/2017/decorative" val="1"/>
              </a:ext>
            </a:extLst>
          </p:cNvPr>
          <p:cNvCxnSpPr>
            <a:cxnSpLocks/>
          </p:cNvCxnSpPr>
          <p:nvPr userDrawn="1"/>
        </p:nvCxnSpPr>
        <p:spPr>
          <a:xfrm>
            <a:off x="1753055" y="5816003"/>
            <a:ext cx="2015968" cy="0"/>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sp>
        <p:nvSpPr>
          <p:cNvPr id="4" name="Date Placeholder 3">
            <a:extLst>
              <a:ext uri="{FF2B5EF4-FFF2-40B4-BE49-F238E27FC236}">
                <a16:creationId xmlns:a16="http://schemas.microsoft.com/office/drawing/2014/main" id="{3EDAC16E-5725-4AC1-AB85-871F25D26688}"/>
              </a:ext>
            </a:extLst>
          </p:cNvPr>
          <p:cNvSpPr>
            <a:spLocks noGrp="1"/>
          </p:cNvSpPr>
          <p:nvPr>
            <p:ph type="dt" sz="half" idx="10"/>
          </p:nvPr>
        </p:nvSpPr>
        <p:spPr>
          <a:xfrm>
            <a:off x="923988" y="7006701"/>
            <a:ext cx="3023949" cy="402484"/>
          </a:xfrm>
          <a:prstGeom prst="rect">
            <a:avLst/>
          </a:prstGeom>
        </p:spPr>
        <p:txBody>
          <a:bodyPr/>
          <a:lstStyle/>
          <a:p>
            <a:endParaRPr lang="en-US"/>
          </a:p>
        </p:txBody>
      </p:sp>
      <p:sp>
        <p:nvSpPr>
          <p:cNvPr id="5" name="Footer Placeholder 4">
            <a:extLst>
              <a:ext uri="{FF2B5EF4-FFF2-40B4-BE49-F238E27FC236}">
                <a16:creationId xmlns:a16="http://schemas.microsoft.com/office/drawing/2014/main" id="{FD10B5D8-71E9-48DC-A04C-559359603CB0}"/>
              </a:ext>
            </a:extLst>
          </p:cNvPr>
          <p:cNvSpPr>
            <a:spLocks noGrp="1"/>
          </p:cNvSpPr>
          <p:nvPr>
            <p:ph type="ftr" sz="quarter" idx="11"/>
          </p:nvPr>
        </p:nvSpPr>
        <p:spPr>
          <a:xfrm>
            <a:off x="4451927" y="7006701"/>
            <a:ext cx="4535925" cy="402484"/>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A0FDD81F-9379-48E6-9B14-83486F920A39}"/>
              </a:ext>
            </a:extLst>
          </p:cNvPr>
          <p:cNvSpPr>
            <a:spLocks noGrp="1"/>
          </p:cNvSpPr>
          <p:nvPr>
            <p:ph type="sldNum" sz="quarter" idx="12"/>
          </p:nvPr>
        </p:nvSpPr>
        <p:spPr>
          <a:xfrm>
            <a:off x="9491845" y="7006701"/>
            <a:ext cx="3023949" cy="402484"/>
          </a:xfrm>
          <a:prstGeom prst="rect">
            <a:avLst/>
          </a:prstGeom>
        </p:spPr>
        <p:txBody>
          <a:bodyPr/>
          <a:lstStyle/>
          <a:p>
            <a:fld id="{B5CEABB6-07DC-46E8-9B57-56EC44A396E5}" type="slidenum">
              <a:rPr lang="en-US" smtClean="0"/>
              <a:t>‹№›</a:t>
            </a:fld>
            <a:endParaRPr lang="en-US"/>
          </a:p>
        </p:txBody>
      </p:sp>
      <p:sp>
        <p:nvSpPr>
          <p:cNvPr id="7" name="Content Placeholder 12">
            <a:extLst>
              <a:ext uri="{FF2B5EF4-FFF2-40B4-BE49-F238E27FC236}">
                <a16:creationId xmlns:a16="http://schemas.microsoft.com/office/drawing/2014/main" id="{B2296C46-2D5E-60E2-0C5E-3E8777908287}"/>
              </a:ext>
            </a:extLst>
          </p:cNvPr>
          <p:cNvSpPr>
            <a:spLocks noGrp="1"/>
          </p:cNvSpPr>
          <p:nvPr>
            <p:ph sz="quarter" idx="38" hasCustomPrompt="1"/>
          </p:nvPr>
        </p:nvSpPr>
        <p:spPr>
          <a:xfrm>
            <a:off x="4266179" y="4148088"/>
            <a:ext cx="2015968" cy="1451458"/>
          </a:xfrm>
          <a:prstGeom prst="rect">
            <a:avLst/>
          </a:prstGeom>
        </p:spPr>
        <p:txBody>
          <a:bodyPr>
            <a:normAutofit/>
          </a:bodyPr>
          <a:lstStyle>
            <a:lvl1pPr marL="0" indent="0" algn="ctr">
              <a:buNone/>
              <a:defRPr sz="1328"/>
            </a:lvl1pPr>
            <a:lvl2pPr marL="504031" indent="0">
              <a:buNone/>
              <a:defRPr sz="1547"/>
            </a:lvl2pPr>
            <a:lvl3pPr marL="1008063" indent="0">
              <a:buNone/>
              <a:defRPr sz="1547"/>
            </a:lvl3pPr>
            <a:lvl4pPr marL="1512094" indent="0">
              <a:buNone/>
              <a:defRPr sz="1547"/>
            </a:lvl4pPr>
            <a:lvl5pPr marL="2016127" indent="0">
              <a:buNone/>
              <a:defRPr sz="1547"/>
            </a:lvl5pPr>
          </a:lstStyle>
          <a:p>
            <a:pPr lvl="0"/>
            <a:r>
              <a:rPr lang="en-US"/>
              <a:t>Click to add content</a:t>
            </a:r>
          </a:p>
        </p:txBody>
      </p:sp>
      <p:sp>
        <p:nvSpPr>
          <p:cNvPr id="9" name="Text Placeholder 8">
            <a:extLst>
              <a:ext uri="{FF2B5EF4-FFF2-40B4-BE49-F238E27FC236}">
                <a16:creationId xmlns:a16="http://schemas.microsoft.com/office/drawing/2014/main" id="{188921FC-F072-8C8D-6CDF-FDE5B081A742}"/>
              </a:ext>
            </a:extLst>
          </p:cNvPr>
          <p:cNvSpPr>
            <a:spLocks noGrp="1"/>
          </p:cNvSpPr>
          <p:nvPr>
            <p:ph type="body" sz="quarter" idx="39" hasCustomPrompt="1"/>
          </p:nvPr>
        </p:nvSpPr>
        <p:spPr>
          <a:xfrm>
            <a:off x="4105624" y="6153669"/>
            <a:ext cx="2318361" cy="396833"/>
          </a:xfrm>
          <a:prstGeom prst="rect">
            <a:avLst/>
          </a:prstGeom>
        </p:spPr>
        <p:txBody>
          <a:bodyPr anchor="ctr" anchorCtr="0">
            <a:noAutofit/>
          </a:bodyPr>
          <a:lstStyle>
            <a:lvl1pPr marL="0" indent="0" algn="ctr">
              <a:buFont typeface="Arial" panose="020B0604020202020204" pitchFamily="34" charset="0"/>
              <a:buNone/>
              <a:defRPr sz="1989" cap="all" baseline="0">
                <a:solidFill>
                  <a:schemeClr val="bg1">
                    <a:lumMod val="50000"/>
                  </a:schemeClr>
                </a:solidFill>
                <a:latin typeface="+mj-lt"/>
              </a:defRPr>
            </a:lvl1pPr>
          </a:lstStyle>
          <a:p>
            <a:pPr lvl="0"/>
            <a:r>
              <a:rPr lang="en-US"/>
              <a:t>add text here</a:t>
            </a:r>
          </a:p>
        </p:txBody>
      </p:sp>
      <p:cxnSp>
        <p:nvCxnSpPr>
          <p:cNvPr id="18" name="Straight Connector 17">
            <a:extLst>
              <a:ext uri="{FF2B5EF4-FFF2-40B4-BE49-F238E27FC236}">
                <a16:creationId xmlns:a16="http://schemas.microsoft.com/office/drawing/2014/main" id="{8074C830-FB96-58FF-C02B-BAD69F7978BD}"/>
              </a:ext>
              <a:ext uri="{C183D7F6-B498-43B3-948B-1728B52AA6E4}">
                <adec:decorative xmlns:adec="http://schemas.microsoft.com/office/drawing/2017/decorative" val="1"/>
              </a:ext>
            </a:extLst>
          </p:cNvPr>
          <p:cNvCxnSpPr>
            <a:cxnSpLocks/>
          </p:cNvCxnSpPr>
          <p:nvPr userDrawn="1"/>
        </p:nvCxnSpPr>
        <p:spPr>
          <a:xfrm>
            <a:off x="4227267" y="5814782"/>
            <a:ext cx="2015968" cy="0"/>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sp>
        <p:nvSpPr>
          <p:cNvPr id="28" name="Content Placeholder 12">
            <a:extLst>
              <a:ext uri="{FF2B5EF4-FFF2-40B4-BE49-F238E27FC236}">
                <a16:creationId xmlns:a16="http://schemas.microsoft.com/office/drawing/2014/main" id="{A4987EB3-A8A2-4C03-B5C8-BF9EC986D698}"/>
              </a:ext>
            </a:extLst>
          </p:cNvPr>
          <p:cNvSpPr>
            <a:spLocks noGrp="1"/>
          </p:cNvSpPr>
          <p:nvPr>
            <p:ph sz="quarter" idx="40" hasCustomPrompt="1"/>
          </p:nvPr>
        </p:nvSpPr>
        <p:spPr>
          <a:xfrm>
            <a:off x="6784973" y="1570460"/>
            <a:ext cx="2015968" cy="1450237"/>
          </a:xfrm>
          <a:prstGeom prst="rect">
            <a:avLst/>
          </a:prstGeom>
        </p:spPr>
        <p:txBody>
          <a:bodyPr>
            <a:normAutofit/>
          </a:bodyPr>
          <a:lstStyle>
            <a:lvl1pPr marL="0" indent="0" algn="ctr">
              <a:buNone/>
              <a:defRPr sz="1328"/>
            </a:lvl1pPr>
            <a:lvl2pPr marL="504031" indent="0">
              <a:buNone/>
              <a:defRPr sz="1547"/>
            </a:lvl2pPr>
            <a:lvl3pPr marL="1008063" indent="0">
              <a:buNone/>
              <a:defRPr sz="1547"/>
            </a:lvl3pPr>
            <a:lvl4pPr marL="1512094" indent="0">
              <a:buNone/>
              <a:defRPr sz="1547"/>
            </a:lvl4pPr>
            <a:lvl5pPr marL="2016127" indent="0">
              <a:buNone/>
              <a:defRPr sz="1547"/>
            </a:lvl5pPr>
          </a:lstStyle>
          <a:p>
            <a:pPr lvl="0"/>
            <a:r>
              <a:rPr lang="en-US"/>
              <a:t>Click to add content</a:t>
            </a:r>
          </a:p>
        </p:txBody>
      </p:sp>
      <p:sp>
        <p:nvSpPr>
          <p:cNvPr id="29" name="Text Placeholder 8">
            <a:extLst>
              <a:ext uri="{FF2B5EF4-FFF2-40B4-BE49-F238E27FC236}">
                <a16:creationId xmlns:a16="http://schemas.microsoft.com/office/drawing/2014/main" id="{50FF3314-828D-74E3-D28E-563FE3A2691E}"/>
              </a:ext>
            </a:extLst>
          </p:cNvPr>
          <p:cNvSpPr>
            <a:spLocks noGrp="1"/>
          </p:cNvSpPr>
          <p:nvPr>
            <p:ph type="body" sz="quarter" idx="41" hasCustomPrompt="1"/>
          </p:nvPr>
        </p:nvSpPr>
        <p:spPr>
          <a:xfrm>
            <a:off x="6631254" y="3573527"/>
            <a:ext cx="2318361" cy="396833"/>
          </a:xfrm>
          <a:prstGeom prst="rect">
            <a:avLst/>
          </a:prstGeom>
        </p:spPr>
        <p:txBody>
          <a:bodyPr anchor="ctr" anchorCtr="0">
            <a:noAutofit/>
          </a:bodyPr>
          <a:lstStyle>
            <a:lvl1pPr marL="0" indent="0" algn="ctr">
              <a:buFont typeface="Arial" panose="020B0604020202020204" pitchFamily="34" charset="0"/>
              <a:buNone/>
              <a:defRPr sz="1989" cap="all" baseline="0">
                <a:solidFill>
                  <a:schemeClr val="bg1">
                    <a:lumMod val="50000"/>
                  </a:schemeClr>
                </a:solidFill>
                <a:latin typeface="+mj-lt"/>
              </a:defRPr>
            </a:lvl1pPr>
          </a:lstStyle>
          <a:p>
            <a:pPr lvl="0"/>
            <a:r>
              <a:rPr lang="en-US"/>
              <a:t>add text here</a:t>
            </a:r>
          </a:p>
        </p:txBody>
      </p:sp>
      <p:sp>
        <p:nvSpPr>
          <p:cNvPr id="30" name="Content Placeholder 12">
            <a:extLst>
              <a:ext uri="{FF2B5EF4-FFF2-40B4-BE49-F238E27FC236}">
                <a16:creationId xmlns:a16="http://schemas.microsoft.com/office/drawing/2014/main" id="{7E421DCB-D10A-DF41-6BEA-91899D68DFD8}"/>
              </a:ext>
            </a:extLst>
          </p:cNvPr>
          <p:cNvSpPr>
            <a:spLocks noGrp="1"/>
          </p:cNvSpPr>
          <p:nvPr>
            <p:ph sz="quarter" idx="42" hasCustomPrompt="1"/>
          </p:nvPr>
        </p:nvSpPr>
        <p:spPr>
          <a:xfrm>
            <a:off x="9263737" y="1570459"/>
            <a:ext cx="2015968" cy="1451458"/>
          </a:xfrm>
          <a:prstGeom prst="rect">
            <a:avLst/>
          </a:prstGeom>
        </p:spPr>
        <p:txBody>
          <a:bodyPr>
            <a:normAutofit/>
          </a:bodyPr>
          <a:lstStyle>
            <a:lvl1pPr marL="0" indent="0" algn="ctr">
              <a:buNone/>
              <a:defRPr sz="1328"/>
            </a:lvl1pPr>
            <a:lvl2pPr marL="504031" indent="0">
              <a:buNone/>
              <a:defRPr sz="1547"/>
            </a:lvl2pPr>
            <a:lvl3pPr marL="1008063" indent="0">
              <a:buNone/>
              <a:defRPr sz="1547"/>
            </a:lvl3pPr>
            <a:lvl4pPr marL="1512094" indent="0">
              <a:buNone/>
              <a:defRPr sz="1547"/>
            </a:lvl4pPr>
            <a:lvl5pPr marL="2016127" indent="0">
              <a:buNone/>
              <a:defRPr sz="1547"/>
            </a:lvl5pPr>
          </a:lstStyle>
          <a:p>
            <a:pPr lvl="0"/>
            <a:r>
              <a:rPr lang="en-US"/>
              <a:t>Click to add content</a:t>
            </a:r>
          </a:p>
        </p:txBody>
      </p:sp>
      <p:sp>
        <p:nvSpPr>
          <p:cNvPr id="31" name="Text Placeholder 8">
            <a:extLst>
              <a:ext uri="{FF2B5EF4-FFF2-40B4-BE49-F238E27FC236}">
                <a16:creationId xmlns:a16="http://schemas.microsoft.com/office/drawing/2014/main" id="{8EB8849B-5163-E342-D6A7-8B239C701D62}"/>
              </a:ext>
            </a:extLst>
          </p:cNvPr>
          <p:cNvSpPr>
            <a:spLocks noGrp="1"/>
          </p:cNvSpPr>
          <p:nvPr>
            <p:ph type="body" sz="quarter" idx="43" hasCustomPrompt="1"/>
          </p:nvPr>
        </p:nvSpPr>
        <p:spPr>
          <a:xfrm>
            <a:off x="9113685" y="3571023"/>
            <a:ext cx="2318361" cy="396833"/>
          </a:xfrm>
          <a:prstGeom prst="rect">
            <a:avLst/>
          </a:prstGeom>
        </p:spPr>
        <p:txBody>
          <a:bodyPr anchor="ctr" anchorCtr="0">
            <a:noAutofit/>
          </a:bodyPr>
          <a:lstStyle>
            <a:lvl1pPr marL="0" indent="0" algn="ctr">
              <a:buFont typeface="Arial" panose="020B0604020202020204" pitchFamily="34" charset="0"/>
              <a:buNone/>
              <a:defRPr sz="1989" cap="all" baseline="0">
                <a:solidFill>
                  <a:schemeClr val="bg1">
                    <a:lumMod val="50000"/>
                  </a:schemeClr>
                </a:solidFill>
                <a:latin typeface="+mj-lt"/>
              </a:defRPr>
            </a:lvl1pPr>
          </a:lstStyle>
          <a:p>
            <a:pPr lvl="0"/>
            <a:r>
              <a:rPr lang="en-US"/>
              <a:t>add text here</a:t>
            </a:r>
          </a:p>
        </p:txBody>
      </p:sp>
      <p:sp>
        <p:nvSpPr>
          <p:cNvPr id="32" name="Content Placeholder 12">
            <a:extLst>
              <a:ext uri="{FF2B5EF4-FFF2-40B4-BE49-F238E27FC236}">
                <a16:creationId xmlns:a16="http://schemas.microsoft.com/office/drawing/2014/main" id="{D1F110AC-06A1-717E-818B-E826FC2DDBD0}"/>
              </a:ext>
            </a:extLst>
          </p:cNvPr>
          <p:cNvSpPr>
            <a:spLocks noGrp="1"/>
          </p:cNvSpPr>
          <p:nvPr>
            <p:ph sz="quarter" idx="44" hasCustomPrompt="1"/>
          </p:nvPr>
        </p:nvSpPr>
        <p:spPr>
          <a:xfrm>
            <a:off x="6800029" y="4149307"/>
            <a:ext cx="2015968" cy="1451458"/>
          </a:xfrm>
          <a:prstGeom prst="rect">
            <a:avLst/>
          </a:prstGeom>
        </p:spPr>
        <p:txBody>
          <a:bodyPr>
            <a:normAutofit/>
          </a:bodyPr>
          <a:lstStyle>
            <a:lvl1pPr marL="0" indent="0" algn="ctr">
              <a:buNone/>
              <a:defRPr sz="1328"/>
            </a:lvl1pPr>
            <a:lvl2pPr marL="504031" indent="0">
              <a:buNone/>
              <a:defRPr sz="1547"/>
            </a:lvl2pPr>
            <a:lvl3pPr marL="1008063" indent="0">
              <a:buNone/>
              <a:defRPr sz="1547"/>
            </a:lvl3pPr>
            <a:lvl4pPr marL="1512094" indent="0">
              <a:buNone/>
              <a:defRPr sz="1547"/>
            </a:lvl4pPr>
            <a:lvl5pPr marL="2016127" indent="0">
              <a:buNone/>
              <a:defRPr sz="1547"/>
            </a:lvl5pPr>
          </a:lstStyle>
          <a:p>
            <a:pPr lvl="0"/>
            <a:r>
              <a:rPr lang="en-US"/>
              <a:t>Click to add content</a:t>
            </a:r>
          </a:p>
        </p:txBody>
      </p:sp>
      <p:sp>
        <p:nvSpPr>
          <p:cNvPr id="33" name="Text Placeholder 8">
            <a:extLst>
              <a:ext uri="{FF2B5EF4-FFF2-40B4-BE49-F238E27FC236}">
                <a16:creationId xmlns:a16="http://schemas.microsoft.com/office/drawing/2014/main" id="{5FB998E7-6BCF-8BFB-8E10-7FEEA0C4F57C}"/>
              </a:ext>
            </a:extLst>
          </p:cNvPr>
          <p:cNvSpPr>
            <a:spLocks noGrp="1"/>
          </p:cNvSpPr>
          <p:nvPr>
            <p:ph type="body" sz="quarter" idx="45" hasCustomPrompt="1"/>
          </p:nvPr>
        </p:nvSpPr>
        <p:spPr>
          <a:xfrm>
            <a:off x="6639473" y="6154890"/>
            <a:ext cx="2318361" cy="396833"/>
          </a:xfrm>
          <a:prstGeom prst="rect">
            <a:avLst/>
          </a:prstGeom>
        </p:spPr>
        <p:txBody>
          <a:bodyPr anchor="ctr" anchorCtr="0">
            <a:noAutofit/>
          </a:bodyPr>
          <a:lstStyle>
            <a:lvl1pPr marL="0" indent="0" algn="ctr">
              <a:buFont typeface="Arial" panose="020B0604020202020204" pitchFamily="34" charset="0"/>
              <a:buNone/>
              <a:defRPr sz="1989" cap="all" baseline="0">
                <a:solidFill>
                  <a:schemeClr val="bg1">
                    <a:lumMod val="50000"/>
                  </a:schemeClr>
                </a:solidFill>
                <a:latin typeface="+mj-lt"/>
              </a:defRPr>
            </a:lvl1pPr>
          </a:lstStyle>
          <a:p>
            <a:pPr lvl="0"/>
            <a:r>
              <a:rPr lang="en-US"/>
              <a:t>add text here</a:t>
            </a:r>
          </a:p>
        </p:txBody>
      </p:sp>
      <p:cxnSp>
        <p:nvCxnSpPr>
          <p:cNvPr id="34" name="Straight Connector 33">
            <a:extLst>
              <a:ext uri="{FF2B5EF4-FFF2-40B4-BE49-F238E27FC236}">
                <a16:creationId xmlns:a16="http://schemas.microsoft.com/office/drawing/2014/main" id="{B886F129-36E2-6D09-E138-D6B964BE59A8}"/>
              </a:ext>
              <a:ext uri="{C183D7F6-B498-43B3-948B-1728B52AA6E4}">
                <adec:decorative xmlns:adec="http://schemas.microsoft.com/office/drawing/2017/decorative" val="1"/>
              </a:ext>
            </a:extLst>
          </p:cNvPr>
          <p:cNvCxnSpPr/>
          <p:nvPr userDrawn="1"/>
        </p:nvCxnSpPr>
        <p:spPr>
          <a:xfrm>
            <a:off x="6809751" y="3239891"/>
            <a:ext cx="2015968" cy="0"/>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599FDBC3-E0D5-116A-E8E3-524AA320FB1F}"/>
              </a:ext>
              <a:ext uri="{C183D7F6-B498-43B3-948B-1728B52AA6E4}">
                <adec:decorative xmlns:adec="http://schemas.microsoft.com/office/drawing/2017/decorative" val="1"/>
              </a:ext>
            </a:extLst>
          </p:cNvPr>
          <p:cNvCxnSpPr>
            <a:cxnSpLocks/>
          </p:cNvCxnSpPr>
          <p:nvPr userDrawn="1"/>
        </p:nvCxnSpPr>
        <p:spPr>
          <a:xfrm>
            <a:off x="9263179" y="3226886"/>
            <a:ext cx="2015968" cy="0"/>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E76B8384-DAE5-F9F1-F48B-09FBD79302C8}"/>
              </a:ext>
              <a:ext uri="{C183D7F6-B498-43B3-948B-1728B52AA6E4}">
                <adec:decorative xmlns:adec="http://schemas.microsoft.com/office/drawing/2017/decorative" val="1"/>
              </a:ext>
            </a:extLst>
          </p:cNvPr>
          <p:cNvCxnSpPr>
            <a:cxnSpLocks/>
          </p:cNvCxnSpPr>
          <p:nvPr userDrawn="1"/>
        </p:nvCxnSpPr>
        <p:spPr>
          <a:xfrm>
            <a:off x="6761118" y="5816003"/>
            <a:ext cx="2015968" cy="0"/>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sp>
        <p:nvSpPr>
          <p:cNvPr id="37" name="Content Placeholder 12">
            <a:extLst>
              <a:ext uri="{FF2B5EF4-FFF2-40B4-BE49-F238E27FC236}">
                <a16:creationId xmlns:a16="http://schemas.microsoft.com/office/drawing/2014/main" id="{0B6B35F1-9F40-1B40-464B-DD07CACFD0CD}"/>
              </a:ext>
            </a:extLst>
          </p:cNvPr>
          <p:cNvSpPr>
            <a:spLocks noGrp="1"/>
          </p:cNvSpPr>
          <p:nvPr>
            <p:ph sz="quarter" idx="46" hasCustomPrompt="1"/>
          </p:nvPr>
        </p:nvSpPr>
        <p:spPr>
          <a:xfrm>
            <a:off x="9274236" y="4148088"/>
            <a:ext cx="2015968" cy="1451458"/>
          </a:xfrm>
          <a:prstGeom prst="rect">
            <a:avLst/>
          </a:prstGeom>
        </p:spPr>
        <p:txBody>
          <a:bodyPr>
            <a:normAutofit/>
          </a:bodyPr>
          <a:lstStyle>
            <a:lvl1pPr marL="0" indent="0" algn="ctr">
              <a:buNone/>
              <a:defRPr sz="1328"/>
            </a:lvl1pPr>
            <a:lvl2pPr marL="504031" indent="0">
              <a:buNone/>
              <a:defRPr sz="1547"/>
            </a:lvl2pPr>
            <a:lvl3pPr marL="1008063" indent="0">
              <a:buNone/>
              <a:defRPr sz="1547"/>
            </a:lvl3pPr>
            <a:lvl4pPr marL="1512094" indent="0">
              <a:buNone/>
              <a:defRPr sz="1547"/>
            </a:lvl4pPr>
            <a:lvl5pPr marL="2016127" indent="0">
              <a:buNone/>
              <a:defRPr sz="1547"/>
            </a:lvl5pPr>
          </a:lstStyle>
          <a:p>
            <a:pPr lvl="0"/>
            <a:r>
              <a:rPr lang="en-US"/>
              <a:t>Click to add content</a:t>
            </a:r>
          </a:p>
        </p:txBody>
      </p:sp>
      <p:sp>
        <p:nvSpPr>
          <p:cNvPr id="38" name="Text Placeholder 8">
            <a:extLst>
              <a:ext uri="{FF2B5EF4-FFF2-40B4-BE49-F238E27FC236}">
                <a16:creationId xmlns:a16="http://schemas.microsoft.com/office/drawing/2014/main" id="{21D6BE0E-D00E-91E4-4AC5-7D1C925C671B}"/>
              </a:ext>
            </a:extLst>
          </p:cNvPr>
          <p:cNvSpPr>
            <a:spLocks noGrp="1"/>
          </p:cNvSpPr>
          <p:nvPr>
            <p:ph type="body" sz="quarter" idx="47" hasCustomPrompt="1"/>
          </p:nvPr>
        </p:nvSpPr>
        <p:spPr>
          <a:xfrm>
            <a:off x="9113685" y="6153669"/>
            <a:ext cx="2318361" cy="396833"/>
          </a:xfrm>
          <a:prstGeom prst="rect">
            <a:avLst/>
          </a:prstGeom>
        </p:spPr>
        <p:txBody>
          <a:bodyPr anchor="ctr" anchorCtr="0">
            <a:noAutofit/>
          </a:bodyPr>
          <a:lstStyle>
            <a:lvl1pPr marL="0" indent="0" algn="ctr">
              <a:buFont typeface="Arial" panose="020B0604020202020204" pitchFamily="34" charset="0"/>
              <a:buNone/>
              <a:defRPr sz="1989" cap="all" baseline="0">
                <a:solidFill>
                  <a:schemeClr val="bg1">
                    <a:lumMod val="50000"/>
                  </a:schemeClr>
                </a:solidFill>
                <a:latin typeface="+mj-lt"/>
              </a:defRPr>
            </a:lvl1pPr>
          </a:lstStyle>
          <a:p>
            <a:pPr lvl="0"/>
            <a:r>
              <a:rPr lang="en-US"/>
              <a:t>add text here</a:t>
            </a:r>
          </a:p>
        </p:txBody>
      </p:sp>
      <p:cxnSp>
        <p:nvCxnSpPr>
          <p:cNvPr id="39" name="Straight Connector 38">
            <a:extLst>
              <a:ext uri="{FF2B5EF4-FFF2-40B4-BE49-F238E27FC236}">
                <a16:creationId xmlns:a16="http://schemas.microsoft.com/office/drawing/2014/main" id="{43624E25-F2DC-BF9B-47B6-1E56CA325907}"/>
              </a:ext>
              <a:ext uri="{C183D7F6-B498-43B3-948B-1728B52AA6E4}">
                <adec:decorative xmlns:adec="http://schemas.microsoft.com/office/drawing/2017/decorative" val="1"/>
              </a:ext>
            </a:extLst>
          </p:cNvPr>
          <p:cNvCxnSpPr>
            <a:cxnSpLocks/>
          </p:cNvCxnSpPr>
          <p:nvPr userDrawn="1"/>
        </p:nvCxnSpPr>
        <p:spPr>
          <a:xfrm>
            <a:off x="9235327" y="5814782"/>
            <a:ext cx="2015968" cy="0"/>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5707122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1_Business Mode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AE12D1-08AF-45E9-A34A-BDE9E860BAA2}"/>
              </a:ext>
            </a:extLst>
          </p:cNvPr>
          <p:cNvSpPr>
            <a:spLocks noGrp="1"/>
          </p:cNvSpPr>
          <p:nvPr>
            <p:ph type="title" hasCustomPrompt="1"/>
          </p:nvPr>
        </p:nvSpPr>
        <p:spPr>
          <a:xfrm>
            <a:off x="923985" y="402486"/>
            <a:ext cx="11591806" cy="945366"/>
          </a:xfrm>
          <a:prstGeom prst="rect">
            <a:avLst/>
          </a:prstGeom>
        </p:spPr>
        <p:txBody>
          <a:bodyPr/>
          <a:lstStyle>
            <a:lvl1pPr algn="ctr">
              <a:defRPr baseline="0"/>
            </a:lvl1pPr>
          </a:lstStyle>
          <a:p>
            <a:r>
              <a:rPr lang="en-US"/>
              <a:t>CLICK TO add TITLE</a:t>
            </a:r>
          </a:p>
        </p:txBody>
      </p:sp>
      <p:sp>
        <p:nvSpPr>
          <p:cNvPr id="15" name="Text Placeholder 8">
            <a:extLst>
              <a:ext uri="{FF2B5EF4-FFF2-40B4-BE49-F238E27FC236}">
                <a16:creationId xmlns:a16="http://schemas.microsoft.com/office/drawing/2014/main" id="{62CE8502-2A5C-4AF6-9580-821991C9C0A7}"/>
              </a:ext>
            </a:extLst>
          </p:cNvPr>
          <p:cNvSpPr>
            <a:spLocks noGrp="1"/>
          </p:cNvSpPr>
          <p:nvPr>
            <p:ph type="body" sz="quarter" idx="33" hasCustomPrompt="1"/>
          </p:nvPr>
        </p:nvSpPr>
        <p:spPr>
          <a:xfrm>
            <a:off x="472233" y="1604416"/>
            <a:ext cx="2318361" cy="396833"/>
          </a:xfrm>
          <a:prstGeom prst="rect">
            <a:avLst/>
          </a:prstGeom>
        </p:spPr>
        <p:txBody>
          <a:bodyPr anchor="ctr" anchorCtr="0">
            <a:noAutofit/>
          </a:bodyPr>
          <a:lstStyle>
            <a:lvl1pPr marL="0" indent="0" algn="ctr">
              <a:buFont typeface="Arial" panose="020B0604020202020204" pitchFamily="34" charset="0"/>
              <a:buNone/>
              <a:defRPr sz="1989" cap="none" baseline="0">
                <a:solidFill>
                  <a:schemeClr val="bg1">
                    <a:lumMod val="50000"/>
                  </a:schemeClr>
                </a:solidFill>
                <a:latin typeface="+mj-lt"/>
              </a:defRPr>
            </a:lvl1pPr>
          </a:lstStyle>
          <a:p>
            <a:pPr lvl="0"/>
            <a:r>
              <a:rPr lang="en-US"/>
              <a:t>Add text here</a:t>
            </a:r>
          </a:p>
        </p:txBody>
      </p:sp>
      <p:sp>
        <p:nvSpPr>
          <p:cNvPr id="16" name="Text Placeholder 8">
            <a:extLst>
              <a:ext uri="{FF2B5EF4-FFF2-40B4-BE49-F238E27FC236}">
                <a16:creationId xmlns:a16="http://schemas.microsoft.com/office/drawing/2014/main" id="{97B2ABAD-B1D1-47F3-9008-0EDFC6F61F7C}"/>
              </a:ext>
            </a:extLst>
          </p:cNvPr>
          <p:cNvSpPr>
            <a:spLocks noGrp="1"/>
          </p:cNvSpPr>
          <p:nvPr>
            <p:ph type="body" sz="quarter" idx="35" hasCustomPrompt="1"/>
          </p:nvPr>
        </p:nvSpPr>
        <p:spPr>
          <a:xfrm>
            <a:off x="2954663" y="1601913"/>
            <a:ext cx="2318361" cy="396833"/>
          </a:xfrm>
          <a:prstGeom prst="rect">
            <a:avLst/>
          </a:prstGeom>
        </p:spPr>
        <p:txBody>
          <a:bodyPr anchor="ctr" anchorCtr="0">
            <a:noAutofit/>
          </a:bodyPr>
          <a:lstStyle>
            <a:lvl1pPr marL="0" indent="0" algn="ctr">
              <a:buFont typeface="Arial" panose="020B0604020202020204" pitchFamily="34" charset="0"/>
              <a:buNone/>
              <a:defRPr sz="1989" cap="none" baseline="0">
                <a:solidFill>
                  <a:schemeClr val="bg1">
                    <a:lumMod val="50000"/>
                  </a:schemeClr>
                </a:solidFill>
                <a:latin typeface="+mj-lt"/>
              </a:defRPr>
            </a:lvl1pPr>
          </a:lstStyle>
          <a:p>
            <a:pPr lvl="0"/>
            <a:r>
              <a:rPr lang="en-US"/>
              <a:t>Add text here</a:t>
            </a:r>
          </a:p>
        </p:txBody>
      </p:sp>
      <p:sp>
        <p:nvSpPr>
          <p:cNvPr id="4" name="Date Placeholder 3">
            <a:extLst>
              <a:ext uri="{FF2B5EF4-FFF2-40B4-BE49-F238E27FC236}">
                <a16:creationId xmlns:a16="http://schemas.microsoft.com/office/drawing/2014/main" id="{3EDAC16E-5725-4AC1-AB85-871F25D26688}"/>
              </a:ext>
            </a:extLst>
          </p:cNvPr>
          <p:cNvSpPr>
            <a:spLocks noGrp="1"/>
          </p:cNvSpPr>
          <p:nvPr>
            <p:ph type="dt" sz="half" idx="10"/>
          </p:nvPr>
        </p:nvSpPr>
        <p:spPr>
          <a:xfrm>
            <a:off x="923988" y="7006701"/>
            <a:ext cx="3023949" cy="402484"/>
          </a:xfrm>
          <a:prstGeom prst="rect">
            <a:avLst/>
          </a:prstGeom>
        </p:spPr>
        <p:txBody>
          <a:bodyPr/>
          <a:lstStyle/>
          <a:p>
            <a:endParaRPr lang="en-US"/>
          </a:p>
        </p:txBody>
      </p:sp>
      <p:sp>
        <p:nvSpPr>
          <p:cNvPr id="5" name="Footer Placeholder 4">
            <a:extLst>
              <a:ext uri="{FF2B5EF4-FFF2-40B4-BE49-F238E27FC236}">
                <a16:creationId xmlns:a16="http://schemas.microsoft.com/office/drawing/2014/main" id="{FD10B5D8-71E9-48DC-A04C-559359603CB0}"/>
              </a:ext>
            </a:extLst>
          </p:cNvPr>
          <p:cNvSpPr>
            <a:spLocks noGrp="1"/>
          </p:cNvSpPr>
          <p:nvPr>
            <p:ph type="ftr" sz="quarter" idx="11"/>
          </p:nvPr>
        </p:nvSpPr>
        <p:spPr>
          <a:xfrm>
            <a:off x="4451927" y="7006701"/>
            <a:ext cx="4535925" cy="402484"/>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A0FDD81F-9379-48E6-9B14-83486F920A39}"/>
              </a:ext>
            </a:extLst>
          </p:cNvPr>
          <p:cNvSpPr>
            <a:spLocks noGrp="1"/>
          </p:cNvSpPr>
          <p:nvPr>
            <p:ph type="sldNum" sz="quarter" idx="12"/>
          </p:nvPr>
        </p:nvSpPr>
        <p:spPr>
          <a:xfrm>
            <a:off x="9491845" y="7006701"/>
            <a:ext cx="3023949" cy="402484"/>
          </a:xfrm>
          <a:prstGeom prst="rect">
            <a:avLst/>
          </a:prstGeom>
        </p:spPr>
        <p:txBody>
          <a:bodyPr/>
          <a:lstStyle/>
          <a:p>
            <a:fld id="{B5CEABB6-07DC-46E8-9B57-56EC44A396E5}" type="slidenum">
              <a:rPr lang="en-US" smtClean="0"/>
              <a:t>‹№›</a:t>
            </a:fld>
            <a:endParaRPr lang="en-US"/>
          </a:p>
        </p:txBody>
      </p:sp>
      <p:sp>
        <p:nvSpPr>
          <p:cNvPr id="29" name="Text Placeholder 8">
            <a:extLst>
              <a:ext uri="{FF2B5EF4-FFF2-40B4-BE49-F238E27FC236}">
                <a16:creationId xmlns:a16="http://schemas.microsoft.com/office/drawing/2014/main" id="{50FF3314-828D-74E3-D28E-563FE3A2691E}"/>
              </a:ext>
            </a:extLst>
          </p:cNvPr>
          <p:cNvSpPr>
            <a:spLocks noGrp="1"/>
          </p:cNvSpPr>
          <p:nvPr>
            <p:ph type="body" sz="quarter" idx="41" hasCustomPrompt="1"/>
          </p:nvPr>
        </p:nvSpPr>
        <p:spPr>
          <a:xfrm>
            <a:off x="5480294" y="1604416"/>
            <a:ext cx="2318361" cy="396833"/>
          </a:xfrm>
          <a:prstGeom prst="rect">
            <a:avLst/>
          </a:prstGeom>
        </p:spPr>
        <p:txBody>
          <a:bodyPr anchor="ctr" anchorCtr="0">
            <a:noAutofit/>
          </a:bodyPr>
          <a:lstStyle>
            <a:lvl1pPr marL="0" indent="0" algn="ctr">
              <a:buFont typeface="Arial" panose="020B0604020202020204" pitchFamily="34" charset="0"/>
              <a:buNone/>
              <a:defRPr sz="1989" cap="none" baseline="0">
                <a:solidFill>
                  <a:schemeClr val="bg1">
                    <a:lumMod val="50000"/>
                  </a:schemeClr>
                </a:solidFill>
                <a:latin typeface="+mj-lt"/>
              </a:defRPr>
            </a:lvl1pPr>
          </a:lstStyle>
          <a:p>
            <a:pPr lvl="0"/>
            <a:r>
              <a:rPr lang="en-US"/>
              <a:t>Add text here</a:t>
            </a:r>
          </a:p>
        </p:txBody>
      </p:sp>
      <p:sp>
        <p:nvSpPr>
          <p:cNvPr id="31" name="Text Placeholder 8">
            <a:extLst>
              <a:ext uri="{FF2B5EF4-FFF2-40B4-BE49-F238E27FC236}">
                <a16:creationId xmlns:a16="http://schemas.microsoft.com/office/drawing/2014/main" id="{8EB8849B-5163-E342-D6A7-8B239C701D62}"/>
              </a:ext>
            </a:extLst>
          </p:cNvPr>
          <p:cNvSpPr>
            <a:spLocks noGrp="1"/>
          </p:cNvSpPr>
          <p:nvPr>
            <p:ph type="body" sz="quarter" idx="43" hasCustomPrompt="1"/>
          </p:nvPr>
        </p:nvSpPr>
        <p:spPr>
          <a:xfrm>
            <a:off x="7962725" y="1601913"/>
            <a:ext cx="2318361" cy="396833"/>
          </a:xfrm>
          <a:prstGeom prst="rect">
            <a:avLst/>
          </a:prstGeom>
        </p:spPr>
        <p:txBody>
          <a:bodyPr anchor="ctr" anchorCtr="0">
            <a:noAutofit/>
          </a:bodyPr>
          <a:lstStyle>
            <a:lvl1pPr marL="0" indent="0" algn="ctr">
              <a:buFont typeface="Arial" panose="020B0604020202020204" pitchFamily="34" charset="0"/>
              <a:buNone/>
              <a:defRPr sz="1989" cap="none" baseline="0">
                <a:solidFill>
                  <a:schemeClr val="bg1">
                    <a:lumMod val="50000"/>
                  </a:schemeClr>
                </a:solidFill>
                <a:latin typeface="+mj-lt"/>
              </a:defRPr>
            </a:lvl1pPr>
          </a:lstStyle>
          <a:p>
            <a:pPr lvl="0"/>
            <a:r>
              <a:rPr lang="en-US"/>
              <a:t>Add text here</a:t>
            </a:r>
          </a:p>
        </p:txBody>
      </p:sp>
      <p:sp>
        <p:nvSpPr>
          <p:cNvPr id="14" name="Text Placeholder 8">
            <a:extLst>
              <a:ext uri="{FF2B5EF4-FFF2-40B4-BE49-F238E27FC236}">
                <a16:creationId xmlns:a16="http://schemas.microsoft.com/office/drawing/2014/main" id="{782674CC-8D64-D272-650E-AF3F61432B70}"/>
              </a:ext>
            </a:extLst>
          </p:cNvPr>
          <p:cNvSpPr>
            <a:spLocks noGrp="1"/>
          </p:cNvSpPr>
          <p:nvPr>
            <p:ph type="body" sz="quarter" idx="48" hasCustomPrompt="1"/>
          </p:nvPr>
        </p:nvSpPr>
        <p:spPr>
          <a:xfrm>
            <a:off x="10485115" y="1601913"/>
            <a:ext cx="2318361" cy="396833"/>
          </a:xfrm>
          <a:prstGeom prst="rect">
            <a:avLst/>
          </a:prstGeom>
        </p:spPr>
        <p:txBody>
          <a:bodyPr anchor="ctr" anchorCtr="0">
            <a:noAutofit/>
          </a:bodyPr>
          <a:lstStyle>
            <a:lvl1pPr marL="0" indent="0" algn="ctr">
              <a:buFont typeface="Arial" panose="020B0604020202020204" pitchFamily="34" charset="0"/>
              <a:buNone/>
              <a:defRPr sz="1989" cap="none" baseline="0">
                <a:solidFill>
                  <a:schemeClr val="bg1">
                    <a:lumMod val="50000"/>
                  </a:schemeClr>
                </a:solidFill>
                <a:latin typeface="+mj-lt"/>
              </a:defRPr>
            </a:lvl1pPr>
          </a:lstStyle>
          <a:p>
            <a:pPr lvl="0"/>
            <a:r>
              <a:rPr lang="en-US"/>
              <a:t>Add text here</a:t>
            </a:r>
          </a:p>
        </p:txBody>
      </p:sp>
      <p:sp>
        <p:nvSpPr>
          <p:cNvPr id="17" name="Text Placeholder 8">
            <a:extLst>
              <a:ext uri="{FF2B5EF4-FFF2-40B4-BE49-F238E27FC236}">
                <a16:creationId xmlns:a16="http://schemas.microsoft.com/office/drawing/2014/main" id="{ABDBEDB8-DBB8-0739-F707-AFD1A03A0BFD}"/>
              </a:ext>
            </a:extLst>
          </p:cNvPr>
          <p:cNvSpPr>
            <a:spLocks noGrp="1"/>
          </p:cNvSpPr>
          <p:nvPr>
            <p:ph type="body" sz="quarter" idx="49" hasCustomPrompt="1"/>
          </p:nvPr>
        </p:nvSpPr>
        <p:spPr>
          <a:xfrm>
            <a:off x="594413" y="3877790"/>
            <a:ext cx="2318361" cy="396833"/>
          </a:xfrm>
          <a:prstGeom prst="rect">
            <a:avLst/>
          </a:prstGeom>
        </p:spPr>
        <p:txBody>
          <a:bodyPr anchor="ctr" anchorCtr="0">
            <a:noAutofit/>
          </a:bodyPr>
          <a:lstStyle>
            <a:lvl1pPr marL="0" indent="0" algn="ctr">
              <a:buFont typeface="Arial" panose="020B0604020202020204" pitchFamily="34" charset="0"/>
              <a:buNone/>
              <a:defRPr sz="1989" cap="none" baseline="0">
                <a:solidFill>
                  <a:schemeClr val="bg1">
                    <a:lumMod val="50000"/>
                  </a:schemeClr>
                </a:solidFill>
                <a:latin typeface="+mj-lt"/>
              </a:defRPr>
            </a:lvl1pPr>
          </a:lstStyle>
          <a:p>
            <a:pPr lvl="0"/>
            <a:r>
              <a:rPr lang="en-US"/>
              <a:t>Add text here</a:t>
            </a:r>
          </a:p>
        </p:txBody>
      </p:sp>
      <p:sp>
        <p:nvSpPr>
          <p:cNvPr id="20" name="Text Placeholder 8">
            <a:extLst>
              <a:ext uri="{FF2B5EF4-FFF2-40B4-BE49-F238E27FC236}">
                <a16:creationId xmlns:a16="http://schemas.microsoft.com/office/drawing/2014/main" id="{0CD4B460-6EEF-466A-D88E-4651F58745EE}"/>
              </a:ext>
            </a:extLst>
          </p:cNvPr>
          <p:cNvSpPr>
            <a:spLocks noGrp="1"/>
          </p:cNvSpPr>
          <p:nvPr>
            <p:ph type="body" sz="quarter" idx="50" hasCustomPrompt="1"/>
          </p:nvPr>
        </p:nvSpPr>
        <p:spPr>
          <a:xfrm>
            <a:off x="3076843" y="3875287"/>
            <a:ext cx="2318361" cy="396833"/>
          </a:xfrm>
          <a:prstGeom prst="rect">
            <a:avLst/>
          </a:prstGeom>
        </p:spPr>
        <p:txBody>
          <a:bodyPr anchor="ctr" anchorCtr="0">
            <a:noAutofit/>
          </a:bodyPr>
          <a:lstStyle>
            <a:lvl1pPr marL="0" indent="0" algn="ctr">
              <a:buFont typeface="Arial" panose="020B0604020202020204" pitchFamily="34" charset="0"/>
              <a:buNone/>
              <a:defRPr sz="1989" cap="none" baseline="0">
                <a:solidFill>
                  <a:schemeClr val="bg1">
                    <a:lumMod val="50000"/>
                  </a:schemeClr>
                </a:solidFill>
                <a:latin typeface="+mj-lt"/>
              </a:defRPr>
            </a:lvl1pPr>
          </a:lstStyle>
          <a:p>
            <a:pPr lvl="0"/>
            <a:r>
              <a:rPr lang="en-US"/>
              <a:t>Add text here</a:t>
            </a:r>
          </a:p>
        </p:txBody>
      </p:sp>
      <p:sp>
        <p:nvSpPr>
          <p:cNvPr id="21" name="Text Placeholder 8">
            <a:extLst>
              <a:ext uri="{FF2B5EF4-FFF2-40B4-BE49-F238E27FC236}">
                <a16:creationId xmlns:a16="http://schemas.microsoft.com/office/drawing/2014/main" id="{EE0B27F2-E54A-0B65-7DA1-7328F3A0DE9D}"/>
              </a:ext>
            </a:extLst>
          </p:cNvPr>
          <p:cNvSpPr>
            <a:spLocks noGrp="1"/>
          </p:cNvSpPr>
          <p:nvPr>
            <p:ph type="body" sz="quarter" idx="51" hasCustomPrompt="1"/>
          </p:nvPr>
        </p:nvSpPr>
        <p:spPr>
          <a:xfrm>
            <a:off x="5602473" y="3877790"/>
            <a:ext cx="2318361" cy="396833"/>
          </a:xfrm>
          <a:prstGeom prst="rect">
            <a:avLst/>
          </a:prstGeom>
        </p:spPr>
        <p:txBody>
          <a:bodyPr anchor="ctr" anchorCtr="0">
            <a:noAutofit/>
          </a:bodyPr>
          <a:lstStyle>
            <a:lvl1pPr marL="0" indent="0" algn="ctr">
              <a:buFont typeface="Arial" panose="020B0604020202020204" pitchFamily="34" charset="0"/>
              <a:buNone/>
              <a:defRPr sz="1989" cap="none" baseline="0">
                <a:solidFill>
                  <a:schemeClr val="bg1">
                    <a:lumMod val="50000"/>
                  </a:schemeClr>
                </a:solidFill>
                <a:latin typeface="+mj-lt"/>
              </a:defRPr>
            </a:lvl1pPr>
          </a:lstStyle>
          <a:p>
            <a:pPr lvl="0"/>
            <a:r>
              <a:rPr lang="en-US"/>
              <a:t>Add text here</a:t>
            </a:r>
          </a:p>
        </p:txBody>
      </p:sp>
      <p:sp>
        <p:nvSpPr>
          <p:cNvPr id="23" name="Text Placeholder 8">
            <a:extLst>
              <a:ext uri="{FF2B5EF4-FFF2-40B4-BE49-F238E27FC236}">
                <a16:creationId xmlns:a16="http://schemas.microsoft.com/office/drawing/2014/main" id="{A0473341-7246-2133-A02E-979F00F8CF1B}"/>
              </a:ext>
            </a:extLst>
          </p:cNvPr>
          <p:cNvSpPr>
            <a:spLocks noGrp="1"/>
          </p:cNvSpPr>
          <p:nvPr>
            <p:ph type="body" sz="quarter" idx="52" hasCustomPrompt="1"/>
          </p:nvPr>
        </p:nvSpPr>
        <p:spPr>
          <a:xfrm>
            <a:off x="8084904" y="3875287"/>
            <a:ext cx="2318361" cy="396833"/>
          </a:xfrm>
          <a:prstGeom prst="rect">
            <a:avLst/>
          </a:prstGeom>
        </p:spPr>
        <p:txBody>
          <a:bodyPr anchor="ctr" anchorCtr="0">
            <a:noAutofit/>
          </a:bodyPr>
          <a:lstStyle>
            <a:lvl1pPr marL="0" indent="0" algn="ctr">
              <a:buFont typeface="Arial" panose="020B0604020202020204" pitchFamily="34" charset="0"/>
              <a:buNone/>
              <a:defRPr sz="1989" cap="none" baseline="0">
                <a:solidFill>
                  <a:schemeClr val="bg1">
                    <a:lumMod val="50000"/>
                  </a:schemeClr>
                </a:solidFill>
                <a:latin typeface="+mj-lt"/>
              </a:defRPr>
            </a:lvl1pPr>
          </a:lstStyle>
          <a:p>
            <a:pPr lvl="0"/>
            <a:r>
              <a:rPr lang="en-US"/>
              <a:t>Add text here</a:t>
            </a:r>
          </a:p>
        </p:txBody>
      </p:sp>
      <p:sp>
        <p:nvSpPr>
          <p:cNvPr id="25" name="Text Placeholder 8">
            <a:extLst>
              <a:ext uri="{FF2B5EF4-FFF2-40B4-BE49-F238E27FC236}">
                <a16:creationId xmlns:a16="http://schemas.microsoft.com/office/drawing/2014/main" id="{D68179D3-8AD9-8F37-23FE-15E609F7D35A}"/>
              </a:ext>
            </a:extLst>
          </p:cNvPr>
          <p:cNvSpPr>
            <a:spLocks noGrp="1"/>
          </p:cNvSpPr>
          <p:nvPr>
            <p:ph type="body" sz="quarter" idx="53" hasCustomPrompt="1"/>
          </p:nvPr>
        </p:nvSpPr>
        <p:spPr>
          <a:xfrm>
            <a:off x="10607297" y="3875287"/>
            <a:ext cx="2318361" cy="396833"/>
          </a:xfrm>
          <a:prstGeom prst="rect">
            <a:avLst/>
          </a:prstGeom>
        </p:spPr>
        <p:txBody>
          <a:bodyPr anchor="ctr" anchorCtr="0">
            <a:noAutofit/>
          </a:bodyPr>
          <a:lstStyle>
            <a:lvl1pPr marL="0" indent="0" algn="ctr">
              <a:buFont typeface="Arial" panose="020B0604020202020204" pitchFamily="34" charset="0"/>
              <a:buNone/>
              <a:defRPr sz="1989" cap="none" baseline="0">
                <a:solidFill>
                  <a:schemeClr val="bg1">
                    <a:lumMod val="50000"/>
                  </a:schemeClr>
                </a:solidFill>
                <a:latin typeface="+mj-lt"/>
              </a:defRPr>
            </a:lvl1pPr>
          </a:lstStyle>
          <a:p>
            <a:pPr lvl="0"/>
            <a:r>
              <a:rPr lang="en-US"/>
              <a:t>Add text here</a:t>
            </a:r>
          </a:p>
        </p:txBody>
      </p:sp>
    </p:spTree>
    <p:extLst>
      <p:ext uri="{BB962C8B-B14F-4D97-AF65-F5344CB8AC3E}">
        <p14:creationId xmlns:p14="http://schemas.microsoft.com/office/powerpoint/2010/main" val="121187628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9_Market Overview">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C626A5-4FF6-42BD-858A-AE4B2C23A6BC}"/>
              </a:ext>
            </a:extLst>
          </p:cNvPr>
          <p:cNvSpPr>
            <a:spLocks noGrp="1"/>
          </p:cNvSpPr>
          <p:nvPr>
            <p:ph type="title"/>
          </p:nvPr>
        </p:nvSpPr>
        <p:spPr>
          <a:xfrm>
            <a:off x="923985" y="402485"/>
            <a:ext cx="11591806" cy="1461189"/>
          </a:xfrm>
          <a:prstGeom prst="rect">
            <a:avLst/>
          </a:prstGeom>
        </p:spPr>
        <p:txBody>
          <a:bodyPr/>
          <a:lstStyle>
            <a:lvl1pPr algn="ctr">
              <a:defRPr baseline="0">
                <a:solidFill>
                  <a:schemeClr val="tx1"/>
                </a:solidFill>
              </a:defRPr>
            </a:lvl1pPr>
          </a:lstStyle>
          <a:p>
            <a:r>
              <a:rPr lang="en-US" noProof="0"/>
              <a:t>Click to edit Master title style</a:t>
            </a:r>
          </a:p>
        </p:txBody>
      </p:sp>
      <p:sp>
        <p:nvSpPr>
          <p:cNvPr id="16" name="Text Placeholder 3">
            <a:extLst>
              <a:ext uri="{FF2B5EF4-FFF2-40B4-BE49-F238E27FC236}">
                <a16:creationId xmlns:a16="http://schemas.microsoft.com/office/drawing/2014/main" id="{3A5BA28D-2313-499F-93AB-7C86B0305709}"/>
              </a:ext>
            </a:extLst>
          </p:cNvPr>
          <p:cNvSpPr>
            <a:spLocks noGrp="1"/>
          </p:cNvSpPr>
          <p:nvPr>
            <p:ph type="body" sz="quarter" idx="30" hasCustomPrompt="1"/>
          </p:nvPr>
        </p:nvSpPr>
        <p:spPr>
          <a:xfrm>
            <a:off x="2353711" y="2252873"/>
            <a:ext cx="2015968" cy="1511936"/>
          </a:xfrm>
          <a:prstGeom prst="rect">
            <a:avLst/>
          </a:prstGeom>
          <a:noFill/>
          <a:ln w="22225">
            <a:solidFill>
              <a:schemeClr val="tx2"/>
            </a:solidFill>
          </a:ln>
        </p:spPr>
        <p:txBody>
          <a:bodyPr anchor="ctr" anchorCtr="1">
            <a:normAutofit/>
          </a:bodyPr>
          <a:lstStyle>
            <a:lvl1pPr marL="0" indent="0" algn="ctr">
              <a:spcBef>
                <a:spcPts val="0"/>
              </a:spcBef>
              <a:spcAft>
                <a:spcPts val="0"/>
              </a:spcAft>
              <a:buNone/>
              <a:defRPr sz="3091" b="1">
                <a:solidFill>
                  <a:schemeClr val="tx1"/>
                </a:solidFill>
                <a:latin typeface="+mj-lt"/>
              </a:defRPr>
            </a:lvl1pPr>
            <a:lvl2pPr marL="294022" indent="0">
              <a:buNone/>
              <a:defRPr/>
            </a:lvl2pPr>
            <a:lvl3pPr marL="598536" indent="0">
              <a:buNone/>
              <a:defRPr/>
            </a:lvl3pPr>
            <a:lvl4pPr marL="892557" indent="0">
              <a:buNone/>
              <a:defRPr/>
            </a:lvl4pPr>
            <a:lvl5pPr marL="1186580" indent="0">
              <a:buNone/>
              <a:defRPr/>
            </a:lvl5pPr>
          </a:lstStyle>
          <a:p>
            <a:pPr lvl="0"/>
            <a:r>
              <a:rPr lang="en-US" noProof="0"/>
              <a:t>1</a:t>
            </a:r>
          </a:p>
        </p:txBody>
      </p:sp>
      <p:sp>
        <p:nvSpPr>
          <p:cNvPr id="9" name="Text Placeholder 8">
            <a:extLst>
              <a:ext uri="{FF2B5EF4-FFF2-40B4-BE49-F238E27FC236}">
                <a16:creationId xmlns:a16="http://schemas.microsoft.com/office/drawing/2014/main" id="{3BAE6588-4D08-448D-B294-A47E7AAC339B}"/>
              </a:ext>
            </a:extLst>
          </p:cNvPr>
          <p:cNvSpPr>
            <a:spLocks noGrp="1"/>
          </p:cNvSpPr>
          <p:nvPr>
            <p:ph type="body" sz="quarter" idx="35" hasCustomPrompt="1"/>
          </p:nvPr>
        </p:nvSpPr>
        <p:spPr>
          <a:xfrm>
            <a:off x="1849721" y="4257771"/>
            <a:ext cx="3023949" cy="1765674"/>
          </a:xfrm>
          <a:prstGeom prst="rect">
            <a:avLst/>
          </a:prstGeom>
        </p:spPr>
        <p:txBody>
          <a:bodyPr>
            <a:normAutofit/>
          </a:bodyPr>
          <a:lstStyle>
            <a:lvl1pPr marL="0" indent="0" algn="ctr">
              <a:lnSpc>
                <a:spcPts val="2649"/>
              </a:lnSpc>
              <a:buNone/>
              <a:defRPr sz="1547"/>
            </a:lvl1pPr>
            <a:lvl2pPr marL="504031" indent="0">
              <a:buNone/>
              <a:defRPr sz="1763"/>
            </a:lvl2pPr>
            <a:lvl3pPr marL="1008063" indent="0">
              <a:buNone/>
              <a:defRPr sz="1763"/>
            </a:lvl3pPr>
            <a:lvl4pPr marL="1512094" indent="0">
              <a:buNone/>
              <a:defRPr sz="1763"/>
            </a:lvl4pPr>
            <a:lvl5pPr marL="2016127" indent="0">
              <a:buNone/>
              <a:defRPr sz="1763"/>
            </a:lvl5pPr>
          </a:lstStyle>
          <a:p>
            <a:pPr lvl="0"/>
            <a:r>
              <a:rPr lang="en-US" noProof="0"/>
              <a:t>Click to add text</a:t>
            </a:r>
          </a:p>
        </p:txBody>
      </p:sp>
      <p:sp>
        <p:nvSpPr>
          <p:cNvPr id="17" name="Text Placeholder 9">
            <a:extLst>
              <a:ext uri="{FF2B5EF4-FFF2-40B4-BE49-F238E27FC236}">
                <a16:creationId xmlns:a16="http://schemas.microsoft.com/office/drawing/2014/main" id="{4E9F4FE1-F54C-4B3C-9CED-6C3058B00352}"/>
              </a:ext>
            </a:extLst>
          </p:cNvPr>
          <p:cNvSpPr>
            <a:spLocks noGrp="1"/>
          </p:cNvSpPr>
          <p:nvPr>
            <p:ph type="body" sz="quarter" idx="31" hasCustomPrompt="1"/>
          </p:nvPr>
        </p:nvSpPr>
        <p:spPr>
          <a:xfrm>
            <a:off x="5708546" y="2252873"/>
            <a:ext cx="2015968" cy="1511936"/>
          </a:xfrm>
          <a:prstGeom prst="rect">
            <a:avLst/>
          </a:prstGeom>
          <a:noFill/>
          <a:ln w="22225">
            <a:solidFill>
              <a:schemeClr val="accent2"/>
            </a:solidFill>
          </a:ln>
        </p:spPr>
        <p:txBody>
          <a:bodyPr vert="horz" lIns="0" tIns="0" rIns="0" bIns="0" rtlCol="0" anchor="ctr" anchorCtr="1">
            <a:noAutofit/>
          </a:bodyPr>
          <a:lstStyle>
            <a:lvl1pPr marL="0" indent="0" algn="ctr">
              <a:spcBef>
                <a:spcPts val="0"/>
              </a:spcBef>
              <a:spcAft>
                <a:spcPts val="0"/>
              </a:spcAft>
              <a:buNone/>
              <a:defRPr lang="en-ZA" sz="3091" b="1" dirty="0">
                <a:solidFill>
                  <a:schemeClr val="tx1"/>
                </a:solidFill>
                <a:latin typeface="+mj-lt"/>
              </a:defRPr>
            </a:lvl1pPr>
          </a:lstStyle>
          <a:p>
            <a:pPr marL="294022" lvl="0" indent="-294022" algn="ctr"/>
            <a:r>
              <a:rPr lang="en-US" noProof="0"/>
              <a:t>2</a:t>
            </a:r>
          </a:p>
        </p:txBody>
      </p:sp>
      <p:sp>
        <p:nvSpPr>
          <p:cNvPr id="20" name="Text Placeholder 5">
            <a:extLst>
              <a:ext uri="{FF2B5EF4-FFF2-40B4-BE49-F238E27FC236}">
                <a16:creationId xmlns:a16="http://schemas.microsoft.com/office/drawing/2014/main" id="{7488A707-03CD-495D-B761-9F9DAE92C6CA}"/>
              </a:ext>
            </a:extLst>
          </p:cNvPr>
          <p:cNvSpPr>
            <a:spLocks noGrp="1"/>
          </p:cNvSpPr>
          <p:nvPr>
            <p:ph type="body" sz="quarter" idx="12" hasCustomPrompt="1"/>
          </p:nvPr>
        </p:nvSpPr>
        <p:spPr>
          <a:xfrm>
            <a:off x="5204555" y="4257713"/>
            <a:ext cx="3023949" cy="1763925"/>
          </a:xfrm>
          <a:prstGeom prst="rect">
            <a:avLst/>
          </a:prstGeom>
        </p:spPr>
        <p:txBody>
          <a:bodyPr>
            <a:normAutofit/>
          </a:bodyPr>
          <a:lstStyle>
            <a:lvl1pPr marL="0" indent="0" algn="ctr">
              <a:lnSpc>
                <a:spcPts val="2649"/>
              </a:lnSpc>
              <a:buFont typeface="Arial" panose="020B0604020202020204" pitchFamily="34" charset="0"/>
              <a:buNone/>
              <a:defRPr sz="1547">
                <a:solidFill>
                  <a:schemeClr val="tx1"/>
                </a:solidFill>
              </a:defRPr>
            </a:lvl1pPr>
          </a:lstStyle>
          <a:p>
            <a:pPr lvl="0"/>
            <a:r>
              <a:rPr lang="en-US" noProof="0"/>
              <a:t>Click to add text</a:t>
            </a:r>
          </a:p>
        </p:txBody>
      </p:sp>
      <p:sp>
        <p:nvSpPr>
          <p:cNvPr id="18" name="Text Placeholder 9">
            <a:extLst>
              <a:ext uri="{FF2B5EF4-FFF2-40B4-BE49-F238E27FC236}">
                <a16:creationId xmlns:a16="http://schemas.microsoft.com/office/drawing/2014/main" id="{26328AB3-6C8E-4BB6-9C01-852150BDFE17}"/>
              </a:ext>
            </a:extLst>
          </p:cNvPr>
          <p:cNvSpPr>
            <a:spLocks noGrp="1"/>
          </p:cNvSpPr>
          <p:nvPr>
            <p:ph type="body" sz="quarter" idx="33" hasCustomPrompt="1"/>
          </p:nvPr>
        </p:nvSpPr>
        <p:spPr>
          <a:xfrm>
            <a:off x="9075352" y="2252873"/>
            <a:ext cx="2015968" cy="1511936"/>
          </a:xfrm>
          <a:prstGeom prst="rect">
            <a:avLst/>
          </a:prstGeom>
          <a:noFill/>
          <a:ln w="22225">
            <a:solidFill>
              <a:schemeClr val="accent4"/>
            </a:solidFill>
          </a:ln>
        </p:spPr>
        <p:txBody>
          <a:bodyPr vert="horz" lIns="0" tIns="0" rIns="0" bIns="0" rtlCol="0" anchor="ctr" anchorCtr="1">
            <a:noAutofit/>
          </a:bodyPr>
          <a:lstStyle>
            <a:lvl1pPr marL="0" indent="0" algn="ctr">
              <a:spcBef>
                <a:spcPts val="0"/>
              </a:spcBef>
              <a:spcAft>
                <a:spcPts val="0"/>
              </a:spcAft>
              <a:buNone/>
              <a:defRPr lang="en-ZA" sz="3091" b="1" dirty="0">
                <a:solidFill>
                  <a:schemeClr val="tx1"/>
                </a:solidFill>
                <a:latin typeface="+mj-lt"/>
              </a:defRPr>
            </a:lvl1pPr>
          </a:lstStyle>
          <a:p>
            <a:pPr marL="294022" lvl="0" indent="-294022" algn="ctr"/>
            <a:r>
              <a:rPr lang="en-US" noProof="0"/>
              <a:t>3</a:t>
            </a:r>
          </a:p>
        </p:txBody>
      </p:sp>
      <p:sp>
        <p:nvSpPr>
          <p:cNvPr id="21" name="Text Placeholder 9">
            <a:extLst>
              <a:ext uri="{FF2B5EF4-FFF2-40B4-BE49-F238E27FC236}">
                <a16:creationId xmlns:a16="http://schemas.microsoft.com/office/drawing/2014/main" id="{99A33CFC-3C95-43CD-92E8-05A5E6D98559}"/>
              </a:ext>
            </a:extLst>
          </p:cNvPr>
          <p:cNvSpPr>
            <a:spLocks noGrp="1"/>
          </p:cNvSpPr>
          <p:nvPr>
            <p:ph type="body" sz="quarter" idx="13" hasCustomPrompt="1"/>
          </p:nvPr>
        </p:nvSpPr>
        <p:spPr>
          <a:xfrm>
            <a:off x="8571361" y="4257713"/>
            <a:ext cx="3023949" cy="1763925"/>
          </a:xfrm>
          <a:prstGeom prst="rect">
            <a:avLst/>
          </a:prstGeom>
        </p:spPr>
        <p:txBody>
          <a:bodyPr>
            <a:normAutofit/>
          </a:bodyPr>
          <a:lstStyle>
            <a:lvl1pPr marL="0" indent="0" algn="ctr">
              <a:lnSpc>
                <a:spcPts val="2649"/>
              </a:lnSpc>
              <a:buFont typeface="Arial" panose="020B0604020202020204" pitchFamily="34" charset="0"/>
              <a:buNone/>
              <a:defRPr sz="1547">
                <a:solidFill>
                  <a:schemeClr val="tx1"/>
                </a:solidFill>
              </a:defRPr>
            </a:lvl1pPr>
          </a:lstStyle>
          <a:p>
            <a:pPr lvl="0"/>
            <a:r>
              <a:rPr lang="en-US" noProof="0"/>
              <a:t>Click to add text</a:t>
            </a:r>
          </a:p>
        </p:txBody>
      </p:sp>
      <p:sp>
        <p:nvSpPr>
          <p:cNvPr id="10" name="Rectangle 9">
            <a:extLst>
              <a:ext uri="{FF2B5EF4-FFF2-40B4-BE49-F238E27FC236}">
                <a16:creationId xmlns:a16="http://schemas.microsoft.com/office/drawing/2014/main" id="{3D448392-0672-4AC1-B5D6-3374FB36C9DC}"/>
              </a:ext>
              <a:ext uri="{C183D7F6-B498-43B3-948B-1728B52AA6E4}">
                <adec:decorative xmlns:adec="http://schemas.microsoft.com/office/drawing/2017/decorative" val="1"/>
              </a:ext>
            </a:extLst>
          </p:cNvPr>
          <p:cNvSpPr/>
          <p:nvPr userDrawn="1"/>
        </p:nvSpPr>
        <p:spPr>
          <a:xfrm>
            <a:off x="-5737" y="6560885"/>
            <a:ext cx="13463578" cy="1034205"/>
          </a:xfrm>
          <a:custGeom>
            <a:avLst/>
            <a:gdLst>
              <a:gd name="connsiteX0" fmla="*/ 0 w 12192000"/>
              <a:gd name="connsiteY0" fmla="*/ 0 h 914400"/>
              <a:gd name="connsiteX1" fmla="*/ 12192000 w 12192000"/>
              <a:gd name="connsiteY1" fmla="*/ 0 h 914400"/>
              <a:gd name="connsiteX2" fmla="*/ 12192000 w 12192000"/>
              <a:gd name="connsiteY2" fmla="*/ 914400 h 914400"/>
              <a:gd name="connsiteX3" fmla="*/ 0 w 12192000"/>
              <a:gd name="connsiteY3" fmla="*/ 914400 h 914400"/>
              <a:gd name="connsiteX4" fmla="*/ 0 w 12192000"/>
              <a:gd name="connsiteY4" fmla="*/ 0 h 914400"/>
              <a:gd name="connsiteX0" fmla="*/ 0 w 12228095"/>
              <a:gd name="connsiteY0" fmla="*/ 457200 h 914400"/>
              <a:gd name="connsiteX1" fmla="*/ 12228095 w 12228095"/>
              <a:gd name="connsiteY1" fmla="*/ 0 h 914400"/>
              <a:gd name="connsiteX2" fmla="*/ 12228095 w 12228095"/>
              <a:gd name="connsiteY2" fmla="*/ 914400 h 914400"/>
              <a:gd name="connsiteX3" fmla="*/ 36095 w 12228095"/>
              <a:gd name="connsiteY3" fmla="*/ 914400 h 914400"/>
              <a:gd name="connsiteX4" fmla="*/ 0 w 12228095"/>
              <a:gd name="connsiteY4" fmla="*/ 457200 h 914400"/>
              <a:gd name="connsiteX0" fmla="*/ 11652 w 12239747"/>
              <a:gd name="connsiteY0" fmla="*/ 457200 h 938212"/>
              <a:gd name="connsiteX1" fmla="*/ 12239747 w 12239747"/>
              <a:gd name="connsiteY1" fmla="*/ 0 h 938212"/>
              <a:gd name="connsiteX2" fmla="*/ 12239747 w 12239747"/>
              <a:gd name="connsiteY2" fmla="*/ 914400 h 938212"/>
              <a:gd name="connsiteX3" fmla="*/ 0 w 12239747"/>
              <a:gd name="connsiteY3" fmla="*/ 938212 h 938212"/>
              <a:gd name="connsiteX4" fmla="*/ 11652 w 12239747"/>
              <a:gd name="connsiteY4" fmla="*/ 457200 h 938212"/>
              <a:gd name="connsiteX0" fmla="*/ 0 w 12251968"/>
              <a:gd name="connsiteY0" fmla="*/ 438150 h 938212"/>
              <a:gd name="connsiteX1" fmla="*/ 12251968 w 12251968"/>
              <a:gd name="connsiteY1" fmla="*/ 0 h 938212"/>
              <a:gd name="connsiteX2" fmla="*/ 12251968 w 12251968"/>
              <a:gd name="connsiteY2" fmla="*/ 914400 h 938212"/>
              <a:gd name="connsiteX3" fmla="*/ 12221 w 12251968"/>
              <a:gd name="connsiteY3" fmla="*/ 938212 h 938212"/>
              <a:gd name="connsiteX4" fmla="*/ 0 w 12251968"/>
              <a:gd name="connsiteY4" fmla="*/ 438150 h 938212"/>
              <a:gd name="connsiteX0" fmla="*/ 0 w 12275842"/>
              <a:gd name="connsiteY0" fmla="*/ 438150 h 938212"/>
              <a:gd name="connsiteX1" fmla="*/ 12275842 w 12275842"/>
              <a:gd name="connsiteY1" fmla="*/ 0 h 938212"/>
              <a:gd name="connsiteX2" fmla="*/ 12275842 w 12275842"/>
              <a:gd name="connsiteY2" fmla="*/ 914400 h 938212"/>
              <a:gd name="connsiteX3" fmla="*/ 36095 w 12275842"/>
              <a:gd name="connsiteY3" fmla="*/ 938212 h 938212"/>
              <a:gd name="connsiteX4" fmla="*/ 0 w 12275842"/>
              <a:gd name="connsiteY4" fmla="*/ 438150 h 938212"/>
              <a:gd name="connsiteX0" fmla="*/ 11652 w 12239747"/>
              <a:gd name="connsiteY0" fmla="*/ 438150 h 938212"/>
              <a:gd name="connsiteX1" fmla="*/ 12239747 w 12239747"/>
              <a:gd name="connsiteY1" fmla="*/ 0 h 938212"/>
              <a:gd name="connsiteX2" fmla="*/ 12239747 w 12239747"/>
              <a:gd name="connsiteY2" fmla="*/ 914400 h 938212"/>
              <a:gd name="connsiteX3" fmla="*/ 0 w 12239747"/>
              <a:gd name="connsiteY3" fmla="*/ 938212 h 938212"/>
              <a:gd name="connsiteX4" fmla="*/ 11652 w 12239747"/>
              <a:gd name="connsiteY4" fmla="*/ 438150 h 938212"/>
              <a:gd name="connsiteX0" fmla="*/ 11652 w 12239747"/>
              <a:gd name="connsiteY0" fmla="*/ 438150 h 938212"/>
              <a:gd name="connsiteX1" fmla="*/ 12239747 w 12239747"/>
              <a:gd name="connsiteY1" fmla="*/ 0 h 938212"/>
              <a:gd name="connsiteX2" fmla="*/ 12239747 w 12239747"/>
              <a:gd name="connsiteY2" fmla="*/ 914400 h 938212"/>
              <a:gd name="connsiteX3" fmla="*/ 0 w 12239747"/>
              <a:gd name="connsiteY3" fmla="*/ 938212 h 938212"/>
              <a:gd name="connsiteX4" fmla="*/ 11652 w 12239747"/>
              <a:gd name="connsiteY4" fmla="*/ 438150 h 938212"/>
              <a:gd name="connsiteX0" fmla="*/ 0 w 12244968"/>
              <a:gd name="connsiteY0" fmla="*/ 421321 h 938212"/>
              <a:gd name="connsiteX1" fmla="*/ 12244968 w 12244968"/>
              <a:gd name="connsiteY1" fmla="*/ 0 h 938212"/>
              <a:gd name="connsiteX2" fmla="*/ 12244968 w 12244968"/>
              <a:gd name="connsiteY2" fmla="*/ 914400 h 938212"/>
              <a:gd name="connsiteX3" fmla="*/ 5221 w 12244968"/>
              <a:gd name="connsiteY3" fmla="*/ 938212 h 938212"/>
              <a:gd name="connsiteX4" fmla="*/ 0 w 12244968"/>
              <a:gd name="connsiteY4" fmla="*/ 421321 h 938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44968" h="938212">
                <a:moveTo>
                  <a:pt x="0" y="421321"/>
                </a:moveTo>
                <a:lnTo>
                  <a:pt x="12244968" y="0"/>
                </a:lnTo>
                <a:lnTo>
                  <a:pt x="12244968" y="914400"/>
                </a:lnTo>
                <a:lnTo>
                  <a:pt x="5221" y="938212"/>
                </a:lnTo>
                <a:cubicBezTo>
                  <a:pt x="3481" y="765915"/>
                  <a:pt x="1740" y="593618"/>
                  <a:pt x="0" y="421321"/>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29" noProof="0"/>
          </a:p>
        </p:txBody>
      </p:sp>
      <p:cxnSp>
        <p:nvCxnSpPr>
          <p:cNvPr id="11" name="Straight Connector 10">
            <a:extLst>
              <a:ext uri="{FF2B5EF4-FFF2-40B4-BE49-F238E27FC236}">
                <a16:creationId xmlns:a16="http://schemas.microsoft.com/office/drawing/2014/main" id="{20D1EE93-71F1-4386-A4E5-93A6CDA69EE0}"/>
              </a:ext>
              <a:ext uri="{C183D7F6-B498-43B3-948B-1728B52AA6E4}">
                <adec:decorative xmlns:adec="http://schemas.microsoft.com/office/drawing/2017/decorative" val="1"/>
              </a:ext>
            </a:extLst>
          </p:cNvPr>
          <p:cNvCxnSpPr>
            <a:cxnSpLocks/>
            <a:stCxn id="10" idx="1"/>
            <a:endCxn id="10" idx="0"/>
          </p:cNvCxnSpPr>
          <p:nvPr userDrawn="1"/>
        </p:nvCxnSpPr>
        <p:spPr>
          <a:xfrm flipH="1">
            <a:off x="-5737" y="6560885"/>
            <a:ext cx="13463578" cy="464429"/>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sp>
        <p:nvSpPr>
          <p:cNvPr id="24" name="Date Placeholder 2">
            <a:extLst>
              <a:ext uri="{FF2B5EF4-FFF2-40B4-BE49-F238E27FC236}">
                <a16:creationId xmlns:a16="http://schemas.microsoft.com/office/drawing/2014/main" id="{6B5940D2-EE07-4F75-9166-CBFF194C579B}"/>
              </a:ext>
            </a:extLst>
          </p:cNvPr>
          <p:cNvSpPr>
            <a:spLocks noGrp="1"/>
          </p:cNvSpPr>
          <p:nvPr>
            <p:ph type="dt" sz="half" idx="38"/>
          </p:nvPr>
        </p:nvSpPr>
        <p:spPr>
          <a:xfrm>
            <a:off x="923988" y="7006701"/>
            <a:ext cx="3023949" cy="402484"/>
          </a:xfrm>
          <a:prstGeom prst="rect">
            <a:avLst/>
          </a:prstGeom>
        </p:spPr>
        <p:txBody>
          <a:bodyPr/>
          <a:lstStyle>
            <a:lvl1pPr>
              <a:defRPr>
                <a:solidFill>
                  <a:schemeClr val="tx1"/>
                </a:solidFill>
              </a:defRPr>
            </a:lvl1pPr>
          </a:lstStyle>
          <a:p>
            <a:endParaRPr lang="en-US" noProof="0"/>
          </a:p>
        </p:txBody>
      </p:sp>
      <p:sp>
        <p:nvSpPr>
          <p:cNvPr id="6" name="Footer Placeholder 5">
            <a:extLst>
              <a:ext uri="{FF2B5EF4-FFF2-40B4-BE49-F238E27FC236}">
                <a16:creationId xmlns:a16="http://schemas.microsoft.com/office/drawing/2014/main" id="{29E5E346-F307-4307-949D-77CDB6E6577A}"/>
              </a:ext>
            </a:extLst>
          </p:cNvPr>
          <p:cNvSpPr>
            <a:spLocks noGrp="1"/>
          </p:cNvSpPr>
          <p:nvPr>
            <p:ph type="ftr" sz="quarter" idx="10"/>
          </p:nvPr>
        </p:nvSpPr>
        <p:spPr>
          <a:xfrm>
            <a:off x="4451927" y="7006701"/>
            <a:ext cx="4535925" cy="402484"/>
          </a:xfrm>
          <a:prstGeom prst="rect">
            <a:avLst/>
          </a:prstGeom>
        </p:spPr>
        <p:txBody>
          <a:bodyPr/>
          <a:lstStyle>
            <a:lvl1pPr>
              <a:defRPr>
                <a:solidFill>
                  <a:schemeClr val="tx1"/>
                </a:solidFill>
              </a:defRPr>
            </a:lvl1pPr>
          </a:lstStyle>
          <a:p>
            <a:endParaRPr lang="en-US" noProof="0"/>
          </a:p>
        </p:txBody>
      </p:sp>
      <p:sp>
        <p:nvSpPr>
          <p:cNvPr id="7" name="Slide Number Placeholder 6">
            <a:extLst>
              <a:ext uri="{FF2B5EF4-FFF2-40B4-BE49-F238E27FC236}">
                <a16:creationId xmlns:a16="http://schemas.microsoft.com/office/drawing/2014/main" id="{BB4446C0-A637-4726-88A6-815A6AB63B96}"/>
              </a:ext>
            </a:extLst>
          </p:cNvPr>
          <p:cNvSpPr>
            <a:spLocks noGrp="1"/>
          </p:cNvSpPr>
          <p:nvPr>
            <p:ph type="sldNum" sz="quarter" idx="11"/>
          </p:nvPr>
        </p:nvSpPr>
        <p:spPr>
          <a:xfrm>
            <a:off x="9491845" y="7006701"/>
            <a:ext cx="3023949" cy="402484"/>
          </a:xfrm>
          <a:prstGeom prst="rect">
            <a:avLst/>
          </a:prstGeom>
        </p:spPr>
        <p:txBody>
          <a:bodyPr/>
          <a:lstStyle>
            <a:lvl1pPr>
              <a:defRPr>
                <a:solidFill>
                  <a:schemeClr val="tx1"/>
                </a:solidFill>
              </a:defRPr>
            </a:lvl1pPr>
          </a:lstStyle>
          <a:p>
            <a:fld id="{19B51A1E-902D-48AF-9020-955120F399B6}" type="slidenum">
              <a:rPr lang="en-US" noProof="0" smtClean="0"/>
              <a:pPr/>
              <a:t>‹№›</a:t>
            </a:fld>
            <a:endParaRPr lang="en-US" noProof="0"/>
          </a:p>
        </p:txBody>
      </p:sp>
    </p:spTree>
    <p:extLst>
      <p:ext uri="{BB962C8B-B14F-4D97-AF65-F5344CB8AC3E}">
        <p14:creationId xmlns:p14="http://schemas.microsoft.com/office/powerpoint/2010/main" val="246560894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Opening slide">
  <p:cSld name="Opening slide">
    <p:spTree>
      <p:nvGrpSpPr>
        <p:cNvPr id="1" name="Shape 8"/>
        <p:cNvGrpSpPr/>
        <p:nvPr/>
      </p:nvGrpSpPr>
      <p:grpSpPr>
        <a:xfrm>
          <a:off x="0" y="0"/>
          <a:ext cx="0" cy="0"/>
          <a:chOff x="0" y="0"/>
          <a:chExt cx="0" cy="0"/>
        </a:xfrm>
      </p:grpSpPr>
      <p:sp>
        <p:nvSpPr>
          <p:cNvPr id="9" name="Google Shape;9;p2"/>
          <p:cNvSpPr txBox="1">
            <a:spLocks noGrp="1"/>
          </p:cNvSpPr>
          <p:nvPr>
            <p:ph type="ctrTitle"/>
          </p:nvPr>
        </p:nvSpPr>
        <p:spPr>
          <a:xfrm>
            <a:off x="1527959" y="2500381"/>
            <a:ext cx="6749871" cy="2619541"/>
          </a:xfrm>
          <a:prstGeom prst="rect">
            <a:avLst/>
          </a:prstGeom>
        </p:spPr>
        <p:txBody>
          <a:bodyPr spcFirstLastPara="1" wrap="square" lIns="91425" tIns="91425" rIns="91425" bIns="91425" anchor="b" anchorCtr="0">
            <a:noAutofit/>
          </a:bodyPr>
          <a:lstStyle>
            <a:lvl1pPr lvl="0" rtl="0">
              <a:spcBef>
                <a:spcPts val="0"/>
              </a:spcBef>
              <a:spcAft>
                <a:spcPts val="0"/>
              </a:spcAft>
              <a:buSzPts val="4800"/>
              <a:buNone/>
              <a:defRPr sz="7055"/>
            </a:lvl1pPr>
            <a:lvl2pPr lvl="1" rtl="0">
              <a:spcBef>
                <a:spcPts val="0"/>
              </a:spcBef>
              <a:spcAft>
                <a:spcPts val="0"/>
              </a:spcAft>
              <a:buSzPts val="4800"/>
              <a:buNone/>
              <a:defRPr sz="7055"/>
            </a:lvl2pPr>
            <a:lvl3pPr lvl="2" rtl="0">
              <a:spcBef>
                <a:spcPts val="0"/>
              </a:spcBef>
              <a:spcAft>
                <a:spcPts val="0"/>
              </a:spcAft>
              <a:buSzPts val="4800"/>
              <a:buNone/>
              <a:defRPr sz="7055"/>
            </a:lvl3pPr>
            <a:lvl4pPr lvl="3" rtl="0">
              <a:spcBef>
                <a:spcPts val="0"/>
              </a:spcBef>
              <a:spcAft>
                <a:spcPts val="0"/>
              </a:spcAft>
              <a:buSzPts val="4800"/>
              <a:buNone/>
              <a:defRPr sz="7055"/>
            </a:lvl4pPr>
            <a:lvl5pPr lvl="4" rtl="0">
              <a:spcBef>
                <a:spcPts val="0"/>
              </a:spcBef>
              <a:spcAft>
                <a:spcPts val="0"/>
              </a:spcAft>
              <a:buSzPts val="4800"/>
              <a:buNone/>
              <a:defRPr sz="7055"/>
            </a:lvl5pPr>
            <a:lvl6pPr lvl="5" rtl="0">
              <a:spcBef>
                <a:spcPts val="0"/>
              </a:spcBef>
              <a:spcAft>
                <a:spcPts val="0"/>
              </a:spcAft>
              <a:buSzPts val="4800"/>
              <a:buNone/>
              <a:defRPr sz="7055"/>
            </a:lvl6pPr>
            <a:lvl7pPr lvl="6" rtl="0">
              <a:spcBef>
                <a:spcPts val="0"/>
              </a:spcBef>
              <a:spcAft>
                <a:spcPts val="0"/>
              </a:spcAft>
              <a:buSzPts val="4800"/>
              <a:buNone/>
              <a:defRPr sz="7055"/>
            </a:lvl7pPr>
            <a:lvl8pPr lvl="7" rtl="0">
              <a:spcBef>
                <a:spcPts val="0"/>
              </a:spcBef>
              <a:spcAft>
                <a:spcPts val="0"/>
              </a:spcAft>
              <a:buSzPts val="4800"/>
              <a:buNone/>
              <a:defRPr sz="7055"/>
            </a:lvl8pPr>
            <a:lvl9pPr lvl="8" rtl="0">
              <a:spcBef>
                <a:spcPts val="0"/>
              </a:spcBef>
              <a:spcAft>
                <a:spcPts val="0"/>
              </a:spcAft>
              <a:buSzPts val="4800"/>
              <a:buNone/>
              <a:defRPr sz="7055"/>
            </a:lvl9pPr>
          </a:lstStyle>
          <a:p>
            <a:endParaRPr/>
          </a:p>
        </p:txBody>
      </p:sp>
      <p:sp>
        <p:nvSpPr>
          <p:cNvPr id="10" name="Google Shape;10;p2"/>
          <p:cNvSpPr txBox="1">
            <a:spLocks noGrp="1"/>
          </p:cNvSpPr>
          <p:nvPr>
            <p:ph type="subTitle" idx="1"/>
          </p:nvPr>
        </p:nvSpPr>
        <p:spPr>
          <a:xfrm>
            <a:off x="1527958" y="4712616"/>
            <a:ext cx="3530587" cy="1053813"/>
          </a:xfrm>
          <a:prstGeom prst="rect">
            <a:avLst/>
          </a:prstGeom>
        </p:spPr>
        <p:txBody>
          <a:bodyPr spcFirstLastPara="1" wrap="square" lIns="91425" tIns="91425" rIns="91425" bIns="91425" anchor="b" anchorCtr="0">
            <a:noAutofit/>
          </a:bodyPr>
          <a:lstStyle>
            <a:lvl1pPr lvl="0" rtl="0">
              <a:lnSpc>
                <a:spcPct val="100000"/>
              </a:lnSpc>
              <a:spcBef>
                <a:spcPts val="0"/>
              </a:spcBef>
              <a:spcAft>
                <a:spcPts val="0"/>
              </a:spcAft>
              <a:buClr>
                <a:srgbClr val="000000"/>
              </a:buClr>
              <a:buSzPts val="1200"/>
              <a:buNone/>
              <a:defRPr>
                <a:solidFill>
                  <a:srgbClr val="000000"/>
                </a:solidFill>
              </a:defRPr>
            </a:lvl1pPr>
            <a:lvl2pPr lvl="1" rtl="0">
              <a:lnSpc>
                <a:spcPct val="100000"/>
              </a:lnSpc>
              <a:spcBef>
                <a:spcPts val="0"/>
              </a:spcBef>
              <a:spcAft>
                <a:spcPts val="0"/>
              </a:spcAft>
              <a:buSzPts val="2800"/>
              <a:buNone/>
              <a:defRPr sz="4115"/>
            </a:lvl2pPr>
            <a:lvl3pPr lvl="2" rtl="0">
              <a:lnSpc>
                <a:spcPct val="100000"/>
              </a:lnSpc>
              <a:spcBef>
                <a:spcPts val="0"/>
              </a:spcBef>
              <a:spcAft>
                <a:spcPts val="0"/>
              </a:spcAft>
              <a:buSzPts val="2800"/>
              <a:buNone/>
              <a:defRPr sz="4115"/>
            </a:lvl3pPr>
            <a:lvl4pPr lvl="3" rtl="0">
              <a:lnSpc>
                <a:spcPct val="100000"/>
              </a:lnSpc>
              <a:spcBef>
                <a:spcPts val="0"/>
              </a:spcBef>
              <a:spcAft>
                <a:spcPts val="0"/>
              </a:spcAft>
              <a:buSzPts val="2800"/>
              <a:buNone/>
              <a:defRPr sz="4115"/>
            </a:lvl4pPr>
            <a:lvl5pPr lvl="4" rtl="0">
              <a:lnSpc>
                <a:spcPct val="100000"/>
              </a:lnSpc>
              <a:spcBef>
                <a:spcPts val="0"/>
              </a:spcBef>
              <a:spcAft>
                <a:spcPts val="0"/>
              </a:spcAft>
              <a:buSzPts val="2800"/>
              <a:buNone/>
              <a:defRPr sz="4115"/>
            </a:lvl5pPr>
            <a:lvl6pPr lvl="5" rtl="0">
              <a:lnSpc>
                <a:spcPct val="100000"/>
              </a:lnSpc>
              <a:spcBef>
                <a:spcPts val="0"/>
              </a:spcBef>
              <a:spcAft>
                <a:spcPts val="0"/>
              </a:spcAft>
              <a:buSzPts val="2800"/>
              <a:buNone/>
              <a:defRPr sz="4115"/>
            </a:lvl6pPr>
            <a:lvl7pPr lvl="6" rtl="0">
              <a:lnSpc>
                <a:spcPct val="100000"/>
              </a:lnSpc>
              <a:spcBef>
                <a:spcPts val="0"/>
              </a:spcBef>
              <a:spcAft>
                <a:spcPts val="0"/>
              </a:spcAft>
              <a:buSzPts val="2800"/>
              <a:buNone/>
              <a:defRPr sz="4115"/>
            </a:lvl7pPr>
            <a:lvl8pPr lvl="7" rtl="0">
              <a:lnSpc>
                <a:spcPct val="100000"/>
              </a:lnSpc>
              <a:spcBef>
                <a:spcPts val="0"/>
              </a:spcBef>
              <a:spcAft>
                <a:spcPts val="0"/>
              </a:spcAft>
              <a:buSzPts val="2800"/>
              <a:buNone/>
              <a:defRPr sz="4115"/>
            </a:lvl8pPr>
            <a:lvl9pPr lvl="8" rtl="0">
              <a:lnSpc>
                <a:spcPct val="100000"/>
              </a:lnSpc>
              <a:spcBef>
                <a:spcPts val="0"/>
              </a:spcBef>
              <a:spcAft>
                <a:spcPts val="0"/>
              </a:spcAft>
              <a:buSzPts val="2800"/>
              <a:buNone/>
              <a:defRPr sz="4115"/>
            </a:lvl9pPr>
          </a:lstStyle>
          <a:p>
            <a:endParaRPr/>
          </a:p>
        </p:txBody>
      </p:sp>
    </p:spTree>
    <p:extLst>
      <p:ext uri="{BB962C8B-B14F-4D97-AF65-F5344CB8AC3E}">
        <p14:creationId xmlns:p14="http://schemas.microsoft.com/office/powerpoint/2010/main" val="24106843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0_Market Overview">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C626A5-4FF6-42BD-858A-AE4B2C23A6BC}"/>
              </a:ext>
            </a:extLst>
          </p:cNvPr>
          <p:cNvSpPr>
            <a:spLocks noGrp="1"/>
          </p:cNvSpPr>
          <p:nvPr>
            <p:ph type="title"/>
          </p:nvPr>
        </p:nvSpPr>
        <p:spPr>
          <a:xfrm>
            <a:off x="923985" y="402488"/>
            <a:ext cx="11591806" cy="757839"/>
          </a:xfrm>
          <a:prstGeom prst="rect">
            <a:avLst/>
          </a:prstGeom>
        </p:spPr>
        <p:txBody>
          <a:bodyPr/>
          <a:lstStyle>
            <a:lvl1pPr algn="ctr">
              <a:defRPr baseline="0">
                <a:solidFill>
                  <a:schemeClr val="tx1"/>
                </a:solidFill>
              </a:defRPr>
            </a:lvl1pPr>
          </a:lstStyle>
          <a:p>
            <a:r>
              <a:rPr lang="en-US" noProof="0"/>
              <a:t>Click to edit Master title style</a:t>
            </a:r>
          </a:p>
        </p:txBody>
      </p:sp>
      <p:sp>
        <p:nvSpPr>
          <p:cNvPr id="16" name="Text Placeholder 3">
            <a:extLst>
              <a:ext uri="{FF2B5EF4-FFF2-40B4-BE49-F238E27FC236}">
                <a16:creationId xmlns:a16="http://schemas.microsoft.com/office/drawing/2014/main" id="{3A5BA28D-2313-499F-93AB-7C86B0305709}"/>
              </a:ext>
            </a:extLst>
          </p:cNvPr>
          <p:cNvSpPr>
            <a:spLocks noGrp="1"/>
          </p:cNvSpPr>
          <p:nvPr>
            <p:ph type="body" sz="quarter" idx="30" hasCustomPrompt="1"/>
          </p:nvPr>
        </p:nvSpPr>
        <p:spPr>
          <a:xfrm>
            <a:off x="1071520" y="2574808"/>
            <a:ext cx="2015968" cy="1511936"/>
          </a:xfrm>
          <a:prstGeom prst="rect">
            <a:avLst/>
          </a:prstGeom>
          <a:noFill/>
          <a:ln w="22225">
            <a:solidFill>
              <a:schemeClr val="tx2"/>
            </a:solidFill>
          </a:ln>
        </p:spPr>
        <p:txBody>
          <a:bodyPr anchor="ctr" anchorCtr="1">
            <a:normAutofit/>
          </a:bodyPr>
          <a:lstStyle>
            <a:lvl1pPr marL="0" indent="0" algn="ctr">
              <a:spcBef>
                <a:spcPts val="0"/>
              </a:spcBef>
              <a:spcAft>
                <a:spcPts val="0"/>
              </a:spcAft>
              <a:buNone/>
              <a:defRPr sz="3091" b="1">
                <a:solidFill>
                  <a:schemeClr val="tx1"/>
                </a:solidFill>
                <a:latin typeface="+mj-lt"/>
              </a:defRPr>
            </a:lvl1pPr>
            <a:lvl2pPr marL="294022" indent="0">
              <a:buNone/>
              <a:defRPr/>
            </a:lvl2pPr>
            <a:lvl3pPr marL="598536" indent="0">
              <a:buNone/>
              <a:defRPr/>
            </a:lvl3pPr>
            <a:lvl4pPr marL="892557" indent="0">
              <a:buNone/>
              <a:defRPr/>
            </a:lvl4pPr>
            <a:lvl5pPr marL="1186580" indent="0">
              <a:buNone/>
              <a:defRPr/>
            </a:lvl5pPr>
          </a:lstStyle>
          <a:p>
            <a:pPr lvl="0"/>
            <a:r>
              <a:rPr lang="en-US" noProof="0"/>
              <a:t>1</a:t>
            </a:r>
          </a:p>
        </p:txBody>
      </p:sp>
      <p:sp>
        <p:nvSpPr>
          <p:cNvPr id="9" name="Text Placeholder 8">
            <a:extLst>
              <a:ext uri="{FF2B5EF4-FFF2-40B4-BE49-F238E27FC236}">
                <a16:creationId xmlns:a16="http://schemas.microsoft.com/office/drawing/2014/main" id="{3BAE6588-4D08-448D-B294-A47E7AAC339B}"/>
              </a:ext>
            </a:extLst>
          </p:cNvPr>
          <p:cNvSpPr>
            <a:spLocks noGrp="1"/>
          </p:cNvSpPr>
          <p:nvPr>
            <p:ph type="body" sz="quarter" idx="35" hasCustomPrompt="1"/>
          </p:nvPr>
        </p:nvSpPr>
        <p:spPr>
          <a:xfrm>
            <a:off x="1071520" y="4339120"/>
            <a:ext cx="2015968" cy="1765674"/>
          </a:xfrm>
          <a:prstGeom prst="rect">
            <a:avLst/>
          </a:prstGeom>
        </p:spPr>
        <p:txBody>
          <a:bodyPr>
            <a:normAutofit/>
          </a:bodyPr>
          <a:lstStyle>
            <a:lvl1pPr marL="0" indent="0" algn="ctr">
              <a:lnSpc>
                <a:spcPts val="2649"/>
              </a:lnSpc>
              <a:buNone/>
              <a:defRPr sz="1547"/>
            </a:lvl1pPr>
            <a:lvl2pPr marL="504031" indent="0">
              <a:buNone/>
              <a:defRPr sz="1763"/>
            </a:lvl2pPr>
            <a:lvl3pPr marL="1008063" indent="0">
              <a:buNone/>
              <a:defRPr sz="1763"/>
            </a:lvl3pPr>
            <a:lvl4pPr marL="1512094" indent="0">
              <a:buNone/>
              <a:defRPr sz="1763"/>
            </a:lvl4pPr>
            <a:lvl5pPr marL="2016127" indent="0">
              <a:buNone/>
              <a:defRPr sz="1763"/>
            </a:lvl5pPr>
          </a:lstStyle>
          <a:p>
            <a:pPr lvl="0"/>
            <a:r>
              <a:rPr lang="en-US" noProof="0"/>
              <a:t>Click to add text</a:t>
            </a:r>
          </a:p>
        </p:txBody>
      </p:sp>
      <p:sp>
        <p:nvSpPr>
          <p:cNvPr id="17" name="Text Placeholder 9">
            <a:extLst>
              <a:ext uri="{FF2B5EF4-FFF2-40B4-BE49-F238E27FC236}">
                <a16:creationId xmlns:a16="http://schemas.microsoft.com/office/drawing/2014/main" id="{4E9F4FE1-F54C-4B3C-9CED-6C3058B00352}"/>
              </a:ext>
            </a:extLst>
          </p:cNvPr>
          <p:cNvSpPr>
            <a:spLocks noGrp="1"/>
          </p:cNvSpPr>
          <p:nvPr>
            <p:ph type="body" sz="quarter" idx="31" hasCustomPrompt="1"/>
          </p:nvPr>
        </p:nvSpPr>
        <p:spPr>
          <a:xfrm>
            <a:off x="3382090" y="2570390"/>
            <a:ext cx="2015968" cy="1511935"/>
          </a:xfrm>
          <a:prstGeom prst="rect">
            <a:avLst/>
          </a:prstGeom>
          <a:noFill/>
          <a:ln w="22225">
            <a:solidFill>
              <a:schemeClr val="accent2"/>
            </a:solidFill>
          </a:ln>
        </p:spPr>
        <p:txBody>
          <a:bodyPr vert="horz" lIns="0" tIns="0" rIns="0" bIns="0" rtlCol="0" anchor="ctr" anchorCtr="1">
            <a:noAutofit/>
          </a:bodyPr>
          <a:lstStyle>
            <a:lvl1pPr marL="0" indent="0" algn="ctr">
              <a:spcBef>
                <a:spcPts val="0"/>
              </a:spcBef>
              <a:spcAft>
                <a:spcPts val="0"/>
              </a:spcAft>
              <a:buNone/>
              <a:defRPr lang="en-ZA" sz="3091" b="1" dirty="0">
                <a:solidFill>
                  <a:schemeClr val="tx1"/>
                </a:solidFill>
                <a:latin typeface="+mj-lt"/>
              </a:defRPr>
            </a:lvl1pPr>
          </a:lstStyle>
          <a:p>
            <a:pPr marL="294022" lvl="0" indent="-294022" algn="ctr"/>
            <a:r>
              <a:rPr lang="en-US" noProof="0"/>
              <a:t>2</a:t>
            </a:r>
          </a:p>
        </p:txBody>
      </p:sp>
      <p:sp>
        <p:nvSpPr>
          <p:cNvPr id="20" name="Text Placeholder 5">
            <a:extLst>
              <a:ext uri="{FF2B5EF4-FFF2-40B4-BE49-F238E27FC236}">
                <a16:creationId xmlns:a16="http://schemas.microsoft.com/office/drawing/2014/main" id="{7488A707-03CD-495D-B761-9F9DAE92C6CA}"/>
              </a:ext>
            </a:extLst>
          </p:cNvPr>
          <p:cNvSpPr>
            <a:spLocks noGrp="1"/>
          </p:cNvSpPr>
          <p:nvPr>
            <p:ph type="body" sz="quarter" idx="12" hasCustomPrompt="1"/>
          </p:nvPr>
        </p:nvSpPr>
        <p:spPr>
          <a:xfrm>
            <a:off x="3391609" y="4339122"/>
            <a:ext cx="2015968" cy="1790476"/>
          </a:xfrm>
          <a:prstGeom prst="rect">
            <a:avLst/>
          </a:prstGeom>
        </p:spPr>
        <p:txBody>
          <a:bodyPr>
            <a:normAutofit/>
          </a:bodyPr>
          <a:lstStyle>
            <a:lvl1pPr marL="0" indent="0" algn="ctr">
              <a:lnSpc>
                <a:spcPts val="2649"/>
              </a:lnSpc>
              <a:buFont typeface="Arial" panose="020B0604020202020204" pitchFamily="34" charset="0"/>
              <a:buNone/>
              <a:defRPr sz="1547">
                <a:solidFill>
                  <a:schemeClr val="tx1"/>
                </a:solidFill>
              </a:defRPr>
            </a:lvl1pPr>
          </a:lstStyle>
          <a:p>
            <a:pPr lvl="0"/>
            <a:r>
              <a:rPr lang="en-US" noProof="0"/>
              <a:t>Click to add text</a:t>
            </a:r>
          </a:p>
        </p:txBody>
      </p:sp>
      <p:sp>
        <p:nvSpPr>
          <p:cNvPr id="18" name="Text Placeholder 9">
            <a:extLst>
              <a:ext uri="{FF2B5EF4-FFF2-40B4-BE49-F238E27FC236}">
                <a16:creationId xmlns:a16="http://schemas.microsoft.com/office/drawing/2014/main" id="{26328AB3-6C8E-4BB6-9C01-852150BDFE17}"/>
              </a:ext>
            </a:extLst>
          </p:cNvPr>
          <p:cNvSpPr>
            <a:spLocks noGrp="1"/>
          </p:cNvSpPr>
          <p:nvPr>
            <p:ph type="body" sz="quarter" idx="33" hasCustomPrompt="1"/>
          </p:nvPr>
        </p:nvSpPr>
        <p:spPr>
          <a:xfrm>
            <a:off x="5711697" y="2570389"/>
            <a:ext cx="2015968" cy="1511936"/>
          </a:xfrm>
          <a:prstGeom prst="rect">
            <a:avLst/>
          </a:prstGeom>
          <a:noFill/>
          <a:ln w="22225">
            <a:solidFill>
              <a:schemeClr val="accent4"/>
            </a:solidFill>
          </a:ln>
        </p:spPr>
        <p:txBody>
          <a:bodyPr vert="horz" lIns="0" tIns="0" rIns="0" bIns="0" rtlCol="0" anchor="ctr" anchorCtr="1">
            <a:noAutofit/>
          </a:bodyPr>
          <a:lstStyle>
            <a:lvl1pPr marL="0" indent="0" algn="ctr">
              <a:spcBef>
                <a:spcPts val="0"/>
              </a:spcBef>
              <a:spcAft>
                <a:spcPts val="0"/>
              </a:spcAft>
              <a:buNone/>
              <a:defRPr lang="en-ZA" sz="3091" b="1" dirty="0">
                <a:solidFill>
                  <a:schemeClr val="tx1"/>
                </a:solidFill>
                <a:latin typeface="+mj-lt"/>
              </a:defRPr>
            </a:lvl1pPr>
          </a:lstStyle>
          <a:p>
            <a:pPr marL="294022" lvl="0" indent="-294022" algn="ctr"/>
            <a:r>
              <a:rPr lang="en-US" noProof="0"/>
              <a:t>3</a:t>
            </a:r>
          </a:p>
        </p:txBody>
      </p:sp>
      <p:sp>
        <p:nvSpPr>
          <p:cNvPr id="21" name="Text Placeholder 9">
            <a:extLst>
              <a:ext uri="{FF2B5EF4-FFF2-40B4-BE49-F238E27FC236}">
                <a16:creationId xmlns:a16="http://schemas.microsoft.com/office/drawing/2014/main" id="{99A33CFC-3C95-43CD-92E8-05A5E6D98559}"/>
              </a:ext>
            </a:extLst>
          </p:cNvPr>
          <p:cNvSpPr>
            <a:spLocks noGrp="1"/>
          </p:cNvSpPr>
          <p:nvPr>
            <p:ph type="body" sz="quarter" idx="13" hasCustomPrompt="1"/>
          </p:nvPr>
        </p:nvSpPr>
        <p:spPr>
          <a:xfrm>
            <a:off x="5711697" y="4365672"/>
            <a:ext cx="2015968" cy="1763925"/>
          </a:xfrm>
          <a:prstGeom prst="rect">
            <a:avLst/>
          </a:prstGeom>
        </p:spPr>
        <p:txBody>
          <a:bodyPr>
            <a:normAutofit/>
          </a:bodyPr>
          <a:lstStyle>
            <a:lvl1pPr marL="0" indent="0" algn="ctr">
              <a:lnSpc>
                <a:spcPts val="2649"/>
              </a:lnSpc>
              <a:buFont typeface="Arial" panose="020B0604020202020204" pitchFamily="34" charset="0"/>
              <a:buNone/>
              <a:defRPr sz="1547">
                <a:solidFill>
                  <a:schemeClr val="tx1"/>
                </a:solidFill>
              </a:defRPr>
            </a:lvl1pPr>
          </a:lstStyle>
          <a:p>
            <a:pPr lvl="0"/>
            <a:r>
              <a:rPr lang="en-US" noProof="0"/>
              <a:t>Click to add text</a:t>
            </a:r>
          </a:p>
        </p:txBody>
      </p:sp>
      <p:sp>
        <p:nvSpPr>
          <p:cNvPr id="10" name="Rectangle 9">
            <a:extLst>
              <a:ext uri="{FF2B5EF4-FFF2-40B4-BE49-F238E27FC236}">
                <a16:creationId xmlns:a16="http://schemas.microsoft.com/office/drawing/2014/main" id="{3D448392-0672-4AC1-B5D6-3374FB36C9DC}"/>
              </a:ext>
              <a:ext uri="{C183D7F6-B498-43B3-948B-1728B52AA6E4}">
                <adec:decorative xmlns:adec="http://schemas.microsoft.com/office/drawing/2017/decorative" val="1"/>
              </a:ext>
            </a:extLst>
          </p:cNvPr>
          <p:cNvSpPr/>
          <p:nvPr userDrawn="1"/>
        </p:nvSpPr>
        <p:spPr>
          <a:xfrm>
            <a:off x="-5737" y="6560885"/>
            <a:ext cx="13463578" cy="1034205"/>
          </a:xfrm>
          <a:custGeom>
            <a:avLst/>
            <a:gdLst>
              <a:gd name="connsiteX0" fmla="*/ 0 w 12192000"/>
              <a:gd name="connsiteY0" fmla="*/ 0 h 914400"/>
              <a:gd name="connsiteX1" fmla="*/ 12192000 w 12192000"/>
              <a:gd name="connsiteY1" fmla="*/ 0 h 914400"/>
              <a:gd name="connsiteX2" fmla="*/ 12192000 w 12192000"/>
              <a:gd name="connsiteY2" fmla="*/ 914400 h 914400"/>
              <a:gd name="connsiteX3" fmla="*/ 0 w 12192000"/>
              <a:gd name="connsiteY3" fmla="*/ 914400 h 914400"/>
              <a:gd name="connsiteX4" fmla="*/ 0 w 12192000"/>
              <a:gd name="connsiteY4" fmla="*/ 0 h 914400"/>
              <a:gd name="connsiteX0" fmla="*/ 0 w 12228095"/>
              <a:gd name="connsiteY0" fmla="*/ 457200 h 914400"/>
              <a:gd name="connsiteX1" fmla="*/ 12228095 w 12228095"/>
              <a:gd name="connsiteY1" fmla="*/ 0 h 914400"/>
              <a:gd name="connsiteX2" fmla="*/ 12228095 w 12228095"/>
              <a:gd name="connsiteY2" fmla="*/ 914400 h 914400"/>
              <a:gd name="connsiteX3" fmla="*/ 36095 w 12228095"/>
              <a:gd name="connsiteY3" fmla="*/ 914400 h 914400"/>
              <a:gd name="connsiteX4" fmla="*/ 0 w 12228095"/>
              <a:gd name="connsiteY4" fmla="*/ 457200 h 914400"/>
              <a:gd name="connsiteX0" fmla="*/ 11652 w 12239747"/>
              <a:gd name="connsiteY0" fmla="*/ 457200 h 938212"/>
              <a:gd name="connsiteX1" fmla="*/ 12239747 w 12239747"/>
              <a:gd name="connsiteY1" fmla="*/ 0 h 938212"/>
              <a:gd name="connsiteX2" fmla="*/ 12239747 w 12239747"/>
              <a:gd name="connsiteY2" fmla="*/ 914400 h 938212"/>
              <a:gd name="connsiteX3" fmla="*/ 0 w 12239747"/>
              <a:gd name="connsiteY3" fmla="*/ 938212 h 938212"/>
              <a:gd name="connsiteX4" fmla="*/ 11652 w 12239747"/>
              <a:gd name="connsiteY4" fmla="*/ 457200 h 938212"/>
              <a:gd name="connsiteX0" fmla="*/ 0 w 12251968"/>
              <a:gd name="connsiteY0" fmla="*/ 438150 h 938212"/>
              <a:gd name="connsiteX1" fmla="*/ 12251968 w 12251968"/>
              <a:gd name="connsiteY1" fmla="*/ 0 h 938212"/>
              <a:gd name="connsiteX2" fmla="*/ 12251968 w 12251968"/>
              <a:gd name="connsiteY2" fmla="*/ 914400 h 938212"/>
              <a:gd name="connsiteX3" fmla="*/ 12221 w 12251968"/>
              <a:gd name="connsiteY3" fmla="*/ 938212 h 938212"/>
              <a:gd name="connsiteX4" fmla="*/ 0 w 12251968"/>
              <a:gd name="connsiteY4" fmla="*/ 438150 h 938212"/>
              <a:gd name="connsiteX0" fmla="*/ 0 w 12275842"/>
              <a:gd name="connsiteY0" fmla="*/ 438150 h 938212"/>
              <a:gd name="connsiteX1" fmla="*/ 12275842 w 12275842"/>
              <a:gd name="connsiteY1" fmla="*/ 0 h 938212"/>
              <a:gd name="connsiteX2" fmla="*/ 12275842 w 12275842"/>
              <a:gd name="connsiteY2" fmla="*/ 914400 h 938212"/>
              <a:gd name="connsiteX3" fmla="*/ 36095 w 12275842"/>
              <a:gd name="connsiteY3" fmla="*/ 938212 h 938212"/>
              <a:gd name="connsiteX4" fmla="*/ 0 w 12275842"/>
              <a:gd name="connsiteY4" fmla="*/ 438150 h 938212"/>
              <a:gd name="connsiteX0" fmla="*/ 11652 w 12239747"/>
              <a:gd name="connsiteY0" fmla="*/ 438150 h 938212"/>
              <a:gd name="connsiteX1" fmla="*/ 12239747 w 12239747"/>
              <a:gd name="connsiteY1" fmla="*/ 0 h 938212"/>
              <a:gd name="connsiteX2" fmla="*/ 12239747 w 12239747"/>
              <a:gd name="connsiteY2" fmla="*/ 914400 h 938212"/>
              <a:gd name="connsiteX3" fmla="*/ 0 w 12239747"/>
              <a:gd name="connsiteY3" fmla="*/ 938212 h 938212"/>
              <a:gd name="connsiteX4" fmla="*/ 11652 w 12239747"/>
              <a:gd name="connsiteY4" fmla="*/ 438150 h 938212"/>
              <a:gd name="connsiteX0" fmla="*/ 11652 w 12239747"/>
              <a:gd name="connsiteY0" fmla="*/ 438150 h 938212"/>
              <a:gd name="connsiteX1" fmla="*/ 12239747 w 12239747"/>
              <a:gd name="connsiteY1" fmla="*/ 0 h 938212"/>
              <a:gd name="connsiteX2" fmla="*/ 12239747 w 12239747"/>
              <a:gd name="connsiteY2" fmla="*/ 914400 h 938212"/>
              <a:gd name="connsiteX3" fmla="*/ 0 w 12239747"/>
              <a:gd name="connsiteY3" fmla="*/ 938212 h 938212"/>
              <a:gd name="connsiteX4" fmla="*/ 11652 w 12239747"/>
              <a:gd name="connsiteY4" fmla="*/ 438150 h 938212"/>
              <a:gd name="connsiteX0" fmla="*/ 0 w 12244968"/>
              <a:gd name="connsiteY0" fmla="*/ 421321 h 938212"/>
              <a:gd name="connsiteX1" fmla="*/ 12244968 w 12244968"/>
              <a:gd name="connsiteY1" fmla="*/ 0 h 938212"/>
              <a:gd name="connsiteX2" fmla="*/ 12244968 w 12244968"/>
              <a:gd name="connsiteY2" fmla="*/ 914400 h 938212"/>
              <a:gd name="connsiteX3" fmla="*/ 5221 w 12244968"/>
              <a:gd name="connsiteY3" fmla="*/ 938212 h 938212"/>
              <a:gd name="connsiteX4" fmla="*/ 0 w 12244968"/>
              <a:gd name="connsiteY4" fmla="*/ 421321 h 938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44968" h="938212">
                <a:moveTo>
                  <a:pt x="0" y="421321"/>
                </a:moveTo>
                <a:lnTo>
                  <a:pt x="12244968" y="0"/>
                </a:lnTo>
                <a:lnTo>
                  <a:pt x="12244968" y="914400"/>
                </a:lnTo>
                <a:lnTo>
                  <a:pt x="5221" y="938212"/>
                </a:lnTo>
                <a:cubicBezTo>
                  <a:pt x="3481" y="765915"/>
                  <a:pt x="1740" y="593618"/>
                  <a:pt x="0" y="421321"/>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29" noProof="0"/>
          </a:p>
        </p:txBody>
      </p:sp>
      <p:cxnSp>
        <p:nvCxnSpPr>
          <p:cNvPr id="11" name="Straight Connector 10">
            <a:extLst>
              <a:ext uri="{FF2B5EF4-FFF2-40B4-BE49-F238E27FC236}">
                <a16:creationId xmlns:a16="http://schemas.microsoft.com/office/drawing/2014/main" id="{20D1EE93-71F1-4386-A4E5-93A6CDA69EE0}"/>
              </a:ext>
              <a:ext uri="{C183D7F6-B498-43B3-948B-1728B52AA6E4}">
                <adec:decorative xmlns:adec="http://schemas.microsoft.com/office/drawing/2017/decorative" val="1"/>
              </a:ext>
            </a:extLst>
          </p:cNvPr>
          <p:cNvCxnSpPr>
            <a:cxnSpLocks/>
            <a:stCxn id="10" idx="1"/>
            <a:endCxn id="10" idx="0"/>
          </p:cNvCxnSpPr>
          <p:nvPr userDrawn="1"/>
        </p:nvCxnSpPr>
        <p:spPr>
          <a:xfrm flipH="1">
            <a:off x="-5737" y="6560885"/>
            <a:ext cx="13463578" cy="464429"/>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sp>
        <p:nvSpPr>
          <p:cNvPr id="24" name="Date Placeholder 2">
            <a:extLst>
              <a:ext uri="{FF2B5EF4-FFF2-40B4-BE49-F238E27FC236}">
                <a16:creationId xmlns:a16="http://schemas.microsoft.com/office/drawing/2014/main" id="{6B5940D2-EE07-4F75-9166-CBFF194C579B}"/>
              </a:ext>
            </a:extLst>
          </p:cNvPr>
          <p:cNvSpPr>
            <a:spLocks noGrp="1"/>
          </p:cNvSpPr>
          <p:nvPr>
            <p:ph type="dt" sz="half" idx="38"/>
          </p:nvPr>
        </p:nvSpPr>
        <p:spPr>
          <a:xfrm>
            <a:off x="923988" y="7006701"/>
            <a:ext cx="3023949" cy="402484"/>
          </a:xfrm>
          <a:prstGeom prst="rect">
            <a:avLst/>
          </a:prstGeom>
        </p:spPr>
        <p:txBody>
          <a:bodyPr/>
          <a:lstStyle>
            <a:lvl1pPr>
              <a:defRPr>
                <a:solidFill>
                  <a:schemeClr val="tx1"/>
                </a:solidFill>
              </a:defRPr>
            </a:lvl1pPr>
          </a:lstStyle>
          <a:p>
            <a:endParaRPr lang="en-US" noProof="0"/>
          </a:p>
        </p:txBody>
      </p:sp>
      <p:sp>
        <p:nvSpPr>
          <p:cNvPr id="6" name="Footer Placeholder 5">
            <a:extLst>
              <a:ext uri="{FF2B5EF4-FFF2-40B4-BE49-F238E27FC236}">
                <a16:creationId xmlns:a16="http://schemas.microsoft.com/office/drawing/2014/main" id="{29E5E346-F307-4307-949D-77CDB6E6577A}"/>
              </a:ext>
            </a:extLst>
          </p:cNvPr>
          <p:cNvSpPr>
            <a:spLocks noGrp="1"/>
          </p:cNvSpPr>
          <p:nvPr>
            <p:ph type="ftr" sz="quarter" idx="10"/>
          </p:nvPr>
        </p:nvSpPr>
        <p:spPr>
          <a:xfrm>
            <a:off x="4451927" y="7006701"/>
            <a:ext cx="4535925" cy="402484"/>
          </a:xfrm>
          <a:prstGeom prst="rect">
            <a:avLst/>
          </a:prstGeom>
        </p:spPr>
        <p:txBody>
          <a:bodyPr/>
          <a:lstStyle>
            <a:lvl1pPr>
              <a:defRPr>
                <a:solidFill>
                  <a:schemeClr val="tx1"/>
                </a:solidFill>
              </a:defRPr>
            </a:lvl1pPr>
          </a:lstStyle>
          <a:p>
            <a:endParaRPr lang="en-US" noProof="0"/>
          </a:p>
        </p:txBody>
      </p:sp>
      <p:sp>
        <p:nvSpPr>
          <p:cNvPr id="7" name="Slide Number Placeholder 6">
            <a:extLst>
              <a:ext uri="{FF2B5EF4-FFF2-40B4-BE49-F238E27FC236}">
                <a16:creationId xmlns:a16="http://schemas.microsoft.com/office/drawing/2014/main" id="{BB4446C0-A637-4726-88A6-815A6AB63B96}"/>
              </a:ext>
            </a:extLst>
          </p:cNvPr>
          <p:cNvSpPr>
            <a:spLocks noGrp="1"/>
          </p:cNvSpPr>
          <p:nvPr>
            <p:ph type="sldNum" sz="quarter" idx="11"/>
          </p:nvPr>
        </p:nvSpPr>
        <p:spPr>
          <a:xfrm>
            <a:off x="9491845" y="7006701"/>
            <a:ext cx="3023949" cy="402484"/>
          </a:xfrm>
          <a:prstGeom prst="rect">
            <a:avLst/>
          </a:prstGeom>
        </p:spPr>
        <p:txBody>
          <a:bodyPr/>
          <a:lstStyle>
            <a:lvl1pPr>
              <a:defRPr>
                <a:solidFill>
                  <a:schemeClr val="tx1"/>
                </a:solidFill>
              </a:defRPr>
            </a:lvl1pPr>
          </a:lstStyle>
          <a:p>
            <a:fld id="{19B51A1E-902D-48AF-9020-955120F399B6}" type="slidenum">
              <a:rPr lang="en-US" noProof="0" smtClean="0"/>
              <a:pPr/>
              <a:t>‹№›</a:t>
            </a:fld>
            <a:endParaRPr lang="en-US" noProof="0"/>
          </a:p>
        </p:txBody>
      </p:sp>
      <p:sp>
        <p:nvSpPr>
          <p:cNvPr id="3" name="Text Placeholder 3">
            <a:extLst>
              <a:ext uri="{FF2B5EF4-FFF2-40B4-BE49-F238E27FC236}">
                <a16:creationId xmlns:a16="http://schemas.microsoft.com/office/drawing/2014/main" id="{28A8FEFC-2506-A6AB-94F6-D8E4ACD879AB}"/>
              </a:ext>
            </a:extLst>
          </p:cNvPr>
          <p:cNvSpPr>
            <a:spLocks noGrp="1"/>
          </p:cNvSpPr>
          <p:nvPr>
            <p:ph type="body" sz="quarter" idx="39" hasCustomPrompt="1"/>
          </p:nvPr>
        </p:nvSpPr>
        <p:spPr>
          <a:xfrm>
            <a:off x="8052840" y="2572216"/>
            <a:ext cx="2015968" cy="1511936"/>
          </a:xfrm>
          <a:prstGeom prst="rect">
            <a:avLst/>
          </a:prstGeom>
          <a:noFill/>
          <a:ln w="22225">
            <a:solidFill>
              <a:schemeClr val="tx2"/>
            </a:solidFill>
          </a:ln>
        </p:spPr>
        <p:txBody>
          <a:bodyPr anchor="ctr" anchorCtr="1">
            <a:normAutofit/>
          </a:bodyPr>
          <a:lstStyle>
            <a:lvl1pPr marL="0" indent="0" algn="ctr">
              <a:spcBef>
                <a:spcPts val="0"/>
              </a:spcBef>
              <a:spcAft>
                <a:spcPts val="0"/>
              </a:spcAft>
              <a:buNone/>
              <a:defRPr sz="3091" b="1">
                <a:solidFill>
                  <a:schemeClr val="tx1"/>
                </a:solidFill>
                <a:latin typeface="+mj-lt"/>
              </a:defRPr>
            </a:lvl1pPr>
            <a:lvl2pPr marL="294022" indent="0">
              <a:buNone/>
              <a:defRPr/>
            </a:lvl2pPr>
            <a:lvl3pPr marL="598536" indent="0">
              <a:buNone/>
              <a:defRPr/>
            </a:lvl3pPr>
            <a:lvl4pPr marL="892557" indent="0">
              <a:buNone/>
              <a:defRPr/>
            </a:lvl4pPr>
            <a:lvl5pPr marL="1186580" indent="0">
              <a:buNone/>
              <a:defRPr/>
            </a:lvl5pPr>
          </a:lstStyle>
          <a:p>
            <a:pPr lvl="0"/>
            <a:r>
              <a:rPr lang="en-US" noProof="0"/>
              <a:t>1</a:t>
            </a:r>
          </a:p>
        </p:txBody>
      </p:sp>
      <p:sp>
        <p:nvSpPr>
          <p:cNvPr id="4" name="Text Placeholder 8">
            <a:extLst>
              <a:ext uri="{FF2B5EF4-FFF2-40B4-BE49-F238E27FC236}">
                <a16:creationId xmlns:a16="http://schemas.microsoft.com/office/drawing/2014/main" id="{C57F9D63-B68C-889A-F1DA-62B2D562FC44}"/>
              </a:ext>
            </a:extLst>
          </p:cNvPr>
          <p:cNvSpPr>
            <a:spLocks noGrp="1"/>
          </p:cNvSpPr>
          <p:nvPr>
            <p:ph type="body" sz="quarter" idx="40" hasCustomPrompt="1"/>
          </p:nvPr>
        </p:nvSpPr>
        <p:spPr>
          <a:xfrm>
            <a:off x="8052840" y="4336528"/>
            <a:ext cx="2015968" cy="1765674"/>
          </a:xfrm>
          <a:prstGeom prst="rect">
            <a:avLst/>
          </a:prstGeom>
        </p:spPr>
        <p:txBody>
          <a:bodyPr>
            <a:normAutofit/>
          </a:bodyPr>
          <a:lstStyle>
            <a:lvl1pPr marL="0" indent="0" algn="ctr">
              <a:lnSpc>
                <a:spcPts val="2649"/>
              </a:lnSpc>
              <a:buNone/>
              <a:defRPr sz="1547"/>
            </a:lvl1pPr>
            <a:lvl2pPr marL="504031" indent="0">
              <a:buNone/>
              <a:defRPr sz="1763"/>
            </a:lvl2pPr>
            <a:lvl3pPr marL="1008063" indent="0">
              <a:buNone/>
              <a:defRPr sz="1763"/>
            </a:lvl3pPr>
            <a:lvl4pPr marL="1512094" indent="0">
              <a:buNone/>
              <a:defRPr sz="1763"/>
            </a:lvl4pPr>
            <a:lvl5pPr marL="2016127" indent="0">
              <a:buNone/>
              <a:defRPr sz="1763"/>
            </a:lvl5pPr>
          </a:lstStyle>
          <a:p>
            <a:pPr lvl="0"/>
            <a:r>
              <a:rPr lang="en-US" noProof="0"/>
              <a:t>Click to add text</a:t>
            </a:r>
          </a:p>
        </p:txBody>
      </p:sp>
      <p:sp>
        <p:nvSpPr>
          <p:cNvPr id="5" name="Text Placeholder 3">
            <a:extLst>
              <a:ext uri="{FF2B5EF4-FFF2-40B4-BE49-F238E27FC236}">
                <a16:creationId xmlns:a16="http://schemas.microsoft.com/office/drawing/2014/main" id="{DB534829-F330-5CA8-1979-D041183A52F0}"/>
              </a:ext>
            </a:extLst>
          </p:cNvPr>
          <p:cNvSpPr>
            <a:spLocks noGrp="1"/>
          </p:cNvSpPr>
          <p:nvPr>
            <p:ph type="body" sz="quarter" idx="41" hasCustomPrompt="1"/>
          </p:nvPr>
        </p:nvSpPr>
        <p:spPr>
          <a:xfrm>
            <a:off x="10363407" y="2570388"/>
            <a:ext cx="2015968" cy="1511936"/>
          </a:xfrm>
          <a:prstGeom prst="rect">
            <a:avLst/>
          </a:prstGeom>
          <a:noFill/>
          <a:ln w="22225">
            <a:solidFill>
              <a:schemeClr val="tx2"/>
            </a:solidFill>
          </a:ln>
        </p:spPr>
        <p:txBody>
          <a:bodyPr anchor="ctr" anchorCtr="1">
            <a:normAutofit/>
          </a:bodyPr>
          <a:lstStyle>
            <a:lvl1pPr marL="0" indent="0" algn="ctr">
              <a:spcBef>
                <a:spcPts val="0"/>
              </a:spcBef>
              <a:spcAft>
                <a:spcPts val="0"/>
              </a:spcAft>
              <a:buNone/>
              <a:defRPr sz="3091" b="1">
                <a:solidFill>
                  <a:schemeClr val="tx1"/>
                </a:solidFill>
                <a:latin typeface="+mj-lt"/>
              </a:defRPr>
            </a:lvl1pPr>
            <a:lvl2pPr marL="294022" indent="0">
              <a:buNone/>
              <a:defRPr/>
            </a:lvl2pPr>
            <a:lvl3pPr marL="598536" indent="0">
              <a:buNone/>
              <a:defRPr/>
            </a:lvl3pPr>
            <a:lvl4pPr marL="892557" indent="0">
              <a:buNone/>
              <a:defRPr/>
            </a:lvl4pPr>
            <a:lvl5pPr marL="1186580" indent="0">
              <a:buNone/>
              <a:defRPr/>
            </a:lvl5pPr>
          </a:lstStyle>
          <a:p>
            <a:pPr lvl="0"/>
            <a:r>
              <a:rPr lang="en-US" noProof="0"/>
              <a:t>1</a:t>
            </a:r>
          </a:p>
        </p:txBody>
      </p:sp>
      <p:sp>
        <p:nvSpPr>
          <p:cNvPr id="8" name="Text Placeholder 8">
            <a:extLst>
              <a:ext uri="{FF2B5EF4-FFF2-40B4-BE49-F238E27FC236}">
                <a16:creationId xmlns:a16="http://schemas.microsoft.com/office/drawing/2014/main" id="{FC128571-E576-C73C-B57B-A4A5FDED7114}"/>
              </a:ext>
            </a:extLst>
          </p:cNvPr>
          <p:cNvSpPr>
            <a:spLocks noGrp="1"/>
          </p:cNvSpPr>
          <p:nvPr>
            <p:ph type="body" sz="quarter" idx="42" hasCustomPrompt="1"/>
          </p:nvPr>
        </p:nvSpPr>
        <p:spPr>
          <a:xfrm>
            <a:off x="10363407" y="4334697"/>
            <a:ext cx="2015968" cy="1765674"/>
          </a:xfrm>
          <a:prstGeom prst="rect">
            <a:avLst/>
          </a:prstGeom>
        </p:spPr>
        <p:txBody>
          <a:bodyPr>
            <a:normAutofit/>
          </a:bodyPr>
          <a:lstStyle>
            <a:lvl1pPr marL="0" indent="0" algn="ctr">
              <a:lnSpc>
                <a:spcPts val="2649"/>
              </a:lnSpc>
              <a:buNone/>
              <a:defRPr sz="1547"/>
            </a:lvl1pPr>
            <a:lvl2pPr marL="504031" indent="0">
              <a:buNone/>
              <a:defRPr sz="1763"/>
            </a:lvl2pPr>
            <a:lvl3pPr marL="1008063" indent="0">
              <a:buNone/>
              <a:defRPr sz="1763"/>
            </a:lvl3pPr>
            <a:lvl4pPr marL="1512094" indent="0">
              <a:buNone/>
              <a:defRPr sz="1763"/>
            </a:lvl4pPr>
            <a:lvl5pPr marL="2016127" indent="0">
              <a:buNone/>
              <a:defRPr sz="1763"/>
            </a:lvl5pPr>
          </a:lstStyle>
          <a:p>
            <a:pPr lvl="0"/>
            <a:r>
              <a:rPr lang="en-US" noProof="0"/>
              <a:t>Click to add text</a:t>
            </a:r>
          </a:p>
        </p:txBody>
      </p:sp>
      <p:sp>
        <p:nvSpPr>
          <p:cNvPr id="12" name="Text Placeholder 2">
            <a:extLst>
              <a:ext uri="{FF2B5EF4-FFF2-40B4-BE49-F238E27FC236}">
                <a16:creationId xmlns:a16="http://schemas.microsoft.com/office/drawing/2014/main" id="{2E841488-8F00-3EDF-71BA-6C91383776AB}"/>
              </a:ext>
            </a:extLst>
          </p:cNvPr>
          <p:cNvSpPr>
            <a:spLocks noGrp="1"/>
          </p:cNvSpPr>
          <p:nvPr>
            <p:ph type="body" idx="1" hasCustomPrompt="1"/>
          </p:nvPr>
        </p:nvSpPr>
        <p:spPr>
          <a:xfrm>
            <a:off x="923987" y="1274791"/>
            <a:ext cx="11687526" cy="719970"/>
          </a:xfrm>
          <a:prstGeom prst="rect">
            <a:avLst/>
          </a:prstGeom>
        </p:spPr>
        <p:txBody>
          <a:bodyPr anchor="ctr" anchorCtr="0">
            <a:noAutofit/>
          </a:bodyPr>
          <a:lstStyle>
            <a:lvl1pPr marL="0" indent="0" algn="ctr">
              <a:buNone/>
              <a:defRPr sz="1989" b="0" cap="all" baseline="0">
                <a:solidFill>
                  <a:schemeClr val="bg1">
                    <a:lumMod val="50000"/>
                  </a:schemeClr>
                </a:solidFill>
                <a:latin typeface="+mj-lt"/>
              </a:defRPr>
            </a:lvl1pPr>
            <a:lvl2pPr marL="504031" indent="0">
              <a:buNone/>
              <a:defRPr sz="2207" b="1"/>
            </a:lvl2pPr>
            <a:lvl3pPr marL="1008063" indent="0">
              <a:buNone/>
              <a:defRPr sz="1989" b="1"/>
            </a:lvl3pPr>
            <a:lvl4pPr marL="1512094" indent="0">
              <a:buNone/>
              <a:defRPr sz="1763" b="1"/>
            </a:lvl4pPr>
            <a:lvl5pPr marL="2016127" indent="0">
              <a:buNone/>
              <a:defRPr sz="1763" b="1"/>
            </a:lvl5pPr>
            <a:lvl6pPr marL="2520158" indent="0">
              <a:buNone/>
              <a:defRPr sz="1763" b="1"/>
            </a:lvl6pPr>
            <a:lvl7pPr marL="3024189" indent="0">
              <a:buNone/>
              <a:defRPr sz="1763" b="1"/>
            </a:lvl7pPr>
            <a:lvl8pPr marL="3528219" indent="0">
              <a:buNone/>
              <a:defRPr sz="1763" b="1"/>
            </a:lvl8pPr>
            <a:lvl9pPr marL="4032251" indent="0">
              <a:buNone/>
              <a:defRPr sz="1763" b="1"/>
            </a:lvl9pPr>
          </a:lstStyle>
          <a:p>
            <a:pPr lvl="0"/>
            <a:r>
              <a:rPr lang="en-US"/>
              <a:t>CLICK TO add text</a:t>
            </a:r>
          </a:p>
        </p:txBody>
      </p:sp>
    </p:spTree>
    <p:extLst>
      <p:ext uri="{BB962C8B-B14F-4D97-AF65-F5344CB8AC3E}">
        <p14:creationId xmlns:p14="http://schemas.microsoft.com/office/powerpoint/2010/main" val="71825672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0_Market 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C626A5-4FF6-42BD-858A-AE4B2C23A6BC}"/>
              </a:ext>
            </a:extLst>
          </p:cNvPr>
          <p:cNvSpPr>
            <a:spLocks noGrp="1"/>
          </p:cNvSpPr>
          <p:nvPr>
            <p:ph type="title" hasCustomPrompt="1"/>
          </p:nvPr>
        </p:nvSpPr>
        <p:spPr>
          <a:xfrm>
            <a:off x="923985" y="402485"/>
            <a:ext cx="11591806" cy="1461189"/>
          </a:xfrm>
          <a:prstGeom prst="rect">
            <a:avLst/>
          </a:prstGeom>
        </p:spPr>
        <p:txBody>
          <a:bodyPr/>
          <a:lstStyle>
            <a:lvl1pPr algn="ctr">
              <a:defRPr cap="all" baseline="0">
                <a:solidFill>
                  <a:schemeClr val="tx1"/>
                </a:solidFill>
              </a:defRPr>
            </a:lvl1pPr>
          </a:lstStyle>
          <a:p>
            <a:r>
              <a:rPr lang="en-US" noProof="0"/>
              <a:t>CLICK TO add TITLE</a:t>
            </a:r>
          </a:p>
        </p:txBody>
      </p:sp>
      <p:sp>
        <p:nvSpPr>
          <p:cNvPr id="16" name="Text Placeholder 3">
            <a:extLst>
              <a:ext uri="{FF2B5EF4-FFF2-40B4-BE49-F238E27FC236}">
                <a16:creationId xmlns:a16="http://schemas.microsoft.com/office/drawing/2014/main" id="{3A5BA28D-2313-499F-93AB-7C86B0305709}"/>
              </a:ext>
            </a:extLst>
          </p:cNvPr>
          <p:cNvSpPr>
            <a:spLocks noGrp="1"/>
          </p:cNvSpPr>
          <p:nvPr>
            <p:ph type="body" sz="quarter" idx="30" hasCustomPrompt="1"/>
          </p:nvPr>
        </p:nvSpPr>
        <p:spPr>
          <a:xfrm>
            <a:off x="1842681" y="2369049"/>
            <a:ext cx="3023949" cy="3306098"/>
          </a:xfrm>
          <a:prstGeom prst="rect">
            <a:avLst/>
          </a:prstGeom>
          <a:solidFill>
            <a:schemeClr val="accent1"/>
          </a:solidFill>
          <a:ln w="22225">
            <a:solidFill>
              <a:schemeClr val="tx1"/>
            </a:solidFill>
          </a:ln>
        </p:spPr>
        <p:txBody>
          <a:bodyPr tIns="621792" anchor="t" anchorCtr="0">
            <a:normAutofit/>
          </a:bodyPr>
          <a:lstStyle>
            <a:lvl1pPr marL="0" indent="0" algn="ctr">
              <a:spcBef>
                <a:spcPts val="0"/>
              </a:spcBef>
              <a:spcAft>
                <a:spcPts val="0"/>
              </a:spcAft>
              <a:buNone/>
              <a:defRPr sz="4184" b="1">
                <a:solidFill>
                  <a:schemeClr val="tx1"/>
                </a:solidFill>
                <a:latin typeface="+mj-lt"/>
              </a:defRPr>
            </a:lvl1pPr>
            <a:lvl2pPr marL="294022" indent="0">
              <a:buNone/>
              <a:defRPr/>
            </a:lvl2pPr>
            <a:lvl3pPr marL="598536" indent="0">
              <a:buNone/>
              <a:defRPr/>
            </a:lvl3pPr>
            <a:lvl4pPr marL="892557" indent="0">
              <a:buNone/>
              <a:defRPr/>
            </a:lvl4pPr>
            <a:lvl5pPr marL="1186580" indent="0">
              <a:buNone/>
              <a:defRPr/>
            </a:lvl5pPr>
          </a:lstStyle>
          <a:p>
            <a:pPr lvl="0"/>
            <a:r>
              <a:rPr lang="en-US" noProof="0"/>
              <a:t>1</a:t>
            </a:r>
          </a:p>
        </p:txBody>
      </p:sp>
      <p:sp>
        <p:nvSpPr>
          <p:cNvPr id="4" name="Text Placeholder 3">
            <a:extLst>
              <a:ext uri="{FF2B5EF4-FFF2-40B4-BE49-F238E27FC236}">
                <a16:creationId xmlns:a16="http://schemas.microsoft.com/office/drawing/2014/main" id="{B0481AD7-A873-4BA1-A500-D8FF0F229879}"/>
              </a:ext>
            </a:extLst>
          </p:cNvPr>
          <p:cNvSpPr>
            <a:spLocks noGrp="1"/>
          </p:cNvSpPr>
          <p:nvPr>
            <p:ph type="body" sz="quarter" idx="34" hasCustomPrompt="1"/>
          </p:nvPr>
        </p:nvSpPr>
        <p:spPr>
          <a:xfrm>
            <a:off x="2097867" y="3870557"/>
            <a:ext cx="2519958" cy="806365"/>
          </a:xfrm>
          <a:prstGeom prst="rect">
            <a:avLst/>
          </a:prstGeom>
        </p:spPr>
        <p:txBody>
          <a:bodyPr>
            <a:noAutofit/>
          </a:bodyPr>
          <a:lstStyle>
            <a:lvl1pPr marL="0" indent="0" algn="ctr">
              <a:lnSpc>
                <a:spcPct val="100000"/>
              </a:lnSpc>
              <a:spcBef>
                <a:spcPts val="0"/>
              </a:spcBef>
              <a:buNone/>
              <a:defRPr sz="1989" b="0" cap="all" baseline="0">
                <a:solidFill>
                  <a:schemeClr val="tx1"/>
                </a:solidFill>
                <a:latin typeface="+mj-lt"/>
              </a:defRPr>
            </a:lvl1pPr>
            <a:lvl2pPr marL="504031" indent="0">
              <a:buNone/>
              <a:defRPr sz="1989"/>
            </a:lvl2pPr>
            <a:lvl3pPr marL="1008063" indent="0">
              <a:buNone/>
              <a:defRPr sz="1989"/>
            </a:lvl3pPr>
            <a:lvl4pPr marL="1512094" indent="0">
              <a:buNone/>
              <a:defRPr sz="1989"/>
            </a:lvl4pPr>
            <a:lvl5pPr marL="2016127" indent="0">
              <a:buNone/>
              <a:defRPr sz="1989"/>
            </a:lvl5pPr>
          </a:lstStyle>
          <a:p>
            <a:pPr lvl="0"/>
            <a:r>
              <a:rPr lang="en-US" noProof="0"/>
              <a:t>Add text here</a:t>
            </a:r>
          </a:p>
        </p:txBody>
      </p:sp>
      <p:sp>
        <p:nvSpPr>
          <p:cNvPr id="9" name="Text Placeholder 8">
            <a:extLst>
              <a:ext uri="{FF2B5EF4-FFF2-40B4-BE49-F238E27FC236}">
                <a16:creationId xmlns:a16="http://schemas.microsoft.com/office/drawing/2014/main" id="{3BAE6588-4D08-448D-B294-A47E7AAC339B}"/>
              </a:ext>
            </a:extLst>
          </p:cNvPr>
          <p:cNvSpPr>
            <a:spLocks noGrp="1"/>
          </p:cNvSpPr>
          <p:nvPr>
            <p:ph type="body" sz="quarter" idx="35" hasCustomPrompt="1"/>
          </p:nvPr>
        </p:nvSpPr>
        <p:spPr>
          <a:xfrm>
            <a:off x="2096608" y="4737811"/>
            <a:ext cx="2519958" cy="806364"/>
          </a:xfrm>
          <a:prstGeom prst="rect">
            <a:avLst/>
          </a:prstGeom>
        </p:spPr>
        <p:txBody>
          <a:bodyPr>
            <a:normAutofit/>
          </a:bodyPr>
          <a:lstStyle>
            <a:lvl1pPr marL="0" indent="0" algn="ctr">
              <a:lnSpc>
                <a:spcPts val="2207"/>
              </a:lnSpc>
              <a:spcBef>
                <a:spcPts val="0"/>
              </a:spcBef>
              <a:buNone/>
              <a:defRPr sz="1547">
                <a:solidFill>
                  <a:schemeClr val="tx1"/>
                </a:solidFill>
              </a:defRPr>
            </a:lvl1pPr>
            <a:lvl2pPr marL="504031" indent="0">
              <a:buNone/>
              <a:defRPr sz="1763"/>
            </a:lvl2pPr>
            <a:lvl3pPr marL="1008063" indent="0">
              <a:buNone/>
              <a:defRPr sz="1763"/>
            </a:lvl3pPr>
            <a:lvl4pPr marL="1512094" indent="0">
              <a:buNone/>
              <a:defRPr sz="1763"/>
            </a:lvl4pPr>
            <a:lvl5pPr marL="2016127" indent="0">
              <a:buNone/>
              <a:defRPr sz="1763"/>
            </a:lvl5pPr>
          </a:lstStyle>
          <a:p>
            <a:pPr lvl="0"/>
            <a:r>
              <a:rPr lang="en-US" noProof="0"/>
              <a:t>Click to add text</a:t>
            </a:r>
          </a:p>
        </p:txBody>
      </p:sp>
      <p:sp>
        <p:nvSpPr>
          <p:cNvPr id="17" name="Text Placeholder 9">
            <a:extLst>
              <a:ext uri="{FF2B5EF4-FFF2-40B4-BE49-F238E27FC236}">
                <a16:creationId xmlns:a16="http://schemas.microsoft.com/office/drawing/2014/main" id="{4E9F4FE1-F54C-4B3C-9CED-6C3058B00352}"/>
              </a:ext>
            </a:extLst>
          </p:cNvPr>
          <p:cNvSpPr>
            <a:spLocks noGrp="1"/>
          </p:cNvSpPr>
          <p:nvPr>
            <p:ph type="body" sz="quarter" idx="31" hasCustomPrompt="1"/>
          </p:nvPr>
        </p:nvSpPr>
        <p:spPr>
          <a:xfrm>
            <a:off x="5207917" y="2369049"/>
            <a:ext cx="3023949" cy="3306098"/>
          </a:xfrm>
          <a:prstGeom prst="rect">
            <a:avLst/>
          </a:prstGeom>
          <a:solidFill>
            <a:schemeClr val="accent3"/>
          </a:solidFill>
          <a:ln w="22225">
            <a:solidFill>
              <a:schemeClr val="tx1"/>
            </a:solidFill>
          </a:ln>
        </p:spPr>
        <p:txBody>
          <a:bodyPr vert="horz" lIns="0" tIns="621792" rIns="0" bIns="0" rtlCol="0" anchor="t" anchorCtr="0">
            <a:noAutofit/>
          </a:bodyPr>
          <a:lstStyle>
            <a:lvl1pPr marL="0" indent="0" algn="ctr">
              <a:spcBef>
                <a:spcPts val="0"/>
              </a:spcBef>
              <a:spcAft>
                <a:spcPts val="0"/>
              </a:spcAft>
              <a:buNone/>
              <a:defRPr lang="en-ZA" sz="4184" b="1" dirty="0">
                <a:solidFill>
                  <a:schemeClr val="tx1"/>
                </a:solidFill>
                <a:latin typeface="+mj-lt"/>
              </a:defRPr>
            </a:lvl1pPr>
          </a:lstStyle>
          <a:p>
            <a:pPr marL="294022" lvl="0" indent="-294022" algn="ctr"/>
            <a:r>
              <a:rPr lang="en-US" noProof="0"/>
              <a:t>2</a:t>
            </a:r>
          </a:p>
        </p:txBody>
      </p:sp>
      <p:sp>
        <p:nvSpPr>
          <p:cNvPr id="22" name="Text Placeholder 3">
            <a:extLst>
              <a:ext uri="{FF2B5EF4-FFF2-40B4-BE49-F238E27FC236}">
                <a16:creationId xmlns:a16="http://schemas.microsoft.com/office/drawing/2014/main" id="{AE52A1FB-F89B-45C5-92FC-A6D588F53C5D}"/>
              </a:ext>
            </a:extLst>
          </p:cNvPr>
          <p:cNvSpPr>
            <a:spLocks noGrp="1"/>
          </p:cNvSpPr>
          <p:nvPr>
            <p:ph type="body" sz="quarter" idx="36" hasCustomPrompt="1"/>
          </p:nvPr>
        </p:nvSpPr>
        <p:spPr>
          <a:xfrm>
            <a:off x="5472654" y="3870557"/>
            <a:ext cx="2519958" cy="806365"/>
          </a:xfrm>
          <a:prstGeom prst="rect">
            <a:avLst/>
          </a:prstGeom>
        </p:spPr>
        <p:txBody>
          <a:bodyPr>
            <a:noAutofit/>
          </a:bodyPr>
          <a:lstStyle>
            <a:lvl1pPr marL="0" indent="0" algn="ctr">
              <a:lnSpc>
                <a:spcPct val="100000"/>
              </a:lnSpc>
              <a:spcBef>
                <a:spcPts val="0"/>
              </a:spcBef>
              <a:buNone/>
              <a:defRPr sz="1989" b="0" cap="all" baseline="0">
                <a:solidFill>
                  <a:schemeClr val="tx1"/>
                </a:solidFill>
                <a:latin typeface="+mj-lt"/>
              </a:defRPr>
            </a:lvl1pPr>
            <a:lvl2pPr marL="504031" indent="0">
              <a:buNone/>
              <a:defRPr sz="1989"/>
            </a:lvl2pPr>
            <a:lvl3pPr marL="1008063" indent="0">
              <a:buNone/>
              <a:defRPr sz="1989"/>
            </a:lvl3pPr>
            <a:lvl4pPr marL="1512094" indent="0">
              <a:buNone/>
              <a:defRPr sz="1989"/>
            </a:lvl4pPr>
            <a:lvl5pPr marL="2016127" indent="0">
              <a:buNone/>
              <a:defRPr sz="1989"/>
            </a:lvl5pPr>
          </a:lstStyle>
          <a:p>
            <a:pPr lvl="0"/>
            <a:r>
              <a:rPr lang="en-US" noProof="0"/>
              <a:t>Add text here</a:t>
            </a:r>
          </a:p>
        </p:txBody>
      </p:sp>
      <p:sp>
        <p:nvSpPr>
          <p:cNvPr id="20" name="Text Placeholder 5">
            <a:extLst>
              <a:ext uri="{FF2B5EF4-FFF2-40B4-BE49-F238E27FC236}">
                <a16:creationId xmlns:a16="http://schemas.microsoft.com/office/drawing/2014/main" id="{7488A707-03CD-495D-B761-9F9DAE92C6CA}"/>
              </a:ext>
            </a:extLst>
          </p:cNvPr>
          <p:cNvSpPr>
            <a:spLocks noGrp="1"/>
          </p:cNvSpPr>
          <p:nvPr>
            <p:ph type="body" sz="quarter" idx="12" hasCustomPrompt="1"/>
          </p:nvPr>
        </p:nvSpPr>
        <p:spPr>
          <a:xfrm>
            <a:off x="5472654" y="4737811"/>
            <a:ext cx="2519958" cy="806364"/>
          </a:xfrm>
          <a:prstGeom prst="rect">
            <a:avLst/>
          </a:prstGeom>
        </p:spPr>
        <p:txBody>
          <a:bodyPr>
            <a:normAutofit/>
          </a:bodyPr>
          <a:lstStyle>
            <a:lvl1pPr marL="0" indent="0" algn="ctr">
              <a:lnSpc>
                <a:spcPts val="2207"/>
              </a:lnSpc>
              <a:spcBef>
                <a:spcPts val="0"/>
              </a:spcBef>
              <a:buFont typeface="Arial" panose="020B0604020202020204" pitchFamily="34" charset="0"/>
              <a:buNone/>
              <a:defRPr sz="1547">
                <a:solidFill>
                  <a:schemeClr val="tx1"/>
                </a:solidFill>
              </a:defRPr>
            </a:lvl1pPr>
          </a:lstStyle>
          <a:p>
            <a:pPr lvl="0"/>
            <a:r>
              <a:rPr lang="en-US" noProof="0"/>
              <a:t>Click to add text</a:t>
            </a:r>
          </a:p>
        </p:txBody>
      </p:sp>
      <p:sp>
        <p:nvSpPr>
          <p:cNvPr id="18" name="Text Placeholder 9">
            <a:extLst>
              <a:ext uri="{FF2B5EF4-FFF2-40B4-BE49-F238E27FC236}">
                <a16:creationId xmlns:a16="http://schemas.microsoft.com/office/drawing/2014/main" id="{26328AB3-6C8E-4BB6-9C01-852150BDFE17}"/>
              </a:ext>
            </a:extLst>
          </p:cNvPr>
          <p:cNvSpPr>
            <a:spLocks noGrp="1"/>
          </p:cNvSpPr>
          <p:nvPr>
            <p:ph type="body" sz="quarter" idx="33" hasCustomPrompt="1"/>
          </p:nvPr>
        </p:nvSpPr>
        <p:spPr>
          <a:xfrm>
            <a:off x="8565151" y="2369051"/>
            <a:ext cx="3023953" cy="3303717"/>
          </a:xfrm>
          <a:prstGeom prst="rect">
            <a:avLst/>
          </a:prstGeom>
          <a:solidFill>
            <a:schemeClr val="accent4"/>
          </a:solidFill>
          <a:ln w="22225">
            <a:solidFill>
              <a:schemeClr val="tx1"/>
            </a:solidFill>
          </a:ln>
        </p:spPr>
        <p:txBody>
          <a:bodyPr vert="horz" lIns="0" tIns="621792" rIns="0" bIns="0" rtlCol="0" anchor="t" anchorCtr="0">
            <a:noAutofit/>
          </a:bodyPr>
          <a:lstStyle>
            <a:lvl1pPr marL="0" indent="0" algn="ctr">
              <a:spcBef>
                <a:spcPts val="0"/>
              </a:spcBef>
              <a:spcAft>
                <a:spcPts val="0"/>
              </a:spcAft>
              <a:buNone/>
              <a:defRPr lang="en-ZA" sz="4184" b="1" dirty="0">
                <a:solidFill>
                  <a:schemeClr val="tx1"/>
                </a:solidFill>
                <a:latin typeface="+mj-lt"/>
              </a:defRPr>
            </a:lvl1pPr>
          </a:lstStyle>
          <a:p>
            <a:pPr marL="294022" lvl="0" indent="-294022" algn="ctr"/>
            <a:r>
              <a:rPr lang="en-US" noProof="0"/>
              <a:t>3</a:t>
            </a:r>
          </a:p>
        </p:txBody>
      </p:sp>
      <p:sp>
        <p:nvSpPr>
          <p:cNvPr id="23" name="Text Placeholder 3">
            <a:extLst>
              <a:ext uri="{FF2B5EF4-FFF2-40B4-BE49-F238E27FC236}">
                <a16:creationId xmlns:a16="http://schemas.microsoft.com/office/drawing/2014/main" id="{46C18666-B781-4A20-AAFB-33160088C3E1}"/>
              </a:ext>
            </a:extLst>
          </p:cNvPr>
          <p:cNvSpPr>
            <a:spLocks noGrp="1"/>
          </p:cNvSpPr>
          <p:nvPr>
            <p:ph type="body" sz="quarter" idx="37" hasCustomPrompt="1"/>
          </p:nvPr>
        </p:nvSpPr>
        <p:spPr>
          <a:xfrm>
            <a:off x="8832862" y="3870557"/>
            <a:ext cx="2519958" cy="806365"/>
          </a:xfrm>
          <a:prstGeom prst="rect">
            <a:avLst/>
          </a:prstGeom>
        </p:spPr>
        <p:txBody>
          <a:bodyPr>
            <a:noAutofit/>
          </a:bodyPr>
          <a:lstStyle>
            <a:lvl1pPr marL="0" indent="0" algn="ctr">
              <a:lnSpc>
                <a:spcPct val="100000"/>
              </a:lnSpc>
              <a:spcBef>
                <a:spcPts val="0"/>
              </a:spcBef>
              <a:buNone/>
              <a:defRPr sz="1989" b="0" cap="all" baseline="0">
                <a:solidFill>
                  <a:schemeClr val="tx1"/>
                </a:solidFill>
                <a:latin typeface="+mj-lt"/>
              </a:defRPr>
            </a:lvl1pPr>
            <a:lvl2pPr marL="504031" indent="0">
              <a:buNone/>
              <a:defRPr sz="1989"/>
            </a:lvl2pPr>
            <a:lvl3pPr marL="1008063" indent="0">
              <a:buNone/>
              <a:defRPr sz="1989"/>
            </a:lvl3pPr>
            <a:lvl4pPr marL="1512094" indent="0">
              <a:buNone/>
              <a:defRPr sz="1989"/>
            </a:lvl4pPr>
            <a:lvl5pPr marL="2016127" indent="0">
              <a:buNone/>
              <a:defRPr sz="1989"/>
            </a:lvl5pPr>
          </a:lstStyle>
          <a:p>
            <a:pPr lvl="0"/>
            <a:r>
              <a:rPr lang="en-US" noProof="0"/>
              <a:t>Add text here</a:t>
            </a:r>
          </a:p>
        </p:txBody>
      </p:sp>
      <p:sp>
        <p:nvSpPr>
          <p:cNvPr id="21" name="Text Placeholder 9">
            <a:extLst>
              <a:ext uri="{FF2B5EF4-FFF2-40B4-BE49-F238E27FC236}">
                <a16:creationId xmlns:a16="http://schemas.microsoft.com/office/drawing/2014/main" id="{99A33CFC-3C95-43CD-92E8-05A5E6D98559}"/>
              </a:ext>
            </a:extLst>
          </p:cNvPr>
          <p:cNvSpPr>
            <a:spLocks noGrp="1"/>
          </p:cNvSpPr>
          <p:nvPr>
            <p:ph type="body" sz="quarter" idx="13" hasCustomPrompt="1"/>
          </p:nvPr>
        </p:nvSpPr>
        <p:spPr>
          <a:xfrm>
            <a:off x="8832863" y="4737811"/>
            <a:ext cx="2519958" cy="806364"/>
          </a:xfrm>
          <a:prstGeom prst="rect">
            <a:avLst/>
          </a:prstGeom>
        </p:spPr>
        <p:txBody>
          <a:bodyPr>
            <a:normAutofit/>
          </a:bodyPr>
          <a:lstStyle>
            <a:lvl1pPr marL="0" indent="0" algn="ctr">
              <a:lnSpc>
                <a:spcPts val="2207"/>
              </a:lnSpc>
              <a:spcBef>
                <a:spcPts val="0"/>
              </a:spcBef>
              <a:buFont typeface="Arial" panose="020B0604020202020204" pitchFamily="34" charset="0"/>
              <a:buNone/>
              <a:defRPr sz="1547">
                <a:solidFill>
                  <a:schemeClr val="tx1"/>
                </a:solidFill>
              </a:defRPr>
            </a:lvl1pPr>
          </a:lstStyle>
          <a:p>
            <a:pPr lvl="0"/>
            <a:r>
              <a:rPr lang="en-US" noProof="0"/>
              <a:t>Click to add text</a:t>
            </a:r>
          </a:p>
        </p:txBody>
      </p:sp>
      <p:sp>
        <p:nvSpPr>
          <p:cNvPr id="19" name="Date Placeholder 2">
            <a:extLst>
              <a:ext uri="{FF2B5EF4-FFF2-40B4-BE49-F238E27FC236}">
                <a16:creationId xmlns:a16="http://schemas.microsoft.com/office/drawing/2014/main" id="{4EA7F64A-11F6-4F87-BCF2-6C289703AEE8}"/>
              </a:ext>
            </a:extLst>
          </p:cNvPr>
          <p:cNvSpPr>
            <a:spLocks noGrp="1"/>
          </p:cNvSpPr>
          <p:nvPr>
            <p:ph type="dt" sz="half" idx="38"/>
          </p:nvPr>
        </p:nvSpPr>
        <p:spPr>
          <a:xfrm>
            <a:off x="923988" y="7006701"/>
            <a:ext cx="3023949" cy="402484"/>
          </a:xfrm>
          <a:prstGeom prst="rect">
            <a:avLst/>
          </a:prstGeom>
        </p:spPr>
        <p:txBody>
          <a:bodyPr/>
          <a:lstStyle>
            <a:lvl1pPr>
              <a:defRPr>
                <a:solidFill>
                  <a:schemeClr val="tx1"/>
                </a:solidFill>
              </a:defRPr>
            </a:lvl1pPr>
          </a:lstStyle>
          <a:p>
            <a:endParaRPr lang="en-US" noProof="0"/>
          </a:p>
        </p:txBody>
      </p:sp>
      <p:sp>
        <p:nvSpPr>
          <p:cNvPr id="6" name="Footer Placeholder 5">
            <a:extLst>
              <a:ext uri="{FF2B5EF4-FFF2-40B4-BE49-F238E27FC236}">
                <a16:creationId xmlns:a16="http://schemas.microsoft.com/office/drawing/2014/main" id="{29E5E346-F307-4307-949D-77CDB6E6577A}"/>
              </a:ext>
            </a:extLst>
          </p:cNvPr>
          <p:cNvSpPr>
            <a:spLocks noGrp="1"/>
          </p:cNvSpPr>
          <p:nvPr>
            <p:ph type="ftr" sz="quarter" idx="10"/>
          </p:nvPr>
        </p:nvSpPr>
        <p:spPr>
          <a:xfrm>
            <a:off x="4451927" y="7006701"/>
            <a:ext cx="4535925" cy="402484"/>
          </a:xfrm>
          <a:prstGeom prst="rect">
            <a:avLst/>
          </a:prstGeom>
        </p:spPr>
        <p:txBody>
          <a:bodyPr/>
          <a:lstStyle>
            <a:lvl1pPr>
              <a:defRPr>
                <a:solidFill>
                  <a:schemeClr val="tx1"/>
                </a:solidFill>
              </a:defRPr>
            </a:lvl1pPr>
          </a:lstStyle>
          <a:p>
            <a:endParaRPr lang="en-US" noProof="0"/>
          </a:p>
        </p:txBody>
      </p:sp>
      <p:sp>
        <p:nvSpPr>
          <p:cNvPr id="7" name="Slide Number Placeholder 6">
            <a:extLst>
              <a:ext uri="{FF2B5EF4-FFF2-40B4-BE49-F238E27FC236}">
                <a16:creationId xmlns:a16="http://schemas.microsoft.com/office/drawing/2014/main" id="{BB4446C0-A637-4726-88A6-815A6AB63B96}"/>
              </a:ext>
            </a:extLst>
          </p:cNvPr>
          <p:cNvSpPr>
            <a:spLocks noGrp="1"/>
          </p:cNvSpPr>
          <p:nvPr>
            <p:ph type="sldNum" sz="quarter" idx="11"/>
          </p:nvPr>
        </p:nvSpPr>
        <p:spPr>
          <a:xfrm>
            <a:off x="9491845" y="7006701"/>
            <a:ext cx="3023949" cy="402484"/>
          </a:xfrm>
          <a:prstGeom prst="rect">
            <a:avLst/>
          </a:prstGeom>
        </p:spPr>
        <p:txBody>
          <a:bodyPr/>
          <a:lstStyle>
            <a:lvl1pPr>
              <a:defRPr>
                <a:solidFill>
                  <a:schemeClr val="tx1"/>
                </a:solidFill>
              </a:defRPr>
            </a:lvl1pPr>
          </a:lstStyle>
          <a:p>
            <a:fld id="{19B51A1E-902D-48AF-9020-955120F399B6}" type="slidenum">
              <a:rPr lang="en-US" noProof="0" smtClean="0"/>
              <a:pPr/>
              <a:t>‹№›</a:t>
            </a:fld>
            <a:endParaRPr lang="en-US" noProof="0"/>
          </a:p>
        </p:txBody>
      </p:sp>
    </p:spTree>
    <p:extLst>
      <p:ext uri="{BB962C8B-B14F-4D97-AF65-F5344CB8AC3E}">
        <p14:creationId xmlns:p14="http://schemas.microsoft.com/office/powerpoint/2010/main" val="968027655"/>
      </p:ext>
    </p:extLst>
  </p:cSld>
  <p:clrMapOvr>
    <a:masterClrMapping/>
  </p:clrMapOvr>
  <p:extLst>
    <p:ext uri="{DCECCB84-F9BA-43D5-87BE-67443E8EF086}">
      <p15:sldGuideLst xmlns:p15="http://schemas.microsoft.com/office/powerpoint/2012/main">
        <p15:guide id="1" orient="horz" pos="3432">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2_Quadra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C626A5-4FF6-42BD-858A-AE4B2C23A6BC}"/>
              </a:ext>
            </a:extLst>
          </p:cNvPr>
          <p:cNvSpPr>
            <a:spLocks noGrp="1"/>
          </p:cNvSpPr>
          <p:nvPr>
            <p:ph type="title" hasCustomPrompt="1"/>
          </p:nvPr>
        </p:nvSpPr>
        <p:spPr>
          <a:xfrm>
            <a:off x="923985" y="402485"/>
            <a:ext cx="11591806" cy="1461189"/>
          </a:xfrm>
          <a:prstGeom prst="rect">
            <a:avLst/>
          </a:prstGeom>
        </p:spPr>
        <p:txBody>
          <a:bodyPr/>
          <a:lstStyle>
            <a:lvl1pPr algn="ctr">
              <a:defRPr cap="all" baseline="0">
                <a:solidFill>
                  <a:schemeClr val="tx1"/>
                </a:solidFill>
              </a:defRPr>
            </a:lvl1pPr>
          </a:lstStyle>
          <a:p>
            <a:r>
              <a:rPr lang="en-US" noProof="0"/>
              <a:t>Click to add title</a:t>
            </a:r>
          </a:p>
        </p:txBody>
      </p:sp>
      <p:sp>
        <p:nvSpPr>
          <p:cNvPr id="10" name="Text Placeholder 5">
            <a:extLst>
              <a:ext uri="{FF2B5EF4-FFF2-40B4-BE49-F238E27FC236}">
                <a16:creationId xmlns:a16="http://schemas.microsoft.com/office/drawing/2014/main" id="{6CD52AD9-4495-432B-B01C-26AAF0EAA89F}"/>
              </a:ext>
            </a:extLst>
          </p:cNvPr>
          <p:cNvSpPr>
            <a:spLocks noGrp="1"/>
          </p:cNvSpPr>
          <p:nvPr>
            <p:ph type="body" sz="quarter" idx="12" hasCustomPrompt="1"/>
          </p:nvPr>
        </p:nvSpPr>
        <p:spPr>
          <a:xfrm>
            <a:off x="5631876" y="2328383"/>
            <a:ext cx="2217565" cy="302388"/>
          </a:xfrm>
          <a:prstGeom prst="rect">
            <a:avLst/>
          </a:prstGeom>
        </p:spPr>
        <p:txBody>
          <a:bodyPr>
            <a:normAutofit/>
          </a:bodyPr>
          <a:lstStyle>
            <a:lvl1pPr marL="0" indent="0" algn="ctr">
              <a:buFont typeface="Arial" panose="020B0604020202020204" pitchFamily="34" charset="0"/>
              <a:buNone/>
              <a:defRPr sz="1328" cap="all" baseline="0">
                <a:solidFill>
                  <a:schemeClr val="tx1">
                    <a:lumMod val="75000"/>
                    <a:lumOff val="25000"/>
                  </a:schemeClr>
                </a:solidFill>
                <a:latin typeface="+mj-lt"/>
              </a:defRPr>
            </a:lvl1pPr>
          </a:lstStyle>
          <a:p>
            <a:pPr lvl="0"/>
            <a:r>
              <a:rPr lang="en-US" noProof="0"/>
              <a:t>Click to add text</a:t>
            </a:r>
          </a:p>
        </p:txBody>
      </p:sp>
      <p:sp>
        <p:nvSpPr>
          <p:cNvPr id="12" name="Text Placeholder 5">
            <a:extLst>
              <a:ext uri="{FF2B5EF4-FFF2-40B4-BE49-F238E27FC236}">
                <a16:creationId xmlns:a16="http://schemas.microsoft.com/office/drawing/2014/main" id="{AF9EB7E7-72B3-4FD3-B153-815A53CB1B7D}"/>
              </a:ext>
            </a:extLst>
          </p:cNvPr>
          <p:cNvSpPr>
            <a:spLocks noGrp="1"/>
          </p:cNvSpPr>
          <p:nvPr>
            <p:ph type="body" sz="quarter" idx="14" hasCustomPrompt="1"/>
          </p:nvPr>
        </p:nvSpPr>
        <p:spPr>
          <a:xfrm>
            <a:off x="914336" y="3689123"/>
            <a:ext cx="2217565" cy="302388"/>
          </a:xfrm>
          <a:prstGeom prst="rect">
            <a:avLst/>
          </a:prstGeom>
        </p:spPr>
        <p:txBody>
          <a:bodyPr>
            <a:normAutofit/>
          </a:bodyPr>
          <a:lstStyle>
            <a:lvl1pPr marL="0" indent="0" algn="l">
              <a:buFont typeface="Arial" panose="020B0604020202020204" pitchFamily="34" charset="0"/>
              <a:buNone/>
              <a:defRPr sz="1328" cap="all" baseline="0">
                <a:solidFill>
                  <a:schemeClr val="tx1">
                    <a:lumMod val="75000"/>
                    <a:lumOff val="25000"/>
                  </a:schemeClr>
                </a:solidFill>
                <a:latin typeface="+mj-lt"/>
              </a:defRPr>
            </a:lvl1pPr>
          </a:lstStyle>
          <a:p>
            <a:pPr lvl="0"/>
            <a:r>
              <a:rPr lang="en-US" noProof="0"/>
              <a:t>Click to add text</a:t>
            </a:r>
          </a:p>
        </p:txBody>
      </p:sp>
      <p:sp>
        <p:nvSpPr>
          <p:cNvPr id="13" name="Text Placeholder 5">
            <a:extLst>
              <a:ext uri="{FF2B5EF4-FFF2-40B4-BE49-F238E27FC236}">
                <a16:creationId xmlns:a16="http://schemas.microsoft.com/office/drawing/2014/main" id="{139AE34A-A4BE-43AA-9A69-9A18D5FC53D8}"/>
              </a:ext>
            </a:extLst>
          </p:cNvPr>
          <p:cNvSpPr>
            <a:spLocks noGrp="1"/>
          </p:cNvSpPr>
          <p:nvPr>
            <p:ph type="body" sz="quarter" idx="15" hasCustomPrompt="1"/>
          </p:nvPr>
        </p:nvSpPr>
        <p:spPr>
          <a:xfrm>
            <a:off x="10320973" y="3689123"/>
            <a:ext cx="2217565" cy="302388"/>
          </a:xfrm>
          <a:prstGeom prst="rect">
            <a:avLst/>
          </a:prstGeom>
        </p:spPr>
        <p:txBody>
          <a:bodyPr>
            <a:normAutofit/>
          </a:bodyPr>
          <a:lstStyle>
            <a:lvl1pPr marL="0" indent="0" algn="r">
              <a:buFont typeface="Arial" panose="020B0604020202020204" pitchFamily="34" charset="0"/>
              <a:buNone/>
              <a:defRPr sz="1328" cap="all" baseline="0">
                <a:solidFill>
                  <a:schemeClr val="tx1">
                    <a:lumMod val="75000"/>
                    <a:lumOff val="25000"/>
                  </a:schemeClr>
                </a:solidFill>
                <a:latin typeface="+mj-lt"/>
              </a:defRPr>
            </a:lvl1pPr>
          </a:lstStyle>
          <a:p>
            <a:pPr lvl="0"/>
            <a:r>
              <a:rPr lang="en-US" noProof="0"/>
              <a:t>Click to add text</a:t>
            </a:r>
          </a:p>
        </p:txBody>
      </p:sp>
      <p:sp>
        <p:nvSpPr>
          <p:cNvPr id="11" name="Text Placeholder 5">
            <a:extLst>
              <a:ext uri="{FF2B5EF4-FFF2-40B4-BE49-F238E27FC236}">
                <a16:creationId xmlns:a16="http://schemas.microsoft.com/office/drawing/2014/main" id="{23E8F54F-C5BD-4FE6-BB69-FEC69BC0FDDD}"/>
              </a:ext>
            </a:extLst>
          </p:cNvPr>
          <p:cNvSpPr>
            <a:spLocks noGrp="1"/>
          </p:cNvSpPr>
          <p:nvPr>
            <p:ph type="body" sz="quarter" idx="13" hasCustomPrompt="1"/>
          </p:nvPr>
        </p:nvSpPr>
        <p:spPr>
          <a:xfrm>
            <a:off x="5631876" y="5657601"/>
            <a:ext cx="2217565" cy="302388"/>
          </a:xfrm>
          <a:prstGeom prst="rect">
            <a:avLst/>
          </a:prstGeom>
        </p:spPr>
        <p:txBody>
          <a:bodyPr>
            <a:normAutofit/>
          </a:bodyPr>
          <a:lstStyle>
            <a:lvl1pPr marL="0" indent="0" algn="ctr">
              <a:buFont typeface="Arial" panose="020B0604020202020204" pitchFamily="34" charset="0"/>
              <a:buNone/>
              <a:defRPr sz="1328" cap="all" baseline="0">
                <a:solidFill>
                  <a:schemeClr val="tx1">
                    <a:lumMod val="75000"/>
                    <a:lumOff val="25000"/>
                  </a:schemeClr>
                </a:solidFill>
                <a:latin typeface="+mj-lt"/>
              </a:defRPr>
            </a:lvl1pPr>
          </a:lstStyle>
          <a:p>
            <a:pPr lvl="0"/>
            <a:r>
              <a:rPr lang="en-US" noProof="0"/>
              <a:t>Click to add text</a:t>
            </a:r>
          </a:p>
        </p:txBody>
      </p:sp>
      <p:cxnSp>
        <p:nvCxnSpPr>
          <p:cNvPr id="5" name="Straight Connector 4">
            <a:extLst>
              <a:ext uri="{FF2B5EF4-FFF2-40B4-BE49-F238E27FC236}">
                <a16:creationId xmlns:a16="http://schemas.microsoft.com/office/drawing/2014/main" id="{930083F9-FF24-4BFD-A7D4-197B0AA39D48}"/>
              </a:ext>
              <a:ext uri="{C183D7F6-B498-43B3-948B-1728B52AA6E4}">
                <adec:decorative xmlns:adec="http://schemas.microsoft.com/office/drawing/2017/decorative" val="1"/>
              </a:ext>
            </a:extLst>
          </p:cNvPr>
          <p:cNvCxnSpPr>
            <a:cxnSpLocks/>
          </p:cNvCxnSpPr>
          <p:nvPr userDrawn="1"/>
        </p:nvCxnSpPr>
        <p:spPr>
          <a:xfrm>
            <a:off x="1009667" y="4003184"/>
            <a:ext cx="11420449" cy="0"/>
          </a:xfrm>
          <a:prstGeom prst="line">
            <a:avLst/>
          </a:prstGeom>
          <a:ln w="22606">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F8C53B62-8608-4BCE-81F2-70FBF256B701}"/>
              </a:ext>
              <a:ext uri="{C183D7F6-B498-43B3-948B-1728B52AA6E4}">
                <adec:decorative xmlns:adec="http://schemas.microsoft.com/office/drawing/2017/decorative" val="1"/>
              </a:ext>
            </a:extLst>
          </p:cNvPr>
          <p:cNvCxnSpPr>
            <a:cxnSpLocks/>
          </p:cNvCxnSpPr>
          <p:nvPr userDrawn="1"/>
        </p:nvCxnSpPr>
        <p:spPr>
          <a:xfrm>
            <a:off x="6719888" y="2726788"/>
            <a:ext cx="0" cy="2822279"/>
          </a:xfrm>
          <a:prstGeom prst="line">
            <a:avLst/>
          </a:prstGeom>
          <a:ln w="22606">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Date Placeholder 2">
            <a:extLst>
              <a:ext uri="{FF2B5EF4-FFF2-40B4-BE49-F238E27FC236}">
                <a16:creationId xmlns:a16="http://schemas.microsoft.com/office/drawing/2014/main" id="{1B3C91A3-3777-4B1B-8A3F-5E8560B3B59C}"/>
              </a:ext>
            </a:extLst>
          </p:cNvPr>
          <p:cNvSpPr>
            <a:spLocks noGrp="1"/>
          </p:cNvSpPr>
          <p:nvPr>
            <p:ph type="dt" sz="half" idx="16"/>
          </p:nvPr>
        </p:nvSpPr>
        <p:spPr>
          <a:xfrm>
            <a:off x="923988" y="7006701"/>
            <a:ext cx="3023949" cy="402484"/>
          </a:xfrm>
          <a:prstGeom prst="rect">
            <a:avLst/>
          </a:prstGeom>
        </p:spPr>
        <p:txBody>
          <a:bodyPr/>
          <a:lstStyle>
            <a:lvl1pPr>
              <a:defRPr>
                <a:solidFill>
                  <a:schemeClr val="tx1"/>
                </a:solidFill>
              </a:defRPr>
            </a:lvl1pPr>
          </a:lstStyle>
          <a:p>
            <a:endParaRPr lang="en-US" noProof="0"/>
          </a:p>
        </p:txBody>
      </p:sp>
      <p:sp>
        <p:nvSpPr>
          <p:cNvPr id="6" name="Footer Placeholder 5">
            <a:extLst>
              <a:ext uri="{FF2B5EF4-FFF2-40B4-BE49-F238E27FC236}">
                <a16:creationId xmlns:a16="http://schemas.microsoft.com/office/drawing/2014/main" id="{29E5E346-F307-4307-949D-77CDB6E6577A}"/>
              </a:ext>
            </a:extLst>
          </p:cNvPr>
          <p:cNvSpPr>
            <a:spLocks noGrp="1"/>
          </p:cNvSpPr>
          <p:nvPr>
            <p:ph type="ftr" sz="quarter" idx="10"/>
          </p:nvPr>
        </p:nvSpPr>
        <p:spPr>
          <a:xfrm>
            <a:off x="4451927" y="7006701"/>
            <a:ext cx="4535925" cy="402484"/>
          </a:xfrm>
          <a:prstGeom prst="rect">
            <a:avLst/>
          </a:prstGeom>
        </p:spPr>
        <p:txBody>
          <a:bodyPr/>
          <a:lstStyle>
            <a:lvl1pPr>
              <a:defRPr>
                <a:solidFill>
                  <a:schemeClr val="tx1"/>
                </a:solidFill>
              </a:defRPr>
            </a:lvl1pPr>
          </a:lstStyle>
          <a:p>
            <a:endParaRPr lang="en-US" noProof="0"/>
          </a:p>
        </p:txBody>
      </p:sp>
      <p:sp>
        <p:nvSpPr>
          <p:cNvPr id="7" name="Slide Number Placeholder 6">
            <a:extLst>
              <a:ext uri="{FF2B5EF4-FFF2-40B4-BE49-F238E27FC236}">
                <a16:creationId xmlns:a16="http://schemas.microsoft.com/office/drawing/2014/main" id="{BB4446C0-A637-4726-88A6-815A6AB63B96}"/>
              </a:ext>
            </a:extLst>
          </p:cNvPr>
          <p:cNvSpPr>
            <a:spLocks noGrp="1"/>
          </p:cNvSpPr>
          <p:nvPr>
            <p:ph type="sldNum" sz="quarter" idx="11"/>
          </p:nvPr>
        </p:nvSpPr>
        <p:spPr>
          <a:xfrm>
            <a:off x="9491845" y="7006701"/>
            <a:ext cx="3023949" cy="402484"/>
          </a:xfrm>
          <a:prstGeom prst="rect">
            <a:avLst/>
          </a:prstGeom>
        </p:spPr>
        <p:txBody>
          <a:bodyPr/>
          <a:lstStyle>
            <a:lvl1pPr>
              <a:defRPr>
                <a:solidFill>
                  <a:schemeClr val="tx1"/>
                </a:solidFill>
              </a:defRPr>
            </a:lvl1pPr>
          </a:lstStyle>
          <a:p>
            <a:fld id="{19B51A1E-902D-48AF-9020-955120F399B6}" type="slidenum">
              <a:rPr lang="en-US" noProof="0" smtClean="0"/>
              <a:pPr/>
              <a:t>‹№›</a:t>
            </a:fld>
            <a:endParaRPr lang="en-US" noProof="0"/>
          </a:p>
        </p:txBody>
      </p:sp>
    </p:spTree>
    <p:extLst>
      <p:ext uri="{BB962C8B-B14F-4D97-AF65-F5344CB8AC3E}">
        <p14:creationId xmlns:p14="http://schemas.microsoft.com/office/powerpoint/2010/main" val="295261030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3_Growth Strateg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AE12D1-08AF-45E9-A34A-BDE9E860BAA2}"/>
              </a:ext>
            </a:extLst>
          </p:cNvPr>
          <p:cNvSpPr>
            <a:spLocks noGrp="1"/>
          </p:cNvSpPr>
          <p:nvPr>
            <p:ph type="title" hasCustomPrompt="1"/>
          </p:nvPr>
        </p:nvSpPr>
        <p:spPr>
          <a:xfrm>
            <a:off x="755988" y="150496"/>
            <a:ext cx="11957964" cy="1331203"/>
          </a:xfrm>
          <a:prstGeom prst="rect">
            <a:avLst/>
          </a:prstGeom>
          <a:noFill/>
        </p:spPr>
        <p:txBody>
          <a:bodyPr/>
          <a:lstStyle>
            <a:lvl1pPr algn="ctr">
              <a:defRPr cap="all" baseline="0"/>
            </a:lvl1pPr>
          </a:lstStyle>
          <a:p>
            <a:r>
              <a:rPr lang="en-US"/>
              <a:t>CLICK TO add TITLE</a:t>
            </a:r>
          </a:p>
        </p:txBody>
      </p:sp>
      <p:sp>
        <p:nvSpPr>
          <p:cNvPr id="20" name="Text Placeholder 9">
            <a:extLst>
              <a:ext uri="{FF2B5EF4-FFF2-40B4-BE49-F238E27FC236}">
                <a16:creationId xmlns:a16="http://schemas.microsoft.com/office/drawing/2014/main" id="{519259E2-3CE1-4C76-B5B7-4AD137FBC77B}"/>
              </a:ext>
            </a:extLst>
          </p:cNvPr>
          <p:cNvSpPr>
            <a:spLocks noGrp="1"/>
          </p:cNvSpPr>
          <p:nvPr>
            <p:ph type="body" sz="quarter" idx="14" hasCustomPrompt="1"/>
          </p:nvPr>
        </p:nvSpPr>
        <p:spPr>
          <a:xfrm>
            <a:off x="755988" y="1532096"/>
            <a:ext cx="11957964" cy="555817"/>
          </a:xfrm>
          <a:prstGeom prst="rect">
            <a:avLst/>
          </a:prstGeom>
        </p:spPr>
        <p:txBody>
          <a:bodyPr anchor="ctr" anchorCtr="0">
            <a:noAutofit/>
          </a:bodyPr>
          <a:lstStyle>
            <a:lvl1pPr marL="0" indent="0" algn="ctr">
              <a:lnSpc>
                <a:spcPct val="100000"/>
              </a:lnSpc>
              <a:spcBef>
                <a:spcPts val="0"/>
              </a:spcBef>
              <a:buNone/>
              <a:defRPr sz="1989" b="0">
                <a:solidFill>
                  <a:schemeClr val="tx1"/>
                </a:solidFill>
                <a:latin typeface="+mj-lt"/>
              </a:defRPr>
            </a:lvl1pPr>
            <a:lvl2pPr marL="504031" indent="0">
              <a:lnSpc>
                <a:spcPts val="2865"/>
              </a:lnSpc>
              <a:buNone/>
              <a:defRPr sz="1763"/>
            </a:lvl2pPr>
            <a:lvl3pPr marL="1008063" indent="0">
              <a:lnSpc>
                <a:spcPts val="2865"/>
              </a:lnSpc>
              <a:buNone/>
              <a:defRPr sz="1763"/>
            </a:lvl3pPr>
            <a:lvl4pPr marL="1512094" indent="0">
              <a:lnSpc>
                <a:spcPts val="2865"/>
              </a:lnSpc>
              <a:buNone/>
              <a:defRPr sz="1763"/>
            </a:lvl4pPr>
            <a:lvl5pPr marL="2016127" indent="0">
              <a:lnSpc>
                <a:spcPts val="2865"/>
              </a:lnSpc>
              <a:buNone/>
              <a:defRPr sz="1763"/>
            </a:lvl5pPr>
          </a:lstStyle>
          <a:p>
            <a:pPr lvl="0"/>
            <a:r>
              <a:rPr lang="en-US"/>
              <a:t>Click to add subtitle</a:t>
            </a:r>
          </a:p>
        </p:txBody>
      </p:sp>
      <p:sp>
        <p:nvSpPr>
          <p:cNvPr id="15" name="Rectangle 14">
            <a:extLst>
              <a:ext uri="{FF2B5EF4-FFF2-40B4-BE49-F238E27FC236}">
                <a16:creationId xmlns:a16="http://schemas.microsoft.com/office/drawing/2014/main" id="{604D5546-EF99-490E-8EC4-8DAE9703B984}"/>
              </a:ext>
              <a:ext uri="{C183D7F6-B498-43B3-948B-1728B52AA6E4}">
                <adec:decorative xmlns:adec="http://schemas.microsoft.com/office/drawing/2017/decorative" val="1"/>
              </a:ext>
            </a:extLst>
          </p:cNvPr>
          <p:cNvSpPr/>
          <p:nvPr userDrawn="1"/>
        </p:nvSpPr>
        <p:spPr>
          <a:xfrm>
            <a:off x="755987" y="2701324"/>
            <a:ext cx="3527941" cy="4606362"/>
          </a:xfrm>
          <a:prstGeom prst="rect">
            <a:avLst/>
          </a:prstGeom>
          <a:solidFill>
            <a:schemeClr val="bg1"/>
          </a:solidFill>
          <a:ln w="222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29"/>
          </a:p>
        </p:txBody>
      </p:sp>
      <p:sp>
        <p:nvSpPr>
          <p:cNvPr id="8" name="Rectangle 7">
            <a:extLst>
              <a:ext uri="{FF2B5EF4-FFF2-40B4-BE49-F238E27FC236}">
                <a16:creationId xmlns:a16="http://schemas.microsoft.com/office/drawing/2014/main" id="{608D92F3-3AB1-4672-AAAA-0D9FF28923C9}"/>
              </a:ext>
              <a:ext uri="{C183D7F6-B498-43B3-948B-1728B52AA6E4}">
                <adec:decorative xmlns:adec="http://schemas.microsoft.com/office/drawing/2017/decorative" val="1"/>
              </a:ext>
            </a:extLst>
          </p:cNvPr>
          <p:cNvSpPr/>
          <p:nvPr userDrawn="1"/>
        </p:nvSpPr>
        <p:spPr>
          <a:xfrm>
            <a:off x="9186012" y="2701324"/>
            <a:ext cx="3527941" cy="4606362"/>
          </a:xfrm>
          <a:prstGeom prst="rect">
            <a:avLst/>
          </a:prstGeom>
          <a:solidFill>
            <a:schemeClr val="bg1"/>
          </a:solidFill>
          <a:ln w="222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29"/>
          </a:p>
        </p:txBody>
      </p:sp>
      <p:sp>
        <p:nvSpPr>
          <p:cNvPr id="7" name="Rectangle 6">
            <a:extLst>
              <a:ext uri="{FF2B5EF4-FFF2-40B4-BE49-F238E27FC236}">
                <a16:creationId xmlns:a16="http://schemas.microsoft.com/office/drawing/2014/main" id="{B84384B8-6414-4870-BF05-99FE5E164890}"/>
              </a:ext>
              <a:ext uri="{C183D7F6-B498-43B3-948B-1728B52AA6E4}">
                <adec:decorative xmlns:adec="http://schemas.microsoft.com/office/drawing/2017/decorative" val="1"/>
              </a:ext>
            </a:extLst>
          </p:cNvPr>
          <p:cNvSpPr/>
          <p:nvPr userDrawn="1"/>
        </p:nvSpPr>
        <p:spPr>
          <a:xfrm>
            <a:off x="4959787" y="2701324"/>
            <a:ext cx="3527941" cy="4606362"/>
          </a:xfrm>
          <a:prstGeom prst="rect">
            <a:avLst/>
          </a:prstGeom>
          <a:solidFill>
            <a:schemeClr val="bg1"/>
          </a:solidFill>
          <a:ln w="222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29"/>
          </a:p>
        </p:txBody>
      </p:sp>
      <p:sp>
        <p:nvSpPr>
          <p:cNvPr id="21" name="Text Placeholder 9">
            <a:extLst>
              <a:ext uri="{FF2B5EF4-FFF2-40B4-BE49-F238E27FC236}">
                <a16:creationId xmlns:a16="http://schemas.microsoft.com/office/drawing/2014/main" id="{7E30BBCA-EC62-4514-BAE7-F5373866DA07}"/>
              </a:ext>
            </a:extLst>
          </p:cNvPr>
          <p:cNvSpPr>
            <a:spLocks noGrp="1"/>
          </p:cNvSpPr>
          <p:nvPr>
            <p:ph type="body" sz="quarter" idx="15" hasCustomPrompt="1"/>
          </p:nvPr>
        </p:nvSpPr>
        <p:spPr>
          <a:xfrm>
            <a:off x="755987" y="2701327"/>
            <a:ext cx="3527941" cy="2829651"/>
          </a:xfrm>
          <a:prstGeom prst="rect">
            <a:avLst/>
          </a:prstGeom>
          <a:noFill/>
          <a:ln w="22225">
            <a:noFill/>
          </a:ln>
        </p:spPr>
        <p:txBody>
          <a:bodyPr tIns="420624">
            <a:noAutofit/>
          </a:bodyPr>
          <a:lstStyle>
            <a:lvl1pPr marL="0" indent="0" algn="ctr">
              <a:lnSpc>
                <a:spcPts val="2865"/>
              </a:lnSpc>
              <a:spcBef>
                <a:spcPts val="0"/>
              </a:spcBef>
              <a:buNone/>
              <a:defRPr sz="1989" cap="all" baseline="0">
                <a:solidFill>
                  <a:schemeClr val="tx1"/>
                </a:solidFill>
                <a:latin typeface="+mj-lt"/>
              </a:defRPr>
            </a:lvl1pPr>
            <a:lvl2pPr marL="504031" indent="0">
              <a:lnSpc>
                <a:spcPts val="2865"/>
              </a:lnSpc>
              <a:buNone/>
              <a:defRPr sz="1763"/>
            </a:lvl2pPr>
            <a:lvl3pPr marL="1008063" indent="0">
              <a:lnSpc>
                <a:spcPts val="2865"/>
              </a:lnSpc>
              <a:buNone/>
              <a:defRPr sz="1763"/>
            </a:lvl3pPr>
            <a:lvl4pPr marL="1512094" indent="0">
              <a:lnSpc>
                <a:spcPts val="2865"/>
              </a:lnSpc>
              <a:buNone/>
              <a:defRPr sz="1763"/>
            </a:lvl4pPr>
            <a:lvl5pPr marL="2016127" indent="0">
              <a:lnSpc>
                <a:spcPts val="2865"/>
              </a:lnSpc>
              <a:buNone/>
              <a:defRPr sz="1763"/>
            </a:lvl5pPr>
          </a:lstStyle>
          <a:p>
            <a:pPr lvl="0"/>
            <a:r>
              <a:rPr lang="en-US"/>
              <a:t>CLICK TO add TEXT</a:t>
            </a:r>
          </a:p>
        </p:txBody>
      </p:sp>
      <p:sp>
        <p:nvSpPr>
          <p:cNvPr id="10" name="Text Placeholder 9">
            <a:extLst>
              <a:ext uri="{FF2B5EF4-FFF2-40B4-BE49-F238E27FC236}">
                <a16:creationId xmlns:a16="http://schemas.microsoft.com/office/drawing/2014/main" id="{FB6CE9C2-1F1B-43C7-A998-FC5946D7D3A6}"/>
              </a:ext>
            </a:extLst>
          </p:cNvPr>
          <p:cNvSpPr>
            <a:spLocks noGrp="1"/>
          </p:cNvSpPr>
          <p:nvPr>
            <p:ph type="body" sz="quarter" idx="13" hasCustomPrompt="1"/>
          </p:nvPr>
        </p:nvSpPr>
        <p:spPr>
          <a:xfrm>
            <a:off x="964952" y="3739521"/>
            <a:ext cx="3095048" cy="1612731"/>
          </a:xfrm>
          <a:prstGeom prst="rect">
            <a:avLst/>
          </a:prstGeom>
        </p:spPr>
        <p:txBody>
          <a:bodyPr>
            <a:normAutofit/>
          </a:bodyPr>
          <a:lstStyle>
            <a:lvl1pPr marL="0" indent="0" algn="ctr">
              <a:lnSpc>
                <a:spcPts val="2207"/>
              </a:lnSpc>
              <a:spcBef>
                <a:spcPts val="0"/>
              </a:spcBef>
              <a:buNone/>
              <a:defRPr sz="1547"/>
            </a:lvl1pPr>
            <a:lvl2pPr marL="504031" indent="0">
              <a:lnSpc>
                <a:spcPts val="2865"/>
              </a:lnSpc>
              <a:buNone/>
              <a:defRPr sz="1763"/>
            </a:lvl2pPr>
            <a:lvl3pPr marL="1008063" indent="0">
              <a:lnSpc>
                <a:spcPts val="2865"/>
              </a:lnSpc>
              <a:buNone/>
              <a:defRPr sz="1763"/>
            </a:lvl3pPr>
            <a:lvl4pPr marL="1512094" indent="0">
              <a:lnSpc>
                <a:spcPts val="2865"/>
              </a:lnSpc>
              <a:buNone/>
              <a:defRPr sz="1763"/>
            </a:lvl4pPr>
            <a:lvl5pPr marL="2016127" indent="0">
              <a:lnSpc>
                <a:spcPts val="2865"/>
              </a:lnSpc>
              <a:buNone/>
              <a:defRPr sz="1763"/>
            </a:lvl5pPr>
          </a:lstStyle>
          <a:p>
            <a:pPr lvl="0"/>
            <a:r>
              <a:rPr lang="en-US"/>
              <a:t>Click to add text</a:t>
            </a:r>
          </a:p>
        </p:txBody>
      </p:sp>
      <p:sp>
        <p:nvSpPr>
          <p:cNvPr id="32" name="Text Placeholder 9">
            <a:extLst>
              <a:ext uri="{FF2B5EF4-FFF2-40B4-BE49-F238E27FC236}">
                <a16:creationId xmlns:a16="http://schemas.microsoft.com/office/drawing/2014/main" id="{F13B55CA-81C2-4AD0-94D7-1164220A28BB}"/>
              </a:ext>
            </a:extLst>
          </p:cNvPr>
          <p:cNvSpPr>
            <a:spLocks noGrp="1"/>
          </p:cNvSpPr>
          <p:nvPr>
            <p:ph type="body" sz="quarter" idx="17" hasCustomPrompt="1"/>
          </p:nvPr>
        </p:nvSpPr>
        <p:spPr>
          <a:xfrm>
            <a:off x="4959787" y="2701328"/>
            <a:ext cx="3527941" cy="2829652"/>
          </a:xfrm>
          <a:prstGeom prst="rect">
            <a:avLst/>
          </a:prstGeom>
          <a:noFill/>
          <a:ln w="22225">
            <a:noFill/>
          </a:ln>
        </p:spPr>
        <p:txBody>
          <a:bodyPr tIns="420624">
            <a:noAutofit/>
          </a:bodyPr>
          <a:lstStyle>
            <a:lvl1pPr marL="0" indent="0" algn="ctr">
              <a:lnSpc>
                <a:spcPts val="2865"/>
              </a:lnSpc>
              <a:spcBef>
                <a:spcPts val="0"/>
              </a:spcBef>
              <a:buNone/>
              <a:defRPr sz="1989" cap="all" baseline="0">
                <a:solidFill>
                  <a:schemeClr val="tx1"/>
                </a:solidFill>
                <a:latin typeface="+mj-lt"/>
              </a:defRPr>
            </a:lvl1pPr>
            <a:lvl2pPr marL="504031" indent="0">
              <a:lnSpc>
                <a:spcPts val="2865"/>
              </a:lnSpc>
              <a:buNone/>
              <a:defRPr sz="1763"/>
            </a:lvl2pPr>
            <a:lvl3pPr marL="1008063" indent="0">
              <a:lnSpc>
                <a:spcPts val="2865"/>
              </a:lnSpc>
              <a:buNone/>
              <a:defRPr sz="1763"/>
            </a:lvl3pPr>
            <a:lvl4pPr marL="1512094" indent="0">
              <a:lnSpc>
                <a:spcPts val="2865"/>
              </a:lnSpc>
              <a:buNone/>
              <a:defRPr sz="1763"/>
            </a:lvl4pPr>
            <a:lvl5pPr marL="2016127" indent="0">
              <a:lnSpc>
                <a:spcPts val="2865"/>
              </a:lnSpc>
              <a:buNone/>
              <a:defRPr sz="1763"/>
            </a:lvl5pPr>
          </a:lstStyle>
          <a:p>
            <a:pPr lvl="0"/>
            <a:r>
              <a:rPr lang="en-US"/>
              <a:t>CLICK TO add TEXT</a:t>
            </a:r>
          </a:p>
        </p:txBody>
      </p:sp>
      <p:sp>
        <p:nvSpPr>
          <p:cNvPr id="31" name="Text Placeholder 9">
            <a:extLst>
              <a:ext uri="{FF2B5EF4-FFF2-40B4-BE49-F238E27FC236}">
                <a16:creationId xmlns:a16="http://schemas.microsoft.com/office/drawing/2014/main" id="{A551E3CC-0E54-4309-8184-90F1CF36B07A}"/>
              </a:ext>
            </a:extLst>
          </p:cNvPr>
          <p:cNvSpPr>
            <a:spLocks noGrp="1"/>
          </p:cNvSpPr>
          <p:nvPr>
            <p:ph type="body" sz="quarter" idx="16" hasCustomPrompt="1"/>
          </p:nvPr>
        </p:nvSpPr>
        <p:spPr>
          <a:xfrm>
            <a:off x="5215886" y="3739521"/>
            <a:ext cx="3023949" cy="1612731"/>
          </a:xfrm>
          <a:prstGeom prst="rect">
            <a:avLst/>
          </a:prstGeom>
        </p:spPr>
        <p:txBody>
          <a:bodyPr>
            <a:normAutofit/>
          </a:bodyPr>
          <a:lstStyle>
            <a:lvl1pPr marL="0" indent="0" algn="ctr">
              <a:lnSpc>
                <a:spcPts val="2207"/>
              </a:lnSpc>
              <a:spcBef>
                <a:spcPts val="0"/>
              </a:spcBef>
              <a:buNone/>
              <a:defRPr sz="1547"/>
            </a:lvl1pPr>
            <a:lvl2pPr marL="504031" indent="0">
              <a:lnSpc>
                <a:spcPts val="2865"/>
              </a:lnSpc>
              <a:buNone/>
              <a:defRPr sz="1763"/>
            </a:lvl2pPr>
            <a:lvl3pPr marL="1008063" indent="0">
              <a:lnSpc>
                <a:spcPts val="2865"/>
              </a:lnSpc>
              <a:buNone/>
              <a:defRPr sz="1763"/>
            </a:lvl3pPr>
            <a:lvl4pPr marL="1512094" indent="0">
              <a:lnSpc>
                <a:spcPts val="2865"/>
              </a:lnSpc>
              <a:buNone/>
              <a:defRPr sz="1763"/>
            </a:lvl4pPr>
            <a:lvl5pPr marL="2016127" indent="0">
              <a:lnSpc>
                <a:spcPts val="2865"/>
              </a:lnSpc>
              <a:buNone/>
              <a:defRPr sz="1763"/>
            </a:lvl5pPr>
          </a:lstStyle>
          <a:p>
            <a:pPr lvl="0"/>
            <a:r>
              <a:rPr lang="en-US"/>
              <a:t>Click to add text</a:t>
            </a:r>
          </a:p>
        </p:txBody>
      </p:sp>
      <p:sp>
        <p:nvSpPr>
          <p:cNvPr id="34" name="Text Placeholder 9">
            <a:extLst>
              <a:ext uri="{FF2B5EF4-FFF2-40B4-BE49-F238E27FC236}">
                <a16:creationId xmlns:a16="http://schemas.microsoft.com/office/drawing/2014/main" id="{01BBF6FF-17B9-408E-8ED2-92B3DA12A468}"/>
              </a:ext>
            </a:extLst>
          </p:cNvPr>
          <p:cNvSpPr>
            <a:spLocks noGrp="1"/>
          </p:cNvSpPr>
          <p:nvPr>
            <p:ph type="body" sz="quarter" idx="19" hasCustomPrompt="1"/>
          </p:nvPr>
        </p:nvSpPr>
        <p:spPr>
          <a:xfrm>
            <a:off x="9186012" y="2701328"/>
            <a:ext cx="3527941" cy="2829652"/>
          </a:xfrm>
          <a:prstGeom prst="rect">
            <a:avLst/>
          </a:prstGeom>
          <a:noFill/>
          <a:ln w="22225">
            <a:noFill/>
          </a:ln>
        </p:spPr>
        <p:txBody>
          <a:bodyPr tIns="420624">
            <a:noAutofit/>
          </a:bodyPr>
          <a:lstStyle>
            <a:lvl1pPr marL="0" indent="0" algn="ctr">
              <a:lnSpc>
                <a:spcPts val="2865"/>
              </a:lnSpc>
              <a:spcBef>
                <a:spcPts val="0"/>
              </a:spcBef>
              <a:buNone/>
              <a:defRPr sz="1989" cap="all" baseline="0">
                <a:solidFill>
                  <a:schemeClr val="tx1"/>
                </a:solidFill>
                <a:latin typeface="+mj-lt"/>
              </a:defRPr>
            </a:lvl1pPr>
            <a:lvl2pPr marL="504031" indent="0">
              <a:lnSpc>
                <a:spcPts val="2865"/>
              </a:lnSpc>
              <a:buNone/>
              <a:defRPr sz="1763"/>
            </a:lvl2pPr>
            <a:lvl3pPr marL="1008063" indent="0">
              <a:lnSpc>
                <a:spcPts val="2865"/>
              </a:lnSpc>
              <a:buNone/>
              <a:defRPr sz="1763"/>
            </a:lvl3pPr>
            <a:lvl4pPr marL="1512094" indent="0">
              <a:lnSpc>
                <a:spcPts val="2865"/>
              </a:lnSpc>
              <a:buNone/>
              <a:defRPr sz="1763"/>
            </a:lvl4pPr>
            <a:lvl5pPr marL="2016127" indent="0">
              <a:lnSpc>
                <a:spcPts val="2865"/>
              </a:lnSpc>
              <a:buNone/>
              <a:defRPr sz="1763"/>
            </a:lvl5pPr>
          </a:lstStyle>
          <a:p>
            <a:pPr lvl="0"/>
            <a:r>
              <a:rPr lang="en-US"/>
              <a:t>CLICK TO add TEXT</a:t>
            </a:r>
          </a:p>
        </p:txBody>
      </p:sp>
      <p:sp>
        <p:nvSpPr>
          <p:cNvPr id="33" name="Text Placeholder 9">
            <a:extLst>
              <a:ext uri="{FF2B5EF4-FFF2-40B4-BE49-F238E27FC236}">
                <a16:creationId xmlns:a16="http://schemas.microsoft.com/office/drawing/2014/main" id="{3EF0C778-EB33-45E0-B66D-9E5B206D382D}"/>
              </a:ext>
            </a:extLst>
          </p:cNvPr>
          <p:cNvSpPr>
            <a:spLocks noGrp="1"/>
          </p:cNvSpPr>
          <p:nvPr>
            <p:ph type="body" sz="quarter" idx="18" hasCustomPrompt="1"/>
          </p:nvPr>
        </p:nvSpPr>
        <p:spPr>
          <a:xfrm>
            <a:off x="9450879" y="3739521"/>
            <a:ext cx="3023949" cy="1612731"/>
          </a:xfrm>
          <a:prstGeom prst="rect">
            <a:avLst/>
          </a:prstGeom>
        </p:spPr>
        <p:txBody>
          <a:bodyPr>
            <a:normAutofit/>
          </a:bodyPr>
          <a:lstStyle>
            <a:lvl1pPr marL="0" indent="0" algn="ctr">
              <a:lnSpc>
                <a:spcPts val="2207"/>
              </a:lnSpc>
              <a:spcBef>
                <a:spcPts val="0"/>
              </a:spcBef>
              <a:buNone/>
              <a:defRPr sz="1547"/>
            </a:lvl1pPr>
            <a:lvl2pPr marL="504031" indent="0">
              <a:lnSpc>
                <a:spcPts val="2865"/>
              </a:lnSpc>
              <a:buNone/>
              <a:defRPr sz="1763"/>
            </a:lvl2pPr>
            <a:lvl3pPr marL="1008063" indent="0">
              <a:lnSpc>
                <a:spcPts val="2865"/>
              </a:lnSpc>
              <a:buNone/>
              <a:defRPr sz="1763"/>
            </a:lvl3pPr>
            <a:lvl4pPr marL="1512094" indent="0">
              <a:lnSpc>
                <a:spcPts val="2865"/>
              </a:lnSpc>
              <a:buNone/>
              <a:defRPr sz="1763"/>
            </a:lvl4pPr>
            <a:lvl5pPr marL="2016127" indent="0">
              <a:lnSpc>
                <a:spcPts val="2865"/>
              </a:lnSpc>
              <a:buNone/>
              <a:defRPr sz="1763"/>
            </a:lvl5pPr>
          </a:lstStyle>
          <a:p>
            <a:pPr lvl="0"/>
            <a:r>
              <a:rPr lang="en-US"/>
              <a:t>Click to add text</a:t>
            </a:r>
          </a:p>
        </p:txBody>
      </p:sp>
    </p:spTree>
    <p:extLst>
      <p:ext uri="{BB962C8B-B14F-4D97-AF65-F5344CB8AC3E}">
        <p14:creationId xmlns:p14="http://schemas.microsoft.com/office/powerpoint/2010/main" val="1852662682"/>
      </p:ext>
    </p:extLst>
  </p:cSld>
  <p:clrMapOvr>
    <a:masterClrMapping/>
  </p:clrMapOvr>
  <p:extLst>
    <p:ext uri="{DCECCB84-F9BA-43D5-87BE-67443E8EF086}">
      <p15:sldGuideLst xmlns:p15="http://schemas.microsoft.com/office/powerpoint/2012/main">
        <p15:guide id="1" pos="3841">
          <p15:clr>
            <a:srgbClr val="FBAE40"/>
          </p15:clr>
        </p15:guide>
        <p15:guide id="2" pos="576">
          <p15:clr>
            <a:srgbClr val="FBAE40"/>
          </p15:clr>
        </p15:guide>
        <p15:guide id="3" pos="7079">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4_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9E034D-C1DD-48C0-BB6B-FDC6F8EBA558}"/>
              </a:ext>
            </a:extLst>
          </p:cNvPr>
          <p:cNvSpPr>
            <a:spLocks noGrp="1"/>
          </p:cNvSpPr>
          <p:nvPr>
            <p:ph type="title" hasCustomPrompt="1"/>
          </p:nvPr>
        </p:nvSpPr>
        <p:spPr>
          <a:xfrm>
            <a:off x="923985" y="150496"/>
            <a:ext cx="11591806" cy="1331203"/>
          </a:xfrm>
          <a:prstGeom prst="rect">
            <a:avLst/>
          </a:prstGeom>
        </p:spPr>
        <p:txBody>
          <a:bodyPr anchor="b" anchorCtr="0"/>
          <a:lstStyle>
            <a:lvl1pPr algn="ctr">
              <a:defRPr cap="all" baseline="0"/>
            </a:lvl1pPr>
          </a:lstStyle>
          <a:p>
            <a:r>
              <a:rPr lang="en-US"/>
              <a:t>Click to add title</a:t>
            </a:r>
          </a:p>
        </p:txBody>
      </p:sp>
      <p:sp>
        <p:nvSpPr>
          <p:cNvPr id="10" name="Text Placeholder 9">
            <a:extLst>
              <a:ext uri="{FF2B5EF4-FFF2-40B4-BE49-F238E27FC236}">
                <a16:creationId xmlns:a16="http://schemas.microsoft.com/office/drawing/2014/main" id="{870B9ACD-DA59-4E9B-AB31-746215B733B6}"/>
              </a:ext>
            </a:extLst>
          </p:cNvPr>
          <p:cNvSpPr>
            <a:spLocks noGrp="1"/>
          </p:cNvSpPr>
          <p:nvPr>
            <p:ph type="body" sz="quarter" idx="14" hasCustomPrompt="1"/>
          </p:nvPr>
        </p:nvSpPr>
        <p:spPr>
          <a:xfrm>
            <a:off x="923991" y="1532098"/>
            <a:ext cx="11591804" cy="524137"/>
          </a:xfrm>
          <a:prstGeom prst="rect">
            <a:avLst/>
          </a:prstGeom>
        </p:spPr>
        <p:txBody>
          <a:bodyPr anchor="ctr" anchorCtr="0">
            <a:noAutofit/>
          </a:bodyPr>
          <a:lstStyle>
            <a:lvl1pPr marL="0" indent="0" algn="ctr">
              <a:lnSpc>
                <a:spcPts val="2865"/>
              </a:lnSpc>
              <a:spcBef>
                <a:spcPts val="0"/>
              </a:spcBef>
              <a:buNone/>
              <a:defRPr sz="1989" b="0">
                <a:solidFill>
                  <a:schemeClr val="tx1"/>
                </a:solidFill>
                <a:latin typeface="+mj-lt"/>
              </a:defRPr>
            </a:lvl1pPr>
            <a:lvl2pPr marL="504031" indent="0">
              <a:lnSpc>
                <a:spcPts val="2865"/>
              </a:lnSpc>
              <a:buNone/>
              <a:defRPr sz="1763"/>
            </a:lvl2pPr>
            <a:lvl3pPr marL="1008063" indent="0">
              <a:lnSpc>
                <a:spcPts val="2865"/>
              </a:lnSpc>
              <a:buNone/>
              <a:defRPr sz="1763"/>
            </a:lvl3pPr>
            <a:lvl4pPr marL="1512094" indent="0">
              <a:lnSpc>
                <a:spcPts val="2865"/>
              </a:lnSpc>
              <a:buNone/>
              <a:defRPr sz="1763"/>
            </a:lvl4pPr>
            <a:lvl5pPr marL="2016127" indent="0">
              <a:lnSpc>
                <a:spcPts val="2865"/>
              </a:lnSpc>
              <a:buNone/>
              <a:defRPr sz="1763"/>
            </a:lvl5pPr>
          </a:lstStyle>
          <a:p>
            <a:pPr lvl="0"/>
            <a:r>
              <a:rPr lang="en-US"/>
              <a:t>Click to add subtitle</a:t>
            </a:r>
          </a:p>
        </p:txBody>
      </p:sp>
      <p:sp>
        <p:nvSpPr>
          <p:cNvPr id="3" name="Text Placeholder 2">
            <a:extLst>
              <a:ext uri="{FF2B5EF4-FFF2-40B4-BE49-F238E27FC236}">
                <a16:creationId xmlns:a16="http://schemas.microsoft.com/office/drawing/2014/main" id="{D77FFB71-D3BF-4723-8C5E-44AD8F0E924D}"/>
              </a:ext>
            </a:extLst>
          </p:cNvPr>
          <p:cNvSpPr>
            <a:spLocks noGrp="1"/>
          </p:cNvSpPr>
          <p:nvPr>
            <p:ph type="body" idx="1" hasCustomPrompt="1"/>
          </p:nvPr>
        </p:nvSpPr>
        <p:spPr>
          <a:xfrm>
            <a:off x="923984" y="2207430"/>
            <a:ext cx="5402790" cy="442101"/>
          </a:xfrm>
          <a:prstGeom prst="rect">
            <a:avLst/>
          </a:prstGeom>
        </p:spPr>
        <p:txBody>
          <a:bodyPr anchor="t" anchorCtr="0">
            <a:normAutofit/>
          </a:bodyPr>
          <a:lstStyle>
            <a:lvl1pPr marL="0" indent="0">
              <a:buNone/>
              <a:defRPr sz="1547" b="0" cap="all" baseline="0">
                <a:solidFill>
                  <a:schemeClr val="bg1">
                    <a:lumMod val="50000"/>
                  </a:schemeClr>
                </a:solidFill>
                <a:latin typeface="+mj-lt"/>
              </a:defRPr>
            </a:lvl1pPr>
            <a:lvl2pPr marL="504031" indent="0">
              <a:buNone/>
              <a:defRPr sz="2207" b="1"/>
            </a:lvl2pPr>
            <a:lvl3pPr marL="1008063" indent="0">
              <a:buNone/>
              <a:defRPr sz="1989" b="1"/>
            </a:lvl3pPr>
            <a:lvl4pPr marL="1512094" indent="0">
              <a:buNone/>
              <a:defRPr sz="1763" b="1"/>
            </a:lvl4pPr>
            <a:lvl5pPr marL="2016127" indent="0">
              <a:buNone/>
              <a:defRPr sz="1763" b="1"/>
            </a:lvl5pPr>
            <a:lvl6pPr marL="2520158" indent="0">
              <a:buNone/>
              <a:defRPr sz="1763" b="1"/>
            </a:lvl6pPr>
            <a:lvl7pPr marL="3024189" indent="0">
              <a:buNone/>
              <a:defRPr sz="1763" b="1"/>
            </a:lvl7pPr>
            <a:lvl8pPr marL="3528219" indent="0">
              <a:buNone/>
              <a:defRPr sz="1763" b="1"/>
            </a:lvl8pPr>
            <a:lvl9pPr marL="4032251" indent="0">
              <a:buNone/>
              <a:defRPr sz="1763" b="1"/>
            </a:lvl9pPr>
          </a:lstStyle>
          <a:p>
            <a:pPr lvl="0"/>
            <a:r>
              <a:rPr lang="en-US"/>
              <a:t>CLICK TO add text</a:t>
            </a:r>
          </a:p>
        </p:txBody>
      </p:sp>
      <p:sp>
        <p:nvSpPr>
          <p:cNvPr id="4" name="Content Placeholder 3">
            <a:extLst>
              <a:ext uri="{FF2B5EF4-FFF2-40B4-BE49-F238E27FC236}">
                <a16:creationId xmlns:a16="http://schemas.microsoft.com/office/drawing/2014/main" id="{A91BC8B9-8F2B-4131-A090-0ACBEEE80BB7}"/>
              </a:ext>
            </a:extLst>
          </p:cNvPr>
          <p:cNvSpPr>
            <a:spLocks noGrp="1"/>
          </p:cNvSpPr>
          <p:nvPr>
            <p:ph sz="half" idx="2" hasCustomPrompt="1"/>
          </p:nvPr>
        </p:nvSpPr>
        <p:spPr>
          <a:xfrm>
            <a:off x="923984" y="2792041"/>
            <a:ext cx="5402790" cy="4072145"/>
          </a:xfrm>
          <a:prstGeom prst="rect">
            <a:avLst/>
          </a:prstGeom>
        </p:spPr>
        <p:txBody>
          <a:bodyPr/>
          <a:lstStyle>
            <a:lvl1pPr>
              <a:defRPr/>
            </a:lvl1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714E40B-C52C-407A-9311-46FDCD84CB5A}"/>
              </a:ext>
            </a:extLst>
          </p:cNvPr>
          <p:cNvSpPr>
            <a:spLocks noGrp="1"/>
          </p:cNvSpPr>
          <p:nvPr>
            <p:ph type="body" sz="quarter" idx="3" hasCustomPrompt="1"/>
          </p:nvPr>
        </p:nvSpPr>
        <p:spPr>
          <a:xfrm>
            <a:off x="6820686" y="2207430"/>
            <a:ext cx="5695105" cy="442101"/>
          </a:xfrm>
          <a:prstGeom prst="rect">
            <a:avLst/>
          </a:prstGeom>
        </p:spPr>
        <p:txBody>
          <a:bodyPr anchor="t" anchorCtr="0">
            <a:normAutofit/>
          </a:bodyPr>
          <a:lstStyle>
            <a:lvl1pPr marL="0" indent="0">
              <a:buNone/>
              <a:defRPr sz="1547" b="0" cap="all" baseline="0">
                <a:solidFill>
                  <a:schemeClr val="bg1">
                    <a:lumMod val="50000"/>
                  </a:schemeClr>
                </a:solidFill>
                <a:latin typeface="+mj-lt"/>
              </a:defRPr>
            </a:lvl1pPr>
            <a:lvl2pPr marL="504031" indent="0">
              <a:buNone/>
              <a:defRPr sz="2207" b="1"/>
            </a:lvl2pPr>
            <a:lvl3pPr marL="1008063" indent="0">
              <a:buNone/>
              <a:defRPr sz="1989" b="1"/>
            </a:lvl3pPr>
            <a:lvl4pPr marL="1512094" indent="0">
              <a:buNone/>
              <a:defRPr sz="1763" b="1"/>
            </a:lvl4pPr>
            <a:lvl5pPr marL="2016127" indent="0">
              <a:buNone/>
              <a:defRPr sz="1763" b="1"/>
            </a:lvl5pPr>
            <a:lvl6pPr marL="2520158" indent="0">
              <a:buNone/>
              <a:defRPr sz="1763" b="1"/>
            </a:lvl6pPr>
            <a:lvl7pPr marL="3024189" indent="0">
              <a:buNone/>
              <a:defRPr sz="1763" b="1"/>
            </a:lvl7pPr>
            <a:lvl8pPr marL="3528219" indent="0">
              <a:buNone/>
              <a:defRPr sz="1763" b="1"/>
            </a:lvl8pPr>
            <a:lvl9pPr marL="4032251" indent="0">
              <a:buNone/>
              <a:defRPr sz="1763" b="1"/>
            </a:lvl9pPr>
          </a:lstStyle>
          <a:p>
            <a:pPr lvl="0"/>
            <a:r>
              <a:rPr lang="en-US"/>
              <a:t>CLICK to add text</a:t>
            </a:r>
          </a:p>
        </p:txBody>
      </p:sp>
      <p:sp>
        <p:nvSpPr>
          <p:cNvPr id="6" name="Content Placeholder 5">
            <a:extLst>
              <a:ext uri="{FF2B5EF4-FFF2-40B4-BE49-F238E27FC236}">
                <a16:creationId xmlns:a16="http://schemas.microsoft.com/office/drawing/2014/main" id="{0596ED23-22F0-421E-849C-630BEABF8BD0}"/>
              </a:ext>
            </a:extLst>
          </p:cNvPr>
          <p:cNvSpPr>
            <a:spLocks noGrp="1"/>
          </p:cNvSpPr>
          <p:nvPr>
            <p:ph sz="quarter" idx="4" hasCustomPrompt="1"/>
          </p:nvPr>
        </p:nvSpPr>
        <p:spPr>
          <a:xfrm>
            <a:off x="6820686" y="2792041"/>
            <a:ext cx="5695105" cy="4072145"/>
          </a:xfrm>
          <a:prstGeom prst="rect">
            <a:avLst/>
          </a:prstGeom>
        </p:spPr>
        <p:txBody>
          <a:bodyPr/>
          <a:lstStyle>
            <a:lvl1pPr>
              <a:defRPr/>
            </a:lvl1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860A2F77-6CFB-4347-9224-EFAA0C0EF3DB}"/>
              </a:ext>
            </a:extLst>
          </p:cNvPr>
          <p:cNvSpPr>
            <a:spLocks noGrp="1"/>
          </p:cNvSpPr>
          <p:nvPr>
            <p:ph type="dt" sz="half" idx="10"/>
          </p:nvPr>
        </p:nvSpPr>
        <p:spPr>
          <a:xfrm>
            <a:off x="923988" y="7006701"/>
            <a:ext cx="3023949" cy="402484"/>
          </a:xfrm>
          <a:prstGeom prst="rect">
            <a:avLst/>
          </a:prstGeom>
        </p:spPr>
        <p:txBody>
          <a:bodyPr/>
          <a:lstStyle/>
          <a:p>
            <a:endParaRPr lang="en-US"/>
          </a:p>
        </p:txBody>
      </p:sp>
      <p:sp>
        <p:nvSpPr>
          <p:cNvPr id="8" name="Footer Placeholder 7">
            <a:extLst>
              <a:ext uri="{FF2B5EF4-FFF2-40B4-BE49-F238E27FC236}">
                <a16:creationId xmlns:a16="http://schemas.microsoft.com/office/drawing/2014/main" id="{97C1F45E-8700-4861-AD21-BB7A09E1305A}"/>
              </a:ext>
            </a:extLst>
          </p:cNvPr>
          <p:cNvSpPr>
            <a:spLocks noGrp="1"/>
          </p:cNvSpPr>
          <p:nvPr>
            <p:ph type="ftr" sz="quarter" idx="11"/>
          </p:nvPr>
        </p:nvSpPr>
        <p:spPr>
          <a:xfrm>
            <a:off x="4451927" y="7006701"/>
            <a:ext cx="4535925" cy="402484"/>
          </a:xfrm>
          <a:prstGeom prst="rect">
            <a:avLst/>
          </a:prstGeom>
        </p:spPr>
        <p:txBody>
          <a:bodyPr/>
          <a:lstStyle/>
          <a:p>
            <a:endParaRPr lang="en-US"/>
          </a:p>
        </p:txBody>
      </p:sp>
      <p:sp>
        <p:nvSpPr>
          <p:cNvPr id="9" name="Slide Number Placeholder 8">
            <a:extLst>
              <a:ext uri="{FF2B5EF4-FFF2-40B4-BE49-F238E27FC236}">
                <a16:creationId xmlns:a16="http://schemas.microsoft.com/office/drawing/2014/main" id="{B7283171-31EE-44C7-A031-9F840EDEC10C}"/>
              </a:ext>
            </a:extLst>
          </p:cNvPr>
          <p:cNvSpPr>
            <a:spLocks noGrp="1"/>
          </p:cNvSpPr>
          <p:nvPr>
            <p:ph type="sldNum" sz="quarter" idx="12"/>
          </p:nvPr>
        </p:nvSpPr>
        <p:spPr>
          <a:xfrm>
            <a:off x="9491845" y="7006701"/>
            <a:ext cx="3023949" cy="402484"/>
          </a:xfrm>
          <a:prstGeom prst="rect">
            <a:avLst/>
          </a:prstGeom>
        </p:spPr>
        <p:txBody>
          <a:bodyPr/>
          <a:lstStyle/>
          <a:p>
            <a:fld id="{B5CEABB6-07DC-46E8-9B57-56EC44A396E5}" type="slidenum">
              <a:rPr lang="en-US" smtClean="0"/>
              <a:t>‹№›</a:t>
            </a:fld>
            <a:endParaRPr lang="en-US"/>
          </a:p>
        </p:txBody>
      </p:sp>
    </p:spTree>
    <p:extLst>
      <p:ext uri="{BB962C8B-B14F-4D97-AF65-F5344CB8AC3E}">
        <p14:creationId xmlns:p14="http://schemas.microsoft.com/office/powerpoint/2010/main" val="23924475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6_Time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C626A5-4FF6-42BD-858A-AE4B2C23A6BC}"/>
              </a:ext>
            </a:extLst>
          </p:cNvPr>
          <p:cNvSpPr>
            <a:spLocks noGrp="1"/>
          </p:cNvSpPr>
          <p:nvPr>
            <p:ph type="title" hasCustomPrompt="1"/>
          </p:nvPr>
        </p:nvSpPr>
        <p:spPr>
          <a:xfrm>
            <a:off x="923985" y="198016"/>
            <a:ext cx="11591806" cy="1665661"/>
          </a:xfrm>
          <a:prstGeom prst="rect">
            <a:avLst/>
          </a:prstGeom>
        </p:spPr>
        <p:txBody>
          <a:bodyPr anchor="b" anchorCtr="0">
            <a:noAutofit/>
          </a:bodyPr>
          <a:lstStyle>
            <a:lvl1pPr>
              <a:defRPr sz="4184" cap="all" baseline="0">
                <a:solidFill>
                  <a:schemeClr val="tx1"/>
                </a:solidFill>
              </a:defRPr>
            </a:lvl1pPr>
          </a:lstStyle>
          <a:p>
            <a:r>
              <a:rPr lang="en-US" noProof="0"/>
              <a:t>Click to add title</a:t>
            </a:r>
          </a:p>
        </p:txBody>
      </p:sp>
      <p:sp>
        <p:nvSpPr>
          <p:cNvPr id="9" name="Text Placeholder 3">
            <a:extLst>
              <a:ext uri="{FF2B5EF4-FFF2-40B4-BE49-F238E27FC236}">
                <a16:creationId xmlns:a16="http://schemas.microsoft.com/office/drawing/2014/main" id="{49D8C06D-0790-D07E-AC6D-4B7C67548456}"/>
              </a:ext>
            </a:extLst>
          </p:cNvPr>
          <p:cNvSpPr>
            <a:spLocks noGrp="1"/>
          </p:cNvSpPr>
          <p:nvPr>
            <p:ph type="body" sz="quarter" idx="64" hasCustomPrompt="1"/>
          </p:nvPr>
        </p:nvSpPr>
        <p:spPr>
          <a:xfrm>
            <a:off x="2398853" y="2862098"/>
            <a:ext cx="1977466" cy="768187"/>
          </a:xfrm>
          <a:prstGeom prst="rect">
            <a:avLst/>
          </a:prstGeom>
          <a:solidFill>
            <a:schemeClr val="accent1">
              <a:lumMod val="20000"/>
              <a:lumOff val="80000"/>
            </a:schemeClr>
          </a:solidFill>
          <a:ln w="22225">
            <a:solidFill>
              <a:schemeClr val="tx1"/>
            </a:solidFill>
          </a:ln>
        </p:spPr>
        <p:txBody>
          <a:bodyPr tIns="36000" anchor="t" anchorCtr="0">
            <a:normAutofit/>
          </a:bodyPr>
          <a:lstStyle>
            <a:lvl1pPr marL="0" indent="0" algn="ctr">
              <a:lnSpc>
                <a:spcPct val="200000"/>
              </a:lnSpc>
              <a:buNone/>
              <a:defRPr sz="1328">
                <a:solidFill>
                  <a:schemeClr val="tx1">
                    <a:lumMod val="75000"/>
                    <a:lumOff val="25000"/>
                  </a:schemeClr>
                </a:solidFill>
                <a:latin typeface="+mj-lt"/>
              </a:defRPr>
            </a:lvl1pPr>
          </a:lstStyle>
          <a:p>
            <a:pPr lvl="0"/>
            <a:r>
              <a:rPr lang="en-US" noProof="0"/>
              <a:t>Add Title</a:t>
            </a:r>
          </a:p>
        </p:txBody>
      </p:sp>
      <p:sp>
        <p:nvSpPr>
          <p:cNvPr id="10" name="Text Placeholder 36">
            <a:extLst>
              <a:ext uri="{FF2B5EF4-FFF2-40B4-BE49-F238E27FC236}">
                <a16:creationId xmlns:a16="http://schemas.microsoft.com/office/drawing/2014/main" id="{CDB1B3BC-8FFF-F1AB-0AF6-827AE3EC2952}"/>
              </a:ext>
            </a:extLst>
          </p:cNvPr>
          <p:cNvSpPr>
            <a:spLocks noGrp="1"/>
          </p:cNvSpPr>
          <p:nvPr>
            <p:ph type="body" sz="quarter" idx="65" hasCustomPrompt="1"/>
          </p:nvPr>
        </p:nvSpPr>
        <p:spPr>
          <a:xfrm>
            <a:off x="2455878" y="3315215"/>
            <a:ext cx="1863420" cy="247658"/>
          </a:xfrm>
          <a:prstGeom prst="rect">
            <a:avLst/>
          </a:prstGeom>
        </p:spPr>
        <p:txBody>
          <a:bodyPr>
            <a:normAutofit/>
          </a:bodyPr>
          <a:lstStyle>
            <a:lvl1pPr marL="0" indent="0" algn="ctr">
              <a:buNone/>
              <a:defRPr sz="1213">
                <a:solidFill>
                  <a:schemeClr val="tx1">
                    <a:lumMod val="75000"/>
                    <a:lumOff val="25000"/>
                  </a:schemeClr>
                </a:solidFill>
              </a:defRPr>
            </a:lvl1pPr>
          </a:lstStyle>
          <a:p>
            <a:pPr lvl="0"/>
            <a:r>
              <a:rPr lang="en-US" noProof="0"/>
              <a:t>Click to add text</a:t>
            </a:r>
          </a:p>
        </p:txBody>
      </p:sp>
      <p:sp>
        <p:nvSpPr>
          <p:cNvPr id="5" name="Text Placeholder 3">
            <a:extLst>
              <a:ext uri="{FF2B5EF4-FFF2-40B4-BE49-F238E27FC236}">
                <a16:creationId xmlns:a16="http://schemas.microsoft.com/office/drawing/2014/main" id="{144E2A9A-CB70-0ACF-949A-D854CAB04684}"/>
              </a:ext>
            </a:extLst>
          </p:cNvPr>
          <p:cNvSpPr>
            <a:spLocks noGrp="1"/>
          </p:cNvSpPr>
          <p:nvPr>
            <p:ph type="body" sz="quarter" idx="62" hasCustomPrompt="1"/>
          </p:nvPr>
        </p:nvSpPr>
        <p:spPr>
          <a:xfrm>
            <a:off x="4987384" y="2858890"/>
            <a:ext cx="1977466" cy="768187"/>
          </a:xfrm>
          <a:prstGeom prst="rect">
            <a:avLst/>
          </a:prstGeom>
          <a:solidFill>
            <a:schemeClr val="accent1">
              <a:lumMod val="20000"/>
              <a:lumOff val="80000"/>
            </a:schemeClr>
          </a:solidFill>
          <a:ln w="22225">
            <a:solidFill>
              <a:schemeClr val="tx1"/>
            </a:solidFill>
          </a:ln>
        </p:spPr>
        <p:txBody>
          <a:bodyPr tIns="36000" anchor="t" anchorCtr="0">
            <a:normAutofit/>
          </a:bodyPr>
          <a:lstStyle>
            <a:lvl1pPr marL="0" indent="0" algn="ctr">
              <a:lnSpc>
                <a:spcPct val="200000"/>
              </a:lnSpc>
              <a:buNone/>
              <a:defRPr sz="1328">
                <a:solidFill>
                  <a:schemeClr val="tx1">
                    <a:lumMod val="75000"/>
                    <a:lumOff val="25000"/>
                  </a:schemeClr>
                </a:solidFill>
                <a:latin typeface="+mj-lt"/>
              </a:defRPr>
            </a:lvl1pPr>
          </a:lstStyle>
          <a:p>
            <a:pPr lvl="0"/>
            <a:r>
              <a:rPr lang="en-US" noProof="0"/>
              <a:t>Add Title</a:t>
            </a:r>
          </a:p>
        </p:txBody>
      </p:sp>
      <p:sp>
        <p:nvSpPr>
          <p:cNvPr id="8" name="Text Placeholder 36">
            <a:extLst>
              <a:ext uri="{FF2B5EF4-FFF2-40B4-BE49-F238E27FC236}">
                <a16:creationId xmlns:a16="http://schemas.microsoft.com/office/drawing/2014/main" id="{B4744B67-695A-5CD7-90DD-C6584C8B51DA}"/>
              </a:ext>
            </a:extLst>
          </p:cNvPr>
          <p:cNvSpPr>
            <a:spLocks noGrp="1"/>
          </p:cNvSpPr>
          <p:nvPr>
            <p:ph type="body" sz="quarter" idx="63" hasCustomPrompt="1"/>
          </p:nvPr>
        </p:nvSpPr>
        <p:spPr>
          <a:xfrm>
            <a:off x="5044403" y="3312009"/>
            <a:ext cx="1863420" cy="247658"/>
          </a:xfrm>
          <a:prstGeom prst="rect">
            <a:avLst/>
          </a:prstGeom>
        </p:spPr>
        <p:txBody>
          <a:bodyPr>
            <a:normAutofit/>
          </a:bodyPr>
          <a:lstStyle>
            <a:lvl1pPr marL="0" indent="0" algn="ctr">
              <a:buNone/>
              <a:defRPr sz="1213">
                <a:solidFill>
                  <a:schemeClr val="tx1">
                    <a:lumMod val="75000"/>
                    <a:lumOff val="25000"/>
                  </a:schemeClr>
                </a:solidFill>
              </a:defRPr>
            </a:lvl1pPr>
          </a:lstStyle>
          <a:p>
            <a:pPr lvl="0"/>
            <a:r>
              <a:rPr lang="en-US" noProof="0"/>
              <a:t>Click to add text</a:t>
            </a:r>
          </a:p>
        </p:txBody>
      </p:sp>
      <p:sp>
        <p:nvSpPr>
          <p:cNvPr id="66" name="Text Placeholder 3">
            <a:extLst>
              <a:ext uri="{FF2B5EF4-FFF2-40B4-BE49-F238E27FC236}">
                <a16:creationId xmlns:a16="http://schemas.microsoft.com/office/drawing/2014/main" id="{E27F3657-5309-405D-A48A-06B22B33E2AA}"/>
              </a:ext>
            </a:extLst>
          </p:cNvPr>
          <p:cNvSpPr>
            <a:spLocks noGrp="1"/>
          </p:cNvSpPr>
          <p:nvPr>
            <p:ph type="body" sz="quarter" idx="59" hasCustomPrompt="1"/>
          </p:nvPr>
        </p:nvSpPr>
        <p:spPr>
          <a:xfrm>
            <a:off x="9365597" y="2849634"/>
            <a:ext cx="1977466" cy="768187"/>
          </a:xfrm>
          <a:prstGeom prst="rect">
            <a:avLst/>
          </a:prstGeom>
          <a:solidFill>
            <a:schemeClr val="accent1">
              <a:lumMod val="20000"/>
              <a:lumOff val="80000"/>
            </a:schemeClr>
          </a:solidFill>
          <a:ln w="22225">
            <a:solidFill>
              <a:schemeClr val="tx1"/>
            </a:solidFill>
          </a:ln>
        </p:spPr>
        <p:txBody>
          <a:bodyPr tIns="36000" anchor="t" anchorCtr="0">
            <a:normAutofit/>
          </a:bodyPr>
          <a:lstStyle>
            <a:lvl1pPr marL="0" indent="0" algn="ctr">
              <a:lnSpc>
                <a:spcPct val="200000"/>
              </a:lnSpc>
              <a:buNone/>
              <a:defRPr sz="1328">
                <a:solidFill>
                  <a:schemeClr val="tx1">
                    <a:lumMod val="75000"/>
                    <a:lumOff val="25000"/>
                  </a:schemeClr>
                </a:solidFill>
                <a:latin typeface="+mj-lt"/>
              </a:defRPr>
            </a:lvl1pPr>
          </a:lstStyle>
          <a:p>
            <a:pPr lvl="0"/>
            <a:r>
              <a:rPr lang="en-US" noProof="0"/>
              <a:t>Add Title</a:t>
            </a:r>
          </a:p>
        </p:txBody>
      </p:sp>
      <p:sp>
        <p:nvSpPr>
          <p:cNvPr id="67" name="Text Placeholder 36">
            <a:extLst>
              <a:ext uri="{FF2B5EF4-FFF2-40B4-BE49-F238E27FC236}">
                <a16:creationId xmlns:a16="http://schemas.microsoft.com/office/drawing/2014/main" id="{1787C639-A462-4A35-B451-A488A22C20B2}"/>
              </a:ext>
            </a:extLst>
          </p:cNvPr>
          <p:cNvSpPr>
            <a:spLocks noGrp="1"/>
          </p:cNvSpPr>
          <p:nvPr>
            <p:ph type="body" sz="quarter" idx="60" hasCustomPrompt="1"/>
          </p:nvPr>
        </p:nvSpPr>
        <p:spPr>
          <a:xfrm>
            <a:off x="9422618" y="3302752"/>
            <a:ext cx="1863420" cy="247658"/>
          </a:xfrm>
          <a:prstGeom prst="rect">
            <a:avLst/>
          </a:prstGeom>
        </p:spPr>
        <p:txBody>
          <a:bodyPr>
            <a:normAutofit/>
          </a:bodyPr>
          <a:lstStyle>
            <a:lvl1pPr marL="0" indent="0" algn="ctr">
              <a:buNone/>
              <a:defRPr sz="1213">
                <a:solidFill>
                  <a:schemeClr val="tx1">
                    <a:lumMod val="75000"/>
                    <a:lumOff val="25000"/>
                  </a:schemeClr>
                </a:solidFill>
              </a:defRPr>
            </a:lvl1pPr>
          </a:lstStyle>
          <a:p>
            <a:pPr lvl="0"/>
            <a:r>
              <a:rPr lang="en-US" noProof="0"/>
              <a:t>Click to add text</a:t>
            </a:r>
          </a:p>
        </p:txBody>
      </p:sp>
      <p:sp>
        <p:nvSpPr>
          <p:cNvPr id="39" name="Text Placeholder 10">
            <a:extLst>
              <a:ext uri="{FF2B5EF4-FFF2-40B4-BE49-F238E27FC236}">
                <a16:creationId xmlns:a16="http://schemas.microsoft.com/office/drawing/2014/main" id="{FC6A7536-E874-4947-87B9-7BBDD96382DC}"/>
              </a:ext>
            </a:extLst>
          </p:cNvPr>
          <p:cNvSpPr>
            <a:spLocks noGrp="1"/>
          </p:cNvSpPr>
          <p:nvPr>
            <p:ph type="body" sz="quarter" idx="33" hasCustomPrompt="1"/>
          </p:nvPr>
        </p:nvSpPr>
        <p:spPr>
          <a:xfrm>
            <a:off x="1007984" y="3773171"/>
            <a:ext cx="806387" cy="503978"/>
          </a:xfrm>
          <a:prstGeom prst="rect">
            <a:avLst/>
          </a:prstGeom>
        </p:spPr>
        <p:txBody>
          <a:bodyPr anchor="ctr"/>
          <a:lstStyle>
            <a:lvl1pPr marL="0" indent="0" algn="ctr">
              <a:buNone/>
              <a:defRPr sz="1547" b="1" cap="all" baseline="0">
                <a:solidFill>
                  <a:schemeClr val="tx1"/>
                </a:solidFill>
                <a:latin typeface="+mj-lt"/>
              </a:defRPr>
            </a:lvl1pPr>
          </a:lstStyle>
          <a:p>
            <a:pPr lvl="0"/>
            <a:r>
              <a:rPr lang="en-US" noProof="0"/>
              <a:t>Text</a:t>
            </a:r>
          </a:p>
        </p:txBody>
      </p:sp>
      <p:sp>
        <p:nvSpPr>
          <p:cNvPr id="40" name="Text Placeholder 10">
            <a:extLst>
              <a:ext uri="{FF2B5EF4-FFF2-40B4-BE49-F238E27FC236}">
                <a16:creationId xmlns:a16="http://schemas.microsoft.com/office/drawing/2014/main" id="{2EE2019A-1A0B-4D25-BAE2-71B69BA97418}"/>
              </a:ext>
            </a:extLst>
          </p:cNvPr>
          <p:cNvSpPr>
            <a:spLocks noGrp="1"/>
          </p:cNvSpPr>
          <p:nvPr>
            <p:ph type="body" sz="quarter" idx="34" hasCustomPrompt="1"/>
          </p:nvPr>
        </p:nvSpPr>
        <p:spPr>
          <a:xfrm>
            <a:off x="2167166" y="3935700"/>
            <a:ext cx="705588" cy="302388"/>
          </a:xfrm>
          <a:prstGeom prst="rect">
            <a:avLst/>
          </a:prstGeom>
        </p:spPr>
        <p:txBody>
          <a:bodyPr>
            <a:noAutofit/>
          </a:bodyPr>
          <a:lstStyle>
            <a:lvl1pPr marL="0" indent="0" algn="ctr">
              <a:buNone/>
              <a:defRPr sz="1102" cap="all" baseline="0">
                <a:solidFill>
                  <a:schemeClr val="tx1"/>
                </a:solidFill>
              </a:defRPr>
            </a:lvl1pPr>
          </a:lstStyle>
          <a:p>
            <a:pPr lvl="0"/>
            <a:r>
              <a:rPr lang="en-US" noProof="0"/>
              <a:t>MM</a:t>
            </a:r>
          </a:p>
        </p:txBody>
      </p:sp>
      <p:sp>
        <p:nvSpPr>
          <p:cNvPr id="41" name="Text Placeholder 10">
            <a:extLst>
              <a:ext uri="{FF2B5EF4-FFF2-40B4-BE49-F238E27FC236}">
                <a16:creationId xmlns:a16="http://schemas.microsoft.com/office/drawing/2014/main" id="{2FA81285-377E-4F1B-A411-6ADAE6E2E2FF}"/>
              </a:ext>
            </a:extLst>
          </p:cNvPr>
          <p:cNvSpPr>
            <a:spLocks noGrp="1"/>
          </p:cNvSpPr>
          <p:nvPr>
            <p:ph type="body" sz="quarter" idx="35" hasCustomPrompt="1"/>
          </p:nvPr>
        </p:nvSpPr>
        <p:spPr>
          <a:xfrm>
            <a:off x="3035721" y="3935700"/>
            <a:ext cx="705588" cy="302388"/>
          </a:xfrm>
          <a:prstGeom prst="rect">
            <a:avLst/>
          </a:prstGeom>
        </p:spPr>
        <p:txBody>
          <a:bodyPr>
            <a:noAutofit/>
          </a:bodyPr>
          <a:lstStyle>
            <a:lvl1pPr marL="0" indent="0" algn="ctr">
              <a:buNone/>
              <a:defRPr sz="1102" cap="all" baseline="0">
                <a:solidFill>
                  <a:schemeClr val="tx1"/>
                </a:solidFill>
              </a:defRPr>
            </a:lvl1pPr>
          </a:lstStyle>
          <a:p>
            <a:pPr lvl="0"/>
            <a:r>
              <a:rPr lang="en-US" noProof="0"/>
              <a:t>MM</a:t>
            </a:r>
          </a:p>
        </p:txBody>
      </p:sp>
      <p:sp>
        <p:nvSpPr>
          <p:cNvPr id="42" name="Text Placeholder 10">
            <a:extLst>
              <a:ext uri="{FF2B5EF4-FFF2-40B4-BE49-F238E27FC236}">
                <a16:creationId xmlns:a16="http://schemas.microsoft.com/office/drawing/2014/main" id="{CF13316C-EA9D-400F-83D5-7011014DC94D}"/>
              </a:ext>
            </a:extLst>
          </p:cNvPr>
          <p:cNvSpPr>
            <a:spLocks noGrp="1"/>
          </p:cNvSpPr>
          <p:nvPr>
            <p:ph type="body" sz="quarter" idx="36" hasCustomPrompt="1"/>
          </p:nvPr>
        </p:nvSpPr>
        <p:spPr>
          <a:xfrm>
            <a:off x="3904283" y="3935700"/>
            <a:ext cx="705588" cy="302388"/>
          </a:xfrm>
          <a:prstGeom prst="rect">
            <a:avLst/>
          </a:prstGeom>
        </p:spPr>
        <p:txBody>
          <a:bodyPr>
            <a:noAutofit/>
          </a:bodyPr>
          <a:lstStyle>
            <a:lvl1pPr marL="0" indent="0" algn="ctr">
              <a:buNone/>
              <a:defRPr sz="1102" cap="all" baseline="0">
                <a:solidFill>
                  <a:schemeClr val="tx1"/>
                </a:solidFill>
              </a:defRPr>
            </a:lvl1pPr>
          </a:lstStyle>
          <a:p>
            <a:pPr lvl="0"/>
            <a:r>
              <a:rPr lang="en-US" noProof="0"/>
              <a:t>MM</a:t>
            </a:r>
          </a:p>
        </p:txBody>
      </p:sp>
      <p:sp>
        <p:nvSpPr>
          <p:cNvPr id="43" name="Text Placeholder 10">
            <a:extLst>
              <a:ext uri="{FF2B5EF4-FFF2-40B4-BE49-F238E27FC236}">
                <a16:creationId xmlns:a16="http://schemas.microsoft.com/office/drawing/2014/main" id="{D3F29D29-DF16-44B2-B0BB-3B5E6BDB7E8C}"/>
              </a:ext>
            </a:extLst>
          </p:cNvPr>
          <p:cNvSpPr>
            <a:spLocks noGrp="1"/>
          </p:cNvSpPr>
          <p:nvPr>
            <p:ph type="body" sz="quarter" idx="37" hasCustomPrompt="1"/>
          </p:nvPr>
        </p:nvSpPr>
        <p:spPr>
          <a:xfrm>
            <a:off x="4772839" y="3935700"/>
            <a:ext cx="705588" cy="302388"/>
          </a:xfrm>
          <a:prstGeom prst="rect">
            <a:avLst/>
          </a:prstGeom>
        </p:spPr>
        <p:txBody>
          <a:bodyPr>
            <a:noAutofit/>
          </a:bodyPr>
          <a:lstStyle>
            <a:lvl1pPr marL="0" indent="0" algn="ctr">
              <a:buNone/>
              <a:defRPr sz="1102" cap="all" baseline="0">
                <a:solidFill>
                  <a:schemeClr val="tx1"/>
                </a:solidFill>
              </a:defRPr>
            </a:lvl1pPr>
          </a:lstStyle>
          <a:p>
            <a:pPr lvl="0"/>
            <a:r>
              <a:rPr lang="en-US" noProof="0"/>
              <a:t>MM</a:t>
            </a:r>
          </a:p>
        </p:txBody>
      </p:sp>
      <p:sp>
        <p:nvSpPr>
          <p:cNvPr id="45" name="Text Placeholder 10">
            <a:extLst>
              <a:ext uri="{FF2B5EF4-FFF2-40B4-BE49-F238E27FC236}">
                <a16:creationId xmlns:a16="http://schemas.microsoft.com/office/drawing/2014/main" id="{46F5413B-3B9F-4F5F-BC98-1E1665183D38}"/>
              </a:ext>
            </a:extLst>
          </p:cNvPr>
          <p:cNvSpPr>
            <a:spLocks noGrp="1"/>
          </p:cNvSpPr>
          <p:nvPr>
            <p:ph type="body" sz="quarter" idx="39" hasCustomPrompt="1"/>
          </p:nvPr>
        </p:nvSpPr>
        <p:spPr>
          <a:xfrm>
            <a:off x="5641401" y="3935700"/>
            <a:ext cx="705588" cy="302388"/>
          </a:xfrm>
          <a:prstGeom prst="rect">
            <a:avLst/>
          </a:prstGeom>
        </p:spPr>
        <p:txBody>
          <a:bodyPr>
            <a:noAutofit/>
          </a:bodyPr>
          <a:lstStyle>
            <a:lvl1pPr marL="0" indent="0" algn="ctr">
              <a:buNone/>
              <a:defRPr sz="1102" cap="all" baseline="0">
                <a:solidFill>
                  <a:schemeClr val="tx1"/>
                </a:solidFill>
              </a:defRPr>
            </a:lvl1pPr>
          </a:lstStyle>
          <a:p>
            <a:pPr lvl="0"/>
            <a:r>
              <a:rPr lang="en-US" noProof="0"/>
              <a:t>MM</a:t>
            </a:r>
          </a:p>
        </p:txBody>
      </p:sp>
      <p:sp>
        <p:nvSpPr>
          <p:cNvPr id="46" name="Text Placeholder 10">
            <a:extLst>
              <a:ext uri="{FF2B5EF4-FFF2-40B4-BE49-F238E27FC236}">
                <a16:creationId xmlns:a16="http://schemas.microsoft.com/office/drawing/2014/main" id="{811B74C5-AA62-45A7-AD20-F342A2D5D904}"/>
              </a:ext>
            </a:extLst>
          </p:cNvPr>
          <p:cNvSpPr>
            <a:spLocks noGrp="1"/>
          </p:cNvSpPr>
          <p:nvPr>
            <p:ph type="body" sz="quarter" idx="40" hasCustomPrompt="1"/>
          </p:nvPr>
        </p:nvSpPr>
        <p:spPr>
          <a:xfrm>
            <a:off x="6509956" y="3935700"/>
            <a:ext cx="705588" cy="302388"/>
          </a:xfrm>
          <a:prstGeom prst="rect">
            <a:avLst/>
          </a:prstGeom>
        </p:spPr>
        <p:txBody>
          <a:bodyPr>
            <a:noAutofit/>
          </a:bodyPr>
          <a:lstStyle>
            <a:lvl1pPr marL="0" indent="0" algn="ctr">
              <a:buNone/>
              <a:defRPr sz="1102" cap="all" baseline="0">
                <a:solidFill>
                  <a:schemeClr val="tx1"/>
                </a:solidFill>
              </a:defRPr>
            </a:lvl1pPr>
          </a:lstStyle>
          <a:p>
            <a:pPr lvl="0"/>
            <a:r>
              <a:rPr lang="en-US" noProof="0"/>
              <a:t>MM</a:t>
            </a:r>
          </a:p>
        </p:txBody>
      </p:sp>
      <p:sp>
        <p:nvSpPr>
          <p:cNvPr id="47" name="Text Placeholder 10">
            <a:extLst>
              <a:ext uri="{FF2B5EF4-FFF2-40B4-BE49-F238E27FC236}">
                <a16:creationId xmlns:a16="http://schemas.microsoft.com/office/drawing/2014/main" id="{FA00752C-760E-4D6D-B38E-ED20B3595666}"/>
              </a:ext>
            </a:extLst>
          </p:cNvPr>
          <p:cNvSpPr>
            <a:spLocks noGrp="1"/>
          </p:cNvSpPr>
          <p:nvPr>
            <p:ph type="body" sz="quarter" idx="41" hasCustomPrompt="1"/>
          </p:nvPr>
        </p:nvSpPr>
        <p:spPr>
          <a:xfrm>
            <a:off x="7378518" y="3935700"/>
            <a:ext cx="705588" cy="302388"/>
          </a:xfrm>
          <a:prstGeom prst="rect">
            <a:avLst/>
          </a:prstGeom>
        </p:spPr>
        <p:txBody>
          <a:bodyPr>
            <a:noAutofit/>
          </a:bodyPr>
          <a:lstStyle>
            <a:lvl1pPr marL="0" indent="0" algn="ctr">
              <a:buNone/>
              <a:defRPr sz="1102" cap="all" baseline="0">
                <a:solidFill>
                  <a:schemeClr val="tx1"/>
                </a:solidFill>
              </a:defRPr>
            </a:lvl1pPr>
          </a:lstStyle>
          <a:p>
            <a:pPr lvl="0"/>
            <a:r>
              <a:rPr lang="en-US" noProof="0"/>
              <a:t>MM</a:t>
            </a:r>
          </a:p>
        </p:txBody>
      </p:sp>
      <p:sp>
        <p:nvSpPr>
          <p:cNvPr id="49" name="Text Placeholder 10">
            <a:extLst>
              <a:ext uri="{FF2B5EF4-FFF2-40B4-BE49-F238E27FC236}">
                <a16:creationId xmlns:a16="http://schemas.microsoft.com/office/drawing/2014/main" id="{0095F8F9-37B7-4167-AC03-EE11AD5DB250}"/>
              </a:ext>
            </a:extLst>
          </p:cNvPr>
          <p:cNvSpPr>
            <a:spLocks noGrp="1"/>
          </p:cNvSpPr>
          <p:nvPr>
            <p:ph type="body" sz="quarter" idx="43" hasCustomPrompt="1"/>
          </p:nvPr>
        </p:nvSpPr>
        <p:spPr>
          <a:xfrm>
            <a:off x="8247074" y="3935700"/>
            <a:ext cx="705588" cy="302388"/>
          </a:xfrm>
          <a:prstGeom prst="rect">
            <a:avLst/>
          </a:prstGeom>
        </p:spPr>
        <p:txBody>
          <a:bodyPr>
            <a:noAutofit/>
          </a:bodyPr>
          <a:lstStyle>
            <a:lvl1pPr marL="0" indent="0" algn="ctr">
              <a:buNone/>
              <a:defRPr sz="1102" cap="all" baseline="0">
                <a:solidFill>
                  <a:schemeClr val="tx1"/>
                </a:solidFill>
              </a:defRPr>
            </a:lvl1pPr>
          </a:lstStyle>
          <a:p>
            <a:pPr lvl="0"/>
            <a:r>
              <a:rPr lang="en-US" noProof="0"/>
              <a:t>MM</a:t>
            </a:r>
          </a:p>
        </p:txBody>
      </p:sp>
      <p:sp>
        <p:nvSpPr>
          <p:cNvPr id="50" name="Text Placeholder 10">
            <a:extLst>
              <a:ext uri="{FF2B5EF4-FFF2-40B4-BE49-F238E27FC236}">
                <a16:creationId xmlns:a16="http://schemas.microsoft.com/office/drawing/2014/main" id="{F1B27D52-5A0D-4223-9B94-D994052FBCB0}"/>
              </a:ext>
            </a:extLst>
          </p:cNvPr>
          <p:cNvSpPr>
            <a:spLocks noGrp="1"/>
          </p:cNvSpPr>
          <p:nvPr>
            <p:ph type="body" sz="quarter" idx="44" hasCustomPrompt="1"/>
          </p:nvPr>
        </p:nvSpPr>
        <p:spPr>
          <a:xfrm>
            <a:off x="9115636" y="3935700"/>
            <a:ext cx="705588" cy="302388"/>
          </a:xfrm>
          <a:prstGeom prst="rect">
            <a:avLst/>
          </a:prstGeom>
        </p:spPr>
        <p:txBody>
          <a:bodyPr>
            <a:noAutofit/>
          </a:bodyPr>
          <a:lstStyle>
            <a:lvl1pPr marL="0" indent="0" algn="ctr">
              <a:buNone/>
              <a:defRPr sz="1102" cap="all" baseline="0">
                <a:solidFill>
                  <a:schemeClr val="tx1"/>
                </a:solidFill>
              </a:defRPr>
            </a:lvl1pPr>
          </a:lstStyle>
          <a:p>
            <a:pPr lvl="0"/>
            <a:r>
              <a:rPr lang="en-US" noProof="0"/>
              <a:t>MM</a:t>
            </a:r>
          </a:p>
        </p:txBody>
      </p:sp>
      <p:sp>
        <p:nvSpPr>
          <p:cNvPr id="48" name="Text Placeholder 10">
            <a:extLst>
              <a:ext uri="{FF2B5EF4-FFF2-40B4-BE49-F238E27FC236}">
                <a16:creationId xmlns:a16="http://schemas.microsoft.com/office/drawing/2014/main" id="{1FE58499-6C3A-48E2-90DE-27CDE58AAE3C}"/>
              </a:ext>
            </a:extLst>
          </p:cNvPr>
          <p:cNvSpPr>
            <a:spLocks noGrp="1"/>
          </p:cNvSpPr>
          <p:nvPr>
            <p:ph type="body" sz="quarter" idx="42" hasCustomPrompt="1"/>
          </p:nvPr>
        </p:nvSpPr>
        <p:spPr>
          <a:xfrm>
            <a:off x="9984191" y="3935700"/>
            <a:ext cx="705588" cy="302388"/>
          </a:xfrm>
          <a:prstGeom prst="rect">
            <a:avLst/>
          </a:prstGeom>
        </p:spPr>
        <p:txBody>
          <a:bodyPr>
            <a:noAutofit/>
          </a:bodyPr>
          <a:lstStyle>
            <a:lvl1pPr marL="0" indent="0" algn="ctr">
              <a:buNone/>
              <a:defRPr sz="1102" cap="all" baseline="0">
                <a:solidFill>
                  <a:schemeClr val="tx1"/>
                </a:solidFill>
              </a:defRPr>
            </a:lvl1pPr>
          </a:lstStyle>
          <a:p>
            <a:pPr lvl="0"/>
            <a:r>
              <a:rPr lang="en-US" noProof="0"/>
              <a:t>MM</a:t>
            </a:r>
          </a:p>
        </p:txBody>
      </p:sp>
      <p:sp>
        <p:nvSpPr>
          <p:cNvPr id="51" name="Text Placeholder 10">
            <a:extLst>
              <a:ext uri="{FF2B5EF4-FFF2-40B4-BE49-F238E27FC236}">
                <a16:creationId xmlns:a16="http://schemas.microsoft.com/office/drawing/2014/main" id="{0BD9531F-6F68-4C50-8D08-1934ED971C05}"/>
              </a:ext>
            </a:extLst>
          </p:cNvPr>
          <p:cNvSpPr>
            <a:spLocks noGrp="1"/>
          </p:cNvSpPr>
          <p:nvPr>
            <p:ph type="body" sz="quarter" idx="45" hasCustomPrompt="1"/>
          </p:nvPr>
        </p:nvSpPr>
        <p:spPr>
          <a:xfrm>
            <a:off x="10852753" y="3935700"/>
            <a:ext cx="705588" cy="302388"/>
          </a:xfrm>
          <a:prstGeom prst="rect">
            <a:avLst/>
          </a:prstGeom>
        </p:spPr>
        <p:txBody>
          <a:bodyPr>
            <a:noAutofit/>
          </a:bodyPr>
          <a:lstStyle>
            <a:lvl1pPr marL="0" indent="0" algn="ctr">
              <a:buNone/>
              <a:defRPr sz="1102" cap="all" baseline="0">
                <a:solidFill>
                  <a:schemeClr val="tx1"/>
                </a:solidFill>
              </a:defRPr>
            </a:lvl1pPr>
          </a:lstStyle>
          <a:p>
            <a:pPr lvl="0"/>
            <a:r>
              <a:rPr lang="en-US" noProof="0"/>
              <a:t>MM</a:t>
            </a:r>
          </a:p>
        </p:txBody>
      </p:sp>
      <p:sp>
        <p:nvSpPr>
          <p:cNvPr id="52" name="Text Placeholder 10">
            <a:extLst>
              <a:ext uri="{FF2B5EF4-FFF2-40B4-BE49-F238E27FC236}">
                <a16:creationId xmlns:a16="http://schemas.microsoft.com/office/drawing/2014/main" id="{26357C76-DD6D-4330-AD11-639E1B388CBA}"/>
              </a:ext>
            </a:extLst>
          </p:cNvPr>
          <p:cNvSpPr>
            <a:spLocks noGrp="1"/>
          </p:cNvSpPr>
          <p:nvPr>
            <p:ph type="body" sz="quarter" idx="46" hasCustomPrompt="1"/>
          </p:nvPr>
        </p:nvSpPr>
        <p:spPr>
          <a:xfrm>
            <a:off x="11721315" y="3935700"/>
            <a:ext cx="705588" cy="302388"/>
          </a:xfrm>
          <a:prstGeom prst="rect">
            <a:avLst/>
          </a:prstGeom>
        </p:spPr>
        <p:txBody>
          <a:bodyPr>
            <a:noAutofit/>
          </a:bodyPr>
          <a:lstStyle>
            <a:lvl1pPr marL="0" indent="0" algn="ctr">
              <a:buNone/>
              <a:defRPr sz="1102" cap="all" baseline="0">
                <a:solidFill>
                  <a:schemeClr val="tx1"/>
                </a:solidFill>
              </a:defRPr>
            </a:lvl1pPr>
          </a:lstStyle>
          <a:p>
            <a:pPr lvl="0"/>
            <a:r>
              <a:rPr lang="en-US" noProof="0"/>
              <a:t>MM</a:t>
            </a:r>
          </a:p>
        </p:txBody>
      </p:sp>
      <p:cxnSp>
        <p:nvCxnSpPr>
          <p:cNvPr id="65" name="Straight Connector 64">
            <a:extLst>
              <a:ext uri="{FF2B5EF4-FFF2-40B4-BE49-F238E27FC236}">
                <a16:creationId xmlns:a16="http://schemas.microsoft.com/office/drawing/2014/main" id="{CE8B4B52-0962-4EA4-8D67-3A977ABC3160}"/>
              </a:ext>
              <a:ext uri="{C183D7F6-B498-43B3-948B-1728B52AA6E4}">
                <adec:decorative xmlns:adec="http://schemas.microsoft.com/office/drawing/2017/decorative" val="1"/>
              </a:ext>
            </a:extLst>
          </p:cNvPr>
          <p:cNvCxnSpPr/>
          <p:nvPr userDrawn="1"/>
        </p:nvCxnSpPr>
        <p:spPr>
          <a:xfrm>
            <a:off x="1036695" y="4485407"/>
            <a:ext cx="11390209"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44" name="Text Placeholder 10">
            <a:extLst>
              <a:ext uri="{FF2B5EF4-FFF2-40B4-BE49-F238E27FC236}">
                <a16:creationId xmlns:a16="http://schemas.microsoft.com/office/drawing/2014/main" id="{C7A5AAEF-B3B1-437E-B061-56D207453385}"/>
              </a:ext>
            </a:extLst>
          </p:cNvPr>
          <p:cNvSpPr>
            <a:spLocks noGrp="1"/>
          </p:cNvSpPr>
          <p:nvPr>
            <p:ph type="body" sz="quarter" idx="38" hasCustomPrompt="1"/>
          </p:nvPr>
        </p:nvSpPr>
        <p:spPr>
          <a:xfrm>
            <a:off x="1007984" y="4656429"/>
            <a:ext cx="806387" cy="503978"/>
          </a:xfrm>
          <a:prstGeom prst="rect">
            <a:avLst/>
          </a:prstGeom>
        </p:spPr>
        <p:txBody>
          <a:bodyPr anchor="ctr"/>
          <a:lstStyle>
            <a:lvl1pPr marL="0" indent="0" algn="ctr">
              <a:buNone/>
              <a:defRPr sz="1547" b="1" cap="all" baseline="0">
                <a:solidFill>
                  <a:schemeClr val="tx1"/>
                </a:solidFill>
                <a:latin typeface="+mj-lt"/>
              </a:defRPr>
            </a:lvl1pPr>
          </a:lstStyle>
          <a:p>
            <a:pPr lvl="0"/>
            <a:r>
              <a:rPr lang="en-US" noProof="0"/>
              <a:t>Text</a:t>
            </a:r>
          </a:p>
        </p:txBody>
      </p:sp>
      <p:sp>
        <p:nvSpPr>
          <p:cNvPr id="53" name="Text Placeholder 10">
            <a:extLst>
              <a:ext uri="{FF2B5EF4-FFF2-40B4-BE49-F238E27FC236}">
                <a16:creationId xmlns:a16="http://schemas.microsoft.com/office/drawing/2014/main" id="{6293B0EF-4BE3-4B2F-B169-6E91B1748D99}"/>
              </a:ext>
            </a:extLst>
          </p:cNvPr>
          <p:cNvSpPr>
            <a:spLocks noGrp="1"/>
          </p:cNvSpPr>
          <p:nvPr>
            <p:ph type="body" sz="quarter" idx="47" hasCustomPrompt="1"/>
          </p:nvPr>
        </p:nvSpPr>
        <p:spPr>
          <a:xfrm>
            <a:off x="2171524" y="4803292"/>
            <a:ext cx="705588" cy="302388"/>
          </a:xfrm>
          <a:prstGeom prst="rect">
            <a:avLst/>
          </a:prstGeom>
        </p:spPr>
        <p:txBody>
          <a:bodyPr>
            <a:noAutofit/>
          </a:bodyPr>
          <a:lstStyle>
            <a:lvl1pPr marL="0" indent="0" algn="ctr">
              <a:buNone/>
              <a:defRPr sz="1102" cap="all" baseline="0">
                <a:solidFill>
                  <a:schemeClr val="tx1"/>
                </a:solidFill>
              </a:defRPr>
            </a:lvl1pPr>
          </a:lstStyle>
          <a:p>
            <a:pPr lvl="0"/>
            <a:r>
              <a:rPr lang="en-US" noProof="0"/>
              <a:t>MM</a:t>
            </a:r>
          </a:p>
        </p:txBody>
      </p:sp>
      <p:sp>
        <p:nvSpPr>
          <p:cNvPr id="54" name="Text Placeholder 10">
            <a:extLst>
              <a:ext uri="{FF2B5EF4-FFF2-40B4-BE49-F238E27FC236}">
                <a16:creationId xmlns:a16="http://schemas.microsoft.com/office/drawing/2014/main" id="{2E79FE94-2079-4F2E-9D07-CE6E4E5E7EF3}"/>
              </a:ext>
            </a:extLst>
          </p:cNvPr>
          <p:cNvSpPr>
            <a:spLocks noGrp="1"/>
          </p:cNvSpPr>
          <p:nvPr>
            <p:ph type="body" sz="quarter" idx="48" hasCustomPrompt="1"/>
          </p:nvPr>
        </p:nvSpPr>
        <p:spPr>
          <a:xfrm>
            <a:off x="3039827" y="4803292"/>
            <a:ext cx="705588" cy="302388"/>
          </a:xfrm>
          <a:prstGeom prst="rect">
            <a:avLst/>
          </a:prstGeom>
        </p:spPr>
        <p:txBody>
          <a:bodyPr>
            <a:noAutofit/>
          </a:bodyPr>
          <a:lstStyle>
            <a:lvl1pPr marL="0" indent="0" algn="ctr">
              <a:buNone/>
              <a:defRPr sz="1102" cap="all" baseline="0">
                <a:solidFill>
                  <a:schemeClr val="tx1"/>
                </a:solidFill>
              </a:defRPr>
            </a:lvl1pPr>
          </a:lstStyle>
          <a:p>
            <a:pPr lvl="0"/>
            <a:r>
              <a:rPr lang="en-US" noProof="0"/>
              <a:t>MM</a:t>
            </a:r>
          </a:p>
        </p:txBody>
      </p:sp>
      <p:sp>
        <p:nvSpPr>
          <p:cNvPr id="55" name="Text Placeholder 10">
            <a:extLst>
              <a:ext uri="{FF2B5EF4-FFF2-40B4-BE49-F238E27FC236}">
                <a16:creationId xmlns:a16="http://schemas.microsoft.com/office/drawing/2014/main" id="{E08B1E6E-A82D-4A7B-A59B-7F18C87ECEE8}"/>
              </a:ext>
            </a:extLst>
          </p:cNvPr>
          <p:cNvSpPr>
            <a:spLocks noGrp="1"/>
          </p:cNvSpPr>
          <p:nvPr>
            <p:ph type="body" sz="quarter" idx="49" hasCustomPrompt="1"/>
          </p:nvPr>
        </p:nvSpPr>
        <p:spPr>
          <a:xfrm>
            <a:off x="3908128" y="4803292"/>
            <a:ext cx="705588" cy="302388"/>
          </a:xfrm>
          <a:prstGeom prst="rect">
            <a:avLst/>
          </a:prstGeom>
        </p:spPr>
        <p:txBody>
          <a:bodyPr>
            <a:noAutofit/>
          </a:bodyPr>
          <a:lstStyle>
            <a:lvl1pPr marL="0" indent="0" algn="ctr">
              <a:buNone/>
              <a:defRPr sz="1102" cap="all" baseline="0">
                <a:solidFill>
                  <a:schemeClr val="tx1"/>
                </a:solidFill>
              </a:defRPr>
            </a:lvl1pPr>
          </a:lstStyle>
          <a:p>
            <a:pPr lvl="0"/>
            <a:r>
              <a:rPr lang="en-US" noProof="0"/>
              <a:t>MM</a:t>
            </a:r>
          </a:p>
        </p:txBody>
      </p:sp>
      <p:sp>
        <p:nvSpPr>
          <p:cNvPr id="56" name="Text Placeholder 10">
            <a:extLst>
              <a:ext uri="{FF2B5EF4-FFF2-40B4-BE49-F238E27FC236}">
                <a16:creationId xmlns:a16="http://schemas.microsoft.com/office/drawing/2014/main" id="{EE7B976B-FE1E-47EC-A0E2-46EC6E7E3221}"/>
              </a:ext>
            </a:extLst>
          </p:cNvPr>
          <p:cNvSpPr>
            <a:spLocks noGrp="1"/>
          </p:cNvSpPr>
          <p:nvPr>
            <p:ph type="body" sz="quarter" idx="50" hasCustomPrompt="1"/>
          </p:nvPr>
        </p:nvSpPr>
        <p:spPr>
          <a:xfrm>
            <a:off x="4776429" y="4803292"/>
            <a:ext cx="705588" cy="302388"/>
          </a:xfrm>
          <a:prstGeom prst="rect">
            <a:avLst/>
          </a:prstGeom>
        </p:spPr>
        <p:txBody>
          <a:bodyPr>
            <a:noAutofit/>
          </a:bodyPr>
          <a:lstStyle>
            <a:lvl1pPr marL="0" indent="0" algn="ctr">
              <a:buNone/>
              <a:defRPr sz="1102" cap="all" baseline="0">
                <a:solidFill>
                  <a:schemeClr val="tx1"/>
                </a:solidFill>
              </a:defRPr>
            </a:lvl1pPr>
          </a:lstStyle>
          <a:p>
            <a:pPr lvl="0"/>
            <a:r>
              <a:rPr lang="en-US" noProof="0"/>
              <a:t>MM</a:t>
            </a:r>
          </a:p>
        </p:txBody>
      </p:sp>
      <p:sp>
        <p:nvSpPr>
          <p:cNvPr id="57" name="Text Placeholder 10">
            <a:extLst>
              <a:ext uri="{FF2B5EF4-FFF2-40B4-BE49-F238E27FC236}">
                <a16:creationId xmlns:a16="http://schemas.microsoft.com/office/drawing/2014/main" id="{F637F34D-E49B-41B7-B9FA-020881639D6E}"/>
              </a:ext>
            </a:extLst>
          </p:cNvPr>
          <p:cNvSpPr>
            <a:spLocks noGrp="1"/>
          </p:cNvSpPr>
          <p:nvPr>
            <p:ph type="body" sz="quarter" idx="51" hasCustomPrompt="1"/>
          </p:nvPr>
        </p:nvSpPr>
        <p:spPr>
          <a:xfrm>
            <a:off x="5644733" y="4803292"/>
            <a:ext cx="705588" cy="302388"/>
          </a:xfrm>
          <a:prstGeom prst="rect">
            <a:avLst/>
          </a:prstGeom>
        </p:spPr>
        <p:txBody>
          <a:bodyPr>
            <a:noAutofit/>
          </a:bodyPr>
          <a:lstStyle>
            <a:lvl1pPr marL="0" indent="0" algn="ctr">
              <a:buNone/>
              <a:defRPr sz="1102" cap="all" baseline="0">
                <a:solidFill>
                  <a:schemeClr val="tx1"/>
                </a:solidFill>
              </a:defRPr>
            </a:lvl1pPr>
          </a:lstStyle>
          <a:p>
            <a:pPr lvl="0"/>
            <a:r>
              <a:rPr lang="en-US" noProof="0"/>
              <a:t>MM</a:t>
            </a:r>
          </a:p>
        </p:txBody>
      </p:sp>
      <p:sp>
        <p:nvSpPr>
          <p:cNvPr id="58" name="Text Placeholder 10">
            <a:extLst>
              <a:ext uri="{FF2B5EF4-FFF2-40B4-BE49-F238E27FC236}">
                <a16:creationId xmlns:a16="http://schemas.microsoft.com/office/drawing/2014/main" id="{55A6074B-EE5C-4389-AE2B-4D2C79E4E707}"/>
              </a:ext>
            </a:extLst>
          </p:cNvPr>
          <p:cNvSpPr>
            <a:spLocks noGrp="1"/>
          </p:cNvSpPr>
          <p:nvPr>
            <p:ph type="body" sz="quarter" idx="52" hasCustomPrompt="1"/>
          </p:nvPr>
        </p:nvSpPr>
        <p:spPr>
          <a:xfrm>
            <a:off x="6513033" y="4803292"/>
            <a:ext cx="705588" cy="302388"/>
          </a:xfrm>
          <a:prstGeom prst="rect">
            <a:avLst/>
          </a:prstGeom>
        </p:spPr>
        <p:txBody>
          <a:bodyPr>
            <a:noAutofit/>
          </a:bodyPr>
          <a:lstStyle>
            <a:lvl1pPr marL="0" indent="0" algn="ctr">
              <a:buNone/>
              <a:defRPr sz="1102" cap="all" baseline="0">
                <a:solidFill>
                  <a:schemeClr val="tx1"/>
                </a:solidFill>
              </a:defRPr>
            </a:lvl1pPr>
          </a:lstStyle>
          <a:p>
            <a:pPr lvl="0"/>
            <a:r>
              <a:rPr lang="en-US" noProof="0"/>
              <a:t>MM</a:t>
            </a:r>
          </a:p>
        </p:txBody>
      </p:sp>
      <p:sp>
        <p:nvSpPr>
          <p:cNvPr id="59" name="Text Placeholder 10">
            <a:extLst>
              <a:ext uri="{FF2B5EF4-FFF2-40B4-BE49-F238E27FC236}">
                <a16:creationId xmlns:a16="http://schemas.microsoft.com/office/drawing/2014/main" id="{9443A42F-D2D4-4F44-AA36-A29748E1086B}"/>
              </a:ext>
            </a:extLst>
          </p:cNvPr>
          <p:cNvSpPr>
            <a:spLocks noGrp="1"/>
          </p:cNvSpPr>
          <p:nvPr>
            <p:ph type="body" sz="quarter" idx="53" hasCustomPrompt="1"/>
          </p:nvPr>
        </p:nvSpPr>
        <p:spPr>
          <a:xfrm>
            <a:off x="7381336" y="4803292"/>
            <a:ext cx="705588" cy="302388"/>
          </a:xfrm>
          <a:prstGeom prst="rect">
            <a:avLst/>
          </a:prstGeom>
        </p:spPr>
        <p:txBody>
          <a:bodyPr>
            <a:noAutofit/>
          </a:bodyPr>
          <a:lstStyle>
            <a:lvl1pPr marL="0" indent="0" algn="ctr">
              <a:buNone/>
              <a:defRPr sz="1102" cap="all" baseline="0">
                <a:solidFill>
                  <a:schemeClr val="tx1"/>
                </a:solidFill>
              </a:defRPr>
            </a:lvl1pPr>
          </a:lstStyle>
          <a:p>
            <a:pPr lvl="0"/>
            <a:r>
              <a:rPr lang="en-US" noProof="0"/>
              <a:t>MM</a:t>
            </a:r>
          </a:p>
        </p:txBody>
      </p:sp>
      <p:sp>
        <p:nvSpPr>
          <p:cNvPr id="61" name="Text Placeholder 10">
            <a:extLst>
              <a:ext uri="{FF2B5EF4-FFF2-40B4-BE49-F238E27FC236}">
                <a16:creationId xmlns:a16="http://schemas.microsoft.com/office/drawing/2014/main" id="{CC0CFDE9-A49C-4F86-A0B1-62857270D814}"/>
              </a:ext>
            </a:extLst>
          </p:cNvPr>
          <p:cNvSpPr>
            <a:spLocks noGrp="1"/>
          </p:cNvSpPr>
          <p:nvPr>
            <p:ph type="body" sz="quarter" idx="55" hasCustomPrompt="1"/>
          </p:nvPr>
        </p:nvSpPr>
        <p:spPr>
          <a:xfrm>
            <a:off x="8249635" y="4803292"/>
            <a:ext cx="705588" cy="302388"/>
          </a:xfrm>
          <a:prstGeom prst="rect">
            <a:avLst/>
          </a:prstGeom>
        </p:spPr>
        <p:txBody>
          <a:bodyPr>
            <a:noAutofit/>
          </a:bodyPr>
          <a:lstStyle>
            <a:lvl1pPr marL="0" indent="0" algn="ctr">
              <a:buNone/>
              <a:defRPr sz="1102" cap="all" baseline="0">
                <a:solidFill>
                  <a:schemeClr val="tx1"/>
                </a:solidFill>
              </a:defRPr>
            </a:lvl1pPr>
          </a:lstStyle>
          <a:p>
            <a:pPr lvl="0"/>
            <a:r>
              <a:rPr lang="en-US" noProof="0"/>
              <a:t>MM</a:t>
            </a:r>
          </a:p>
        </p:txBody>
      </p:sp>
      <p:sp>
        <p:nvSpPr>
          <p:cNvPr id="62" name="Text Placeholder 10">
            <a:extLst>
              <a:ext uri="{FF2B5EF4-FFF2-40B4-BE49-F238E27FC236}">
                <a16:creationId xmlns:a16="http://schemas.microsoft.com/office/drawing/2014/main" id="{5683B9AD-4E50-442C-957A-A1D68108E5BD}"/>
              </a:ext>
            </a:extLst>
          </p:cNvPr>
          <p:cNvSpPr>
            <a:spLocks noGrp="1"/>
          </p:cNvSpPr>
          <p:nvPr>
            <p:ph type="body" sz="quarter" idx="56" hasCustomPrompt="1"/>
          </p:nvPr>
        </p:nvSpPr>
        <p:spPr>
          <a:xfrm>
            <a:off x="9117941" y="4803292"/>
            <a:ext cx="705588" cy="302388"/>
          </a:xfrm>
          <a:prstGeom prst="rect">
            <a:avLst/>
          </a:prstGeom>
        </p:spPr>
        <p:txBody>
          <a:bodyPr>
            <a:noAutofit/>
          </a:bodyPr>
          <a:lstStyle>
            <a:lvl1pPr marL="0" indent="0" algn="ctr">
              <a:buNone/>
              <a:defRPr sz="1102" cap="all" baseline="0">
                <a:solidFill>
                  <a:schemeClr val="tx1"/>
                </a:solidFill>
              </a:defRPr>
            </a:lvl1pPr>
          </a:lstStyle>
          <a:p>
            <a:pPr lvl="0"/>
            <a:r>
              <a:rPr lang="en-US" noProof="0"/>
              <a:t>MM</a:t>
            </a:r>
          </a:p>
        </p:txBody>
      </p:sp>
      <p:sp>
        <p:nvSpPr>
          <p:cNvPr id="60" name="Text Placeholder 10">
            <a:extLst>
              <a:ext uri="{FF2B5EF4-FFF2-40B4-BE49-F238E27FC236}">
                <a16:creationId xmlns:a16="http://schemas.microsoft.com/office/drawing/2014/main" id="{FD1081C3-579C-4D7D-8D30-E2C5ADF7EE99}"/>
              </a:ext>
            </a:extLst>
          </p:cNvPr>
          <p:cNvSpPr>
            <a:spLocks noGrp="1"/>
          </p:cNvSpPr>
          <p:nvPr>
            <p:ph type="body" sz="quarter" idx="54" hasCustomPrompt="1"/>
          </p:nvPr>
        </p:nvSpPr>
        <p:spPr>
          <a:xfrm>
            <a:off x="9986240" y="4803292"/>
            <a:ext cx="705588" cy="302388"/>
          </a:xfrm>
          <a:prstGeom prst="rect">
            <a:avLst/>
          </a:prstGeom>
        </p:spPr>
        <p:txBody>
          <a:bodyPr>
            <a:noAutofit/>
          </a:bodyPr>
          <a:lstStyle>
            <a:lvl1pPr marL="0" indent="0" algn="ctr">
              <a:buNone/>
              <a:defRPr sz="1102" cap="all" baseline="0">
                <a:solidFill>
                  <a:schemeClr val="tx1"/>
                </a:solidFill>
              </a:defRPr>
            </a:lvl1pPr>
          </a:lstStyle>
          <a:p>
            <a:pPr lvl="0"/>
            <a:r>
              <a:rPr lang="en-US" noProof="0"/>
              <a:t>MM</a:t>
            </a:r>
          </a:p>
        </p:txBody>
      </p:sp>
      <p:sp>
        <p:nvSpPr>
          <p:cNvPr id="63" name="Text Placeholder 10">
            <a:extLst>
              <a:ext uri="{FF2B5EF4-FFF2-40B4-BE49-F238E27FC236}">
                <a16:creationId xmlns:a16="http://schemas.microsoft.com/office/drawing/2014/main" id="{AA62259C-C0DD-4418-A003-2B8550039F23}"/>
              </a:ext>
            </a:extLst>
          </p:cNvPr>
          <p:cNvSpPr>
            <a:spLocks noGrp="1"/>
          </p:cNvSpPr>
          <p:nvPr>
            <p:ph type="body" sz="quarter" idx="57" hasCustomPrompt="1"/>
          </p:nvPr>
        </p:nvSpPr>
        <p:spPr>
          <a:xfrm>
            <a:off x="10854544" y="4803292"/>
            <a:ext cx="705588" cy="302388"/>
          </a:xfrm>
          <a:prstGeom prst="rect">
            <a:avLst/>
          </a:prstGeom>
        </p:spPr>
        <p:txBody>
          <a:bodyPr>
            <a:noAutofit/>
          </a:bodyPr>
          <a:lstStyle>
            <a:lvl1pPr marL="0" indent="0" algn="ctr">
              <a:buNone/>
              <a:defRPr sz="1102" cap="all" baseline="0">
                <a:solidFill>
                  <a:schemeClr val="tx1"/>
                </a:solidFill>
              </a:defRPr>
            </a:lvl1pPr>
          </a:lstStyle>
          <a:p>
            <a:pPr lvl="0"/>
            <a:r>
              <a:rPr lang="en-US" noProof="0"/>
              <a:t>MM</a:t>
            </a:r>
          </a:p>
        </p:txBody>
      </p:sp>
      <p:sp>
        <p:nvSpPr>
          <p:cNvPr id="64" name="Text Placeholder 10">
            <a:extLst>
              <a:ext uri="{FF2B5EF4-FFF2-40B4-BE49-F238E27FC236}">
                <a16:creationId xmlns:a16="http://schemas.microsoft.com/office/drawing/2014/main" id="{EE933617-2859-40EE-AE5E-10A8996F769E}"/>
              </a:ext>
            </a:extLst>
          </p:cNvPr>
          <p:cNvSpPr>
            <a:spLocks noGrp="1"/>
          </p:cNvSpPr>
          <p:nvPr>
            <p:ph type="body" sz="quarter" idx="58" hasCustomPrompt="1"/>
          </p:nvPr>
        </p:nvSpPr>
        <p:spPr>
          <a:xfrm>
            <a:off x="11722843" y="4803292"/>
            <a:ext cx="705588" cy="302388"/>
          </a:xfrm>
          <a:prstGeom prst="rect">
            <a:avLst/>
          </a:prstGeom>
        </p:spPr>
        <p:txBody>
          <a:bodyPr>
            <a:noAutofit/>
          </a:bodyPr>
          <a:lstStyle>
            <a:lvl1pPr marL="0" indent="0" algn="ctr">
              <a:buNone/>
              <a:defRPr sz="1102" cap="all" baseline="0">
                <a:solidFill>
                  <a:schemeClr val="tx1"/>
                </a:solidFill>
              </a:defRPr>
            </a:lvl1pPr>
          </a:lstStyle>
          <a:p>
            <a:pPr lvl="0"/>
            <a:r>
              <a:rPr lang="en-US" noProof="0"/>
              <a:t>MM</a:t>
            </a:r>
          </a:p>
        </p:txBody>
      </p:sp>
      <p:sp>
        <p:nvSpPr>
          <p:cNvPr id="15" name="Text Placeholder 3">
            <a:extLst>
              <a:ext uri="{FF2B5EF4-FFF2-40B4-BE49-F238E27FC236}">
                <a16:creationId xmlns:a16="http://schemas.microsoft.com/office/drawing/2014/main" id="{5094BE29-29F9-3C87-9562-1D209B038F0A}"/>
              </a:ext>
            </a:extLst>
          </p:cNvPr>
          <p:cNvSpPr>
            <a:spLocks noGrp="1"/>
          </p:cNvSpPr>
          <p:nvPr>
            <p:ph type="body" sz="quarter" idx="70" hasCustomPrompt="1"/>
          </p:nvPr>
        </p:nvSpPr>
        <p:spPr>
          <a:xfrm>
            <a:off x="2388570" y="5324325"/>
            <a:ext cx="1977466" cy="768187"/>
          </a:xfrm>
          <a:prstGeom prst="rect">
            <a:avLst/>
          </a:prstGeom>
          <a:solidFill>
            <a:schemeClr val="accent1">
              <a:lumMod val="20000"/>
              <a:lumOff val="80000"/>
            </a:schemeClr>
          </a:solidFill>
          <a:ln w="22225">
            <a:solidFill>
              <a:schemeClr val="tx1"/>
            </a:solidFill>
          </a:ln>
        </p:spPr>
        <p:txBody>
          <a:bodyPr tIns="36000" anchor="t" anchorCtr="0">
            <a:normAutofit/>
          </a:bodyPr>
          <a:lstStyle>
            <a:lvl1pPr marL="0" indent="0" algn="ctr">
              <a:lnSpc>
                <a:spcPct val="200000"/>
              </a:lnSpc>
              <a:buNone/>
              <a:defRPr sz="1328">
                <a:solidFill>
                  <a:schemeClr val="tx1">
                    <a:lumMod val="75000"/>
                    <a:lumOff val="25000"/>
                  </a:schemeClr>
                </a:solidFill>
                <a:latin typeface="+mj-lt"/>
              </a:defRPr>
            </a:lvl1pPr>
          </a:lstStyle>
          <a:p>
            <a:pPr lvl="0"/>
            <a:r>
              <a:rPr lang="en-US" noProof="0"/>
              <a:t>Add Title</a:t>
            </a:r>
          </a:p>
        </p:txBody>
      </p:sp>
      <p:sp>
        <p:nvSpPr>
          <p:cNvPr id="16" name="Text Placeholder 36">
            <a:extLst>
              <a:ext uri="{FF2B5EF4-FFF2-40B4-BE49-F238E27FC236}">
                <a16:creationId xmlns:a16="http://schemas.microsoft.com/office/drawing/2014/main" id="{F603DF30-A829-B14E-BB37-235311FBE93E}"/>
              </a:ext>
            </a:extLst>
          </p:cNvPr>
          <p:cNvSpPr>
            <a:spLocks noGrp="1"/>
          </p:cNvSpPr>
          <p:nvPr>
            <p:ph type="body" sz="quarter" idx="71" hasCustomPrompt="1"/>
          </p:nvPr>
        </p:nvSpPr>
        <p:spPr>
          <a:xfrm>
            <a:off x="2445591" y="5777442"/>
            <a:ext cx="1863420" cy="247658"/>
          </a:xfrm>
          <a:prstGeom prst="rect">
            <a:avLst/>
          </a:prstGeom>
        </p:spPr>
        <p:txBody>
          <a:bodyPr>
            <a:normAutofit/>
          </a:bodyPr>
          <a:lstStyle>
            <a:lvl1pPr marL="0" indent="0" algn="ctr">
              <a:buNone/>
              <a:defRPr sz="1213">
                <a:solidFill>
                  <a:schemeClr val="tx1">
                    <a:lumMod val="75000"/>
                    <a:lumOff val="25000"/>
                  </a:schemeClr>
                </a:solidFill>
              </a:defRPr>
            </a:lvl1pPr>
          </a:lstStyle>
          <a:p>
            <a:pPr lvl="0"/>
            <a:r>
              <a:rPr lang="en-US" noProof="0"/>
              <a:t>Click to add text</a:t>
            </a:r>
          </a:p>
        </p:txBody>
      </p:sp>
      <p:sp>
        <p:nvSpPr>
          <p:cNvPr id="13" name="Text Placeholder 3">
            <a:extLst>
              <a:ext uri="{FF2B5EF4-FFF2-40B4-BE49-F238E27FC236}">
                <a16:creationId xmlns:a16="http://schemas.microsoft.com/office/drawing/2014/main" id="{65B61F78-0E58-94ED-E0E7-B8FCFD700D1D}"/>
              </a:ext>
            </a:extLst>
          </p:cNvPr>
          <p:cNvSpPr>
            <a:spLocks noGrp="1"/>
          </p:cNvSpPr>
          <p:nvPr>
            <p:ph type="body" sz="quarter" idx="68" hasCustomPrompt="1"/>
          </p:nvPr>
        </p:nvSpPr>
        <p:spPr>
          <a:xfrm>
            <a:off x="6756501" y="5321119"/>
            <a:ext cx="1977466" cy="768187"/>
          </a:xfrm>
          <a:prstGeom prst="rect">
            <a:avLst/>
          </a:prstGeom>
          <a:solidFill>
            <a:schemeClr val="accent3"/>
          </a:solidFill>
          <a:ln w="22225">
            <a:solidFill>
              <a:schemeClr val="tx1"/>
            </a:solidFill>
          </a:ln>
        </p:spPr>
        <p:txBody>
          <a:bodyPr tIns="36000" anchor="t" anchorCtr="0">
            <a:normAutofit/>
          </a:bodyPr>
          <a:lstStyle>
            <a:lvl1pPr marL="0" indent="0" algn="ctr">
              <a:lnSpc>
                <a:spcPct val="200000"/>
              </a:lnSpc>
              <a:buNone/>
              <a:defRPr sz="1328" b="1">
                <a:solidFill>
                  <a:schemeClr val="tx1">
                    <a:lumMod val="75000"/>
                    <a:lumOff val="25000"/>
                  </a:schemeClr>
                </a:solidFill>
                <a:latin typeface="+mj-lt"/>
              </a:defRPr>
            </a:lvl1pPr>
          </a:lstStyle>
          <a:p>
            <a:pPr lvl="0"/>
            <a:r>
              <a:rPr lang="en-US" noProof="0"/>
              <a:t>Add Title</a:t>
            </a:r>
          </a:p>
        </p:txBody>
      </p:sp>
      <p:sp>
        <p:nvSpPr>
          <p:cNvPr id="14" name="Text Placeholder 36">
            <a:extLst>
              <a:ext uri="{FF2B5EF4-FFF2-40B4-BE49-F238E27FC236}">
                <a16:creationId xmlns:a16="http://schemas.microsoft.com/office/drawing/2014/main" id="{5B6F84EE-E23F-BCFF-F8A2-3513FD615643}"/>
              </a:ext>
            </a:extLst>
          </p:cNvPr>
          <p:cNvSpPr>
            <a:spLocks noGrp="1"/>
          </p:cNvSpPr>
          <p:nvPr>
            <p:ph type="body" sz="quarter" idx="69" hasCustomPrompt="1"/>
          </p:nvPr>
        </p:nvSpPr>
        <p:spPr>
          <a:xfrm>
            <a:off x="6813524" y="5774234"/>
            <a:ext cx="1863420" cy="247658"/>
          </a:xfrm>
          <a:prstGeom prst="rect">
            <a:avLst/>
          </a:prstGeom>
        </p:spPr>
        <p:txBody>
          <a:bodyPr>
            <a:normAutofit/>
          </a:bodyPr>
          <a:lstStyle>
            <a:lvl1pPr marL="0" indent="0" algn="ctr">
              <a:buNone/>
              <a:defRPr sz="1213">
                <a:solidFill>
                  <a:schemeClr val="tx1">
                    <a:lumMod val="75000"/>
                    <a:lumOff val="25000"/>
                  </a:schemeClr>
                </a:solidFill>
              </a:defRPr>
            </a:lvl1pPr>
          </a:lstStyle>
          <a:p>
            <a:pPr lvl="0"/>
            <a:r>
              <a:rPr lang="en-US" noProof="0"/>
              <a:t>Click to add text</a:t>
            </a:r>
          </a:p>
        </p:txBody>
      </p:sp>
      <p:sp>
        <p:nvSpPr>
          <p:cNvPr id="11" name="Text Placeholder 3">
            <a:extLst>
              <a:ext uri="{FF2B5EF4-FFF2-40B4-BE49-F238E27FC236}">
                <a16:creationId xmlns:a16="http://schemas.microsoft.com/office/drawing/2014/main" id="{B4F5CD47-12A2-BFAB-F8DE-CA4905A7E61D}"/>
              </a:ext>
            </a:extLst>
          </p:cNvPr>
          <p:cNvSpPr>
            <a:spLocks noGrp="1"/>
          </p:cNvSpPr>
          <p:nvPr>
            <p:ph type="body" sz="quarter" idx="66" hasCustomPrompt="1"/>
          </p:nvPr>
        </p:nvSpPr>
        <p:spPr>
          <a:xfrm>
            <a:off x="10486719" y="5311860"/>
            <a:ext cx="1977466" cy="768187"/>
          </a:xfrm>
          <a:prstGeom prst="rect">
            <a:avLst/>
          </a:prstGeom>
          <a:solidFill>
            <a:schemeClr val="accent1">
              <a:lumMod val="20000"/>
              <a:lumOff val="80000"/>
            </a:schemeClr>
          </a:solidFill>
          <a:ln w="22225">
            <a:solidFill>
              <a:schemeClr val="tx1"/>
            </a:solidFill>
          </a:ln>
        </p:spPr>
        <p:txBody>
          <a:bodyPr tIns="36000" anchor="t" anchorCtr="0">
            <a:normAutofit/>
          </a:bodyPr>
          <a:lstStyle>
            <a:lvl1pPr marL="0" indent="0" algn="ctr">
              <a:lnSpc>
                <a:spcPct val="200000"/>
              </a:lnSpc>
              <a:buNone/>
              <a:defRPr sz="1328">
                <a:solidFill>
                  <a:schemeClr val="tx1">
                    <a:lumMod val="75000"/>
                    <a:lumOff val="25000"/>
                  </a:schemeClr>
                </a:solidFill>
                <a:latin typeface="+mj-lt"/>
              </a:defRPr>
            </a:lvl1pPr>
          </a:lstStyle>
          <a:p>
            <a:pPr lvl="0"/>
            <a:r>
              <a:rPr lang="en-US" noProof="0"/>
              <a:t>Add Title</a:t>
            </a:r>
          </a:p>
        </p:txBody>
      </p:sp>
      <p:sp>
        <p:nvSpPr>
          <p:cNvPr id="12" name="Text Placeholder 36">
            <a:extLst>
              <a:ext uri="{FF2B5EF4-FFF2-40B4-BE49-F238E27FC236}">
                <a16:creationId xmlns:a16="http://schemas.microsoft.com/office/drawing/2014/main" id="{926C5DF0-D496-DD93-D54C-ED696E3AE015}"/>
              </a:ext>
            </a:extLst>
          </p:cNvPr>
          <p:cNvSpPr>
            <a:spLocks noGrp="1"/>
          </p:cNvSpPr>
          <p:nvPr>
            <p:ph type="body" sz="quarter" idx="67" hasCustomPrompt="1"/>
          </p:nvPr>
        </p:nvSpPr>
        <p:spPr>
          <a:xfrm>
            <a:off x="10543741" y="5764978"/>
            <a:ext cx="1863420" cy="247658"/>
          </a:xfrm>
          <a:prstGeom prst="rect">
            <a:avLst/>
          </a:prstGeom>
        </p:spPr>
        <p:txBody>
          <a:bodyPr>
            <a:normAutofit/>
          </a:bodyPr>
          <a:lstStyle>
            <a:lvl1pPr marL="0" indent="0" algn="ctr">
              <a:buNone/>
              <a:defRPr sz="1213">
                <a:solidFill>
                  <a:schemeClr val="tx1">
                    <a:lumMod val="75000"/>
                    <a:lumOff val="25000"/>
                  </a:schemeClr>
                </a:solidFill>
              </a:defRPr>
            </a:lvl1pPr>
          </a:lstStyle>
          <a:p>
            <a:pPr lvl="0"/>
            <a:r>
              <a:rPr lang="en-US" noProof="0"/>
              <a:t>Click to add text</a:t>
            </a:r>
          </a:p>
        </p:txBody>
      </p:sp>
      <p:sp>
        <p:nvSpPr>
          <p:cNvPr id="68" name="Date Placeholder 2">
            <a:extLst>
              <a:ext uri="{FF2B5EF4-FFF2-40B4-BE49-F238E27FC236}">
                <a16:creationId xmlns:a16="http://schemas.microsoft.com/office/drawing/2014/main" id="{77C700FC-5550-4F21-89E2-F38B13F00672}"/>
              </a:ext>
            </a:extLst>
          </p:cNvPr>
          <p:cNvSpPr>
            <a:spLocks noGrp="1"/>
          </p:cNvSpPr>
          <p:nvPr>
            <p:ph type="dt" sz="half" idx="61"/>
          </p:nvPr>
        </p:nvSpPr>
        <p:spPr>
          <a:xfrm>
            <a:off x="923988" y="7006701"/>
            <a:ext cx="3023949" cy="402484"/>
          </a:xfrm>
          <a:prstGeom prst="rect">
            <a:avLst/>
          </a:prstGeom>
        </p:spPr>
        <p:txBody>
          <a:bodyPr/>
          <a:lstStyle>
            <a:lvl1pPr>
              <a:defRPr>
                <a:solidFill>
                  <a:schemeClr val="tx1"/>
                </a:solidFill>
              </a:defRPr>
            </a:lvl1pPr>
          </a:lstStyle>
          <a:p>
            <a:endParaRPr lang="en-US" noProof="0"/>
          </a:p>
        </p:txBody>
      </p:sp>
      <p:sp>
        <p:nvSpPr>
          <p:cNvPr id="6" name="Footer Placeholder 5">
            <a:extLst>
              <a:ext uri="{FF2B5EF4-FFF2-40B4-BE49-F238E27FC236}">
                <a16:creationId xmlns:a16="http://schemas.microsoft.com/office/drawing/2014/main" id="{29E5E346-F307-4307-949D-77CDB6E6577A}"/>
              </a:ext>
            </a:extLst>
          </p:cNvPr>
          <p:cNvSpPr>
            <a:spLocks noGrp="1"/>
          </p:cNvSpPr>
          <p:nvPr>
            <p:ph type="ftr" sz="quarter" idx="10"/>
          </p:nvPr>
        </p:nvSpPr>
        <p:spPr>
          <a:xfrm>
            <a:off x="4451927" y="7006701"/>
            <a:ext cx="4535925" cy="402484"/>
          </a:xfrm>
          <a:prstGeom prst="rect">
            <a:avLst/>
          </a:prstGeom>
        </p:spPr>
        <p:txBody>
          <a:bodyPr/>
          <a:lstStyle>
            <a:lvl1pPr>
              <a:defRPr>
                <a:solidFill>
                  <a:schemeClr val="tx1"/>
                </a:solidFill>
              </a:defRPr>
            </a:lvl1pPr>
          </a:lstStyle>
          <a:p>
            <a:endParaRPr lang="en-US" noProof="0"/>
          </a:p>
        </p:txBody>
      </p:sp>
      <p:sp>
        <p:nvSpPr>
          <p:cNvPr id="7" name="Slide Number Placeholder 6">
            <a:extLst>
              <a:ext uri="{FF2B5EF4-FFF2-40B4-BE49-F238E27FC236}">
                <a16:creationId xmlns:a16="http://schemas.microsoft.com/office/drawing/2014/main" id="{BB4446C0-A637-4726-88A6-815A6AB63B96}"/>
              </a:ext>
            </a:extLst>
          </p:cNvPr>
          <p:cNvSpPr>
            <a:spLocks noGrp="1"/>
          </p:cNvSpPr>
          <p:nvPr>
            <p:ph type="sldNum" sz="quarter" idx="11"/>
          </p:nvPr>
        </p:nvSpPr>
        <p:spPr>
          <a:xfrm>
            <a:off x="9491845" y="7006701"/>
            <a:ext cx="3023949" cy="402484"/>
          </a:xfrm>
          <a:prstGeom prst="rect">
            <a:avLst/>
          </a:prstGeom>
        </p:spPr>
        <p:txBody>
          <a:bodyPr/>
          <a:lstStyle>
            <a:lvl1pPr>
              <a:defRPr>
                <a:solidFill>
                  <a:schemeClr val="tx1"/>
                </a:solidFill>
              </a:defRPr>
            </a:lvl1pPr>
          </a:lstStyle>
          <a:p>
            <a:fld id="{19B51A1E-902D-48AF-9020-955120F399B6}" type="slidenum">
              <a:rPr lang="en-US" noProof="0" smtClean="0"/>
              <a:pPr/>
              <a:t>‹№›</a:t>
            </a:fld>
            <a:endParaRPr lang="en-US" noProof="0"/>
          </a:p>
        </p:txBody>
      </p:sp>
    </p:spTree>
    <p:extLst>
      <p:ext uri="{BB962C8B-B14F-4D97-AF65-F5344CB8AC3E}">
        <p14:creationId xmlns:p14="http://schemas.microsoft.com/office/powerpoint/2010/main" val="210879234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7_Team 4up">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F8C642-49FB-4E16-A3A0-B2ACBEABFFD6}"/>
              </a:ext>
            </a:extLst>
          </p:cNvPr>
          <p:cNvSpPr>
            <a:spLocks noGrp="1"/>
          </p:cNvSpPr>
          <p:nvPr>
            <p:ph type="title" hasCustomPrompt="1"/>
          </p:nvPr>
        </p:nvSpPr>
        <p:spPr>
          <a:xfrm>
            <a:off x="923985" y="268771"/>
            <a:ext cx="11591806" cy="1461189"/>
          </a:xfrm>
          <a:prstGeom prst="rect">
            <a:avLst/>
          </a:prstGeom>
        </p:spPr>
        <p:txBody>
          <a:bodyPr/>
          <a:lstStyle>
            <a:lvl1pPr>
              <a:defRPr/>
            </a:lvl1pPr>
          </a:lstStyle>
          <a:p>
            <a:r>
              <a:rPr lang="en-US"/>
              <a:t>Click to add title</a:t>
            </a:r>
          </a:p>
        </p:txBody>
      </p:sp>
      <p:sp>
        <p:nvSpPr>
          <p:cNvPr id="6" name="Rectangle 5">
            <a:extLst>
              <a:ext uri="{FF2B5EF4-FFF2-40B4-BE49-F238E27FC236}">
                <a16:creationId xmlns:a16="http://schemas.microsoft.com/office/drawing/2014/main" id="{9C771235-79C8-415F-B624-D5501F4F42E2}"/>
              </a:ext>
              <a:ext uri="{C183D7F6-B498-43B3-948B-1728B52AA6E4}">
                <adec:decorative xmlns:adec="http://schemas.microsoft.com/office/drawing/2017/decorative" val="1"/>
              </a:ext>
            </a:extLst>
          </p:cNvPr>
          <p:cNvSpPr/>
          <p:nvPr userDrawn="1"/>
        </p:nvSpPr>
        <p:spPr>
          <a:xfrm>
            <a:off x="1038225" y="2550135"/>
            <a:ext cx="2318361" cy="2126789"/>
          </a:xfrm>
          <a:prstGeom prst="rect">
            <a:avLst/>
          </a:prstGeom>
          <a:no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29"/>
          </a:p>
        </p:txBody>
      </p:sp>
      <p:sp>
        <p:nvSpPr>
          <p:cNvPr id="11" name="Picture Placeholder 10">
            <a:extLst>
              <a:ext uri="{FF2B5EF4-FFF2-40B4-BE49-F238E27FC236}">
                <a16:creationId xmlns:a16="http://schemas.microsoft.com/office/drawing/2014/main" id="{29E4817F-DFA8-417E-AFDB-482CF29E4C5D}"/>
              </a:ext>
            </a:extLst>
          </p:cNvPr>
          <p:cNvSpPr>
            <a:spLocks noGrp="1"/>
          </p:cNvSpPr>
          <p:nvPr>
            <p:ph type="pic" sz="quarter" idx="15" hasCustomPrompt="1"/>
          </p:nvPr>
        </p:nvSpPr>
        <p:spPr>
          <a:xfrm>
            <a:off x="1189421" y="2681165"/>
            <a:ext cx="2015968" cy="1854640"/>
          </a:xfrm>
          <a:prstGeom prst="rect">
            <a:avLst/>
          </a:prstGeom>
          <a:solidFill>
            <a:schemeClr val="accent6"/>
          </a:solidFill>
        </p:spPr>
        <p:txBody>
          <a:bodyPr tIns="182880">
            <a:normAutofit/>
          </a:bodyPr>
          <a:lstStyle>
            <a:lvl1pPr marL="0" indent="0" algn="ctr">
              <a:buNone/>
              <a:defRPr sz="1547"/>
            </a:lvl1pPr>
          </a:lstStyle>
          <a:p>
            <a:r>
              <a:rPr lang="en-US"/>
              <a:t>Click to add picture</a:t>
            </a:r>
          </a:p>
        </p:txBody>
      </p:sp>
      <p:sp>
        <p:nvSpPr>
          <p:cNvPr id="8" name="Text Placeholder 7">
            <a:extLst>
              <a:ext uri="{FF2B5EF4-FFF2-40B4-BE49-F238E27FC236}">
                <a16:creationId xmlns:a16="http://schemas.microsoft.com/office/drawing/2014/main" id="{FC61D158-7F2D-4995-8849-6017F9840F1E}"/>
              </a:ext>
            </a:extLst>
          </p:cNvPr>
          <p:cNvSpPr>
            <a:spLocks noGrp="1"/>
          </p:cNvSpPr>
          <p:nvPr>
            <p:ph type="body" sz="quarter" idx="13" hasCustomPrompt="1"/>
          </p:nvPr>
        </p:nvSpPr>
        <p:spPr>
          <a:xfrm>
            <a:off x="1038225" y="4956712"/>
            <a:ext cx="2318361" cy="302388"/>
          </a:xfrm>
          <a:prstGeom prst="rect">
            <a:avLst/>
          </a:prstGeom>
        </p:spPr>
        <p:txBody>
          <a:bodyPr anchor="ctr" anchorCtr="0">
            <a:noAutofit/>
          </a:bodyPr>
          <a:lstStyle>
            <a:lvl1pPr marL="0" indent="0" algn="ctr">
              <a:buNone/>
              <a:defRPr sz="1547">
                <a:latin typeface="+mj-lt"/>
              </a:defRPr>
            </a:lvl1pPr>
            <a:lvl2pPr marL="504031" indent="0">
              <a:buNone/>
              <a:defRPr sz="1763">
                <a:latin typeface="+mj-lt"/>
              </a:defRPr>
            </a:lvl2pPr>
            <a:lvl3pPr marL="1008063" indent="0">
              <a:buNone/>
              <a:defRPr sz="1763">
                <a:latin typeface="+mj-lt"/>
              </a:defRPr>
            </a:lvl3pPr>
            <a:lvl4pPr marL="1512094" indent="0">
              <a:buNone/>
              <a:defRPr sz="1763">
                <a:latin typeface="+mj-lt"/>
              </a:defRPr>
            </a:lvl4pPr>
            <a:lvl5pPr marL="2016127" indent="0">
              <a:buNone/>
              <a:defRPr sz="1763">
                <a:latin typeface="+mj-lt"/>
              </a:defRPr>
            </a:lvl5pPr>
          </a:lstStyle>
          <a:p>
            <a:pPr lvl="0"/>
            <a:r>
              <a:rPr lang="en-US"/>
              <a:t>Click to add text</a:t>
            </a:r>
          </a:p>
        </p:txBody>
      </p:sp>
      <p:sp>
        <p:nvSpPr>
          <p:cNvPr id="9" name="Text Placeholder 7">
            <a:extLst>
              <a:ext uri="{FF2B5EF4-FFF2-40B4-BE49-F238E27FC236}">
                <a16:creationId xmlns:a16="http://schemas.microsoft.com/office/drawing/2014/main" id="{0CF72F91-6995-4FF5-866F-1806A86CA0C3}"/>
              </a:ext>
            </a:extLst>
          </p:cNvPr>
          <p:cNvSpPr>
            <a:spLocks noGrp="1"/>
          </p:cNvSpPr>
          <p:nvPr>
            <p:ph type="body" sz="quarter" idx="14" hasCustomPrompt="1"/>
          </p:nvPr>
        </p:nvSpPr>
        <p:spPr>
          <a:xfrm>
            <a:off x="1038225" y="5306386"/>
            <a:ext cx="2318361" cy="1118157"/>
          </a:xfrm>
          <a:prstGeom prst="rect">
            <a:avLst/>
          </a:prstGeom>
        </p:spPr>
        <p:txBody>
          <a:bodyPr>
            <a:normAutofit/>
          </a:bodyPr>
          <a:lstStyle>
            <a:lvl1pPr marL="0" indent="0" algn="ctr">
              <a:lnSpc>
                <a:spcPts val="1763"/>
              </a:lnSpc>
              <a:spcBef>
                <a:spcPts val="0"/>
              </a:spcBef>
              <a:buNone/>
              <a:defRPr sz="1328">
                <a:latin typeface="+mn-lt"/>
              </a:defRPr>
            </a:lvl1pPr>
            <a:lvl2pPr marL="504031" indent="0">
              <a:buNone/>
              <a:defRPr sz="1763">
                <a:latin typeface="+mj-lt"/>
              </a:defRPr>
            </a:lvl2pPr>
            <a:lvl3pPr marL="1008063" indent="0">
              <a:buNone/>
              <a:defRPr sz="1763">
                <a:latin typeface="+mj-lt"/>
              </a:defRPr>
            </a:lvl3pPr>
            <a:lvl4pPr marL="1512094" indent="0">
              <a:buNone/>
              <a:defRPr sz="1763">
                <a:latin typeface="+mj-lt"/>
              </a:defRPr>
            </a:lvl4pPr>
            <a:lvl5pPr marL="2016127" indent="0">
              <a:buNone/>
              <a:defRPr sz="1763">
                <a:latin typeface="+mj-lt"/>
              </a:defRPr>
            </a:lvl5pPr>
          </a:lstStyle>
          <a:p>
            <a:pPr lvl="0"/>
            <a:r>
              <a:rPr lang="en-US"/>
              <a:t>Click to add text</a:t>
            </a:r>
          </a:p>
        </p:txBody>
      </p:sp>
      <p:sp>
        <p:nvSpPr>
          <p:cNvPr id="12" name="Rectangle 11">
            <a:extLst>
              <a:ext uri="{FF2B5EF4-FFF2-40B4-BE49-F238E27FC236}">
                <a16:creationId xmlns:a16="http://schemas.microsoft.com/office/drawing/2014/main" id="{1160F5FB-7416-40BC-A46A-21C838A50239}"/>
              </a:ext>
              <a:ext uri="{C183D7F6-B498-43B3-948B-1728B52AA6E4}">
                <adec:decorative xmlns:adec="http://schemas.microsoft.com/office/drawing/2017/decorative" val="1"/>
              </a:ext>
            </a:extLst>
          </p:cNvPr>
          <p:cNvSpPr/>
          <p:nvPr userDrawn="1"/>
        </p:nvSpPr>
        <p:spPr>
          <a:xfrm>
            <a:off x="4067640" y="2550135"/>
            <a:ext cx="2318361" cy="2126789"/>
          </a:xfrm>
          <a:prstGeom prst="rect">
            <a:avLst/>
          </a:prstGeom>
          <a:no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29"/>
          </a:p>
        </p:txBody>
      </p:sp>
      <p:sp>
        <p:nvSpPr>
          <p:cNvPr id="15" name="Picture Placeholder 10">
            <a:extLst>
              <a:ext uri="{FF2B5EF4-FFF2-40B4-BE49-F238E27FC236}">
                <a16:creationId xmlns:a16="http://schemas.microsoft.com/office/drawing/2014/main" id="{AF3BFD7E-8448-4092-A1FA-620F7C1818EA}"/>
              </a:ext>
            </a:extLst>
          </p:cNvPr>
          <p:cNvSpPr>
            <a:spLocks noGrp="1"/>
          </p:cNvSpPr>
          <p:nvPr>
            <p:ph type="pic" sz="quarter" idx="18" hasCustomPrompt="1"/>
          </p:nvPr>
        </p:nvSpPr>
        <p:spPr>
          <a:xfrm>
            <a:off x="4218836" y="2681165"/>
            <a:ext cx="2015968" cy="1854640"/>
          </a:xfrm>
          <a:prstGeom prst="rect">
            <a:avLst/>
          </a:prstGeom>
          <a:solidFill>
            <a:schemeClr val="accent6"/>
          </a:solidFill>
        </p:spPr>
        <p:txBody>
          <a:bodyPr tIns="182880">
            <a:normAutofit/>
          </a:bodyPr>
          <a:lstStyle>
            <a:lvl1pPr marL="0" indent="0" algn="ctr">
              <a:buNone/>
              <a:defRPr sz="1547"/>
            </a:lvl1pPr>
          </a:lstStyle>
          <a:p>
            <a:pPr marL="0" marR="0" lvl="0" indent="0" algn="ctr" defTabSz="1008063" rtl="0" eaLnBrk="1" fontAlgn="auto" latinLnBrk="0" hangingPunct="1">
              <a:lnSpc>
                <a:spcPct val="90000"/>
              </a:lnSpc>
              <a:spcBef>
                <a:spcPts val="1102"/>
              </a:spcBef>
              <a:spcAft>
                <a:spcPts val="0"/>
              </a:spcAft>
              <a:buClrTx/>
              <a:buSzTx/>
              <a:buFont typeface="Arial" panose="020B0604020202020204" pitchFamily="34" charset="0"/>
              <a:buNone/>
              <a:tabLst/>
              <a:defRPr/>
            </a:pPr>
            <a:r>
              <a:rPr lang="en-US"/>
              <a:t>Click to add picture</a:t>
            </a:r>
          </a:p>
          <a:p>
            <a:endParaRPr lang="en-US"/>
          </a:p>
        </p:txBody>
      </p:sp>
      <p:sp>
        <p:nvSpPr>
          <p:cNvPr id="13" name="Text Placeholder 7">
            <a:extLst>
              <a:ext uri="{FF2B5EF4-FFF2-40B4-BE49-F238E27FC236}">
                <a16:creationId xmlns:a16="http://schemas.microsoft.com/office/drawing/2014/main" id="{973D1BAC-79DB-4FD8-A55E-2B3460CB0A20}"/>
              </a:ext>
            </a:extLst>
          </p:cNvPr>
          <p:cNvSpPr>
            <a:spLocks noGrp="1"/>
          </p:cNvSpPr>
          <p:nvPr>
            <p:ph type="body" sz="quarter" idx="16" hasCustomPrompt="1"/>
          </p:nvPr>
        </p:nvSpPr>
        <p:spPr>
          <a:xfrm>
            <a:off x="4072255" y="4959218"/>
            <a:ext cx="2318361" cy="302388"/>
          </a:xfrm>
          <a:prstGeom prst="rect">
            <a:avLst/>
          </a:prstGeom>
        </p:spPr>
        <p:txBody>
          <a:bodyPr anchor="ctr" anchorCtr="0">
            <a:noAutofit/>
          </a:bodyPr>
          <a:lstStyle>
            <a:lvl1pPr marL="0" indent="0" algn="ctr">
              <a:buNone/>
              <a:defRPr sz="1547">
                <a:latin typeface="+mj-lt"/>
              </a:defRPr>
            </a:lvl1pPr>
            <a:lvl2pPr marL="504031" indent="0">
              <a:buNone/>
              <a:defRPr sz="1763">
                <a:latin typeface="+mj-lt"/>
              </a:defRPr>
            </a:lvl2pPr>
            <a:lvl3pPr marL="1008063" indent="0">
              <a:buNone/>
              <a:defRPr sz="1763">
                <a:latin typeface="+mj-lt"/>
              </a:defRPr>
            </a:lvl3pPr>
            <a:lvl4pPr marL="1512094" indent="0">
              <a:buNone/>
              <a:defRPr sz="1763">
                <a:latin typeface="+mj-lt"/>
              </a:defRPr>
            </a:lvl4pPr>
            <a:lvl5pPr marL="2016127" indent="0">
              <a:buNone/>
              <a:defRPr sz="1763">
                <a:latin typeface="+mj-lt"/>
              </a:defRPr>
            </a:lvl5pPr>
          </a:lstStyle>
          <a:p>
            <a:pPr lvl="0"/>
            <a:r>
              <a:rPr lang="en-US"/>
              <a:t>Click to add text</a:t>
            </a:r>
          </a:p>
        </p:txBody>
      </p:sp>
      <p:sp>
        <p:nvSpPr>
          <p:cNvPr id="14" name="Text Placeholder 7">
            <a:extLst>
              <a:ext uri="{FF2B5EF4-FFF2-40B4-BE49-F238E27FC236}">
                <a16:creationId xmlns:a16="http://schemas.microsoft.com/office/drawing/2014/main" id="{EF99DF7C-CF3F-4AC1-9C96-414220A2ACD3}"/>
              </a:ext>
            </a:extLst>
          </p:cNvPr>
          <p:cNvSpPr>
            <a:spLocks noGrp="1"/>
          </p:cNvSpPr>
          <p:nvPr>
            <p:ph type="body" sz="quarter" idx="17" hasCustomPrompt="1"/>
          </p:nvPr>
        </p:nvSpPr>
        <p:spPr>
          <a:xfrm>
            <a:off x="4072255" y="5308889"/>
            <a:ext cx="2318361" cy="1118157"/>
          </a:xfrm>
          <a:prstGeom prst="rect">
            <a:avLst/>
          </a:prstGeom>
        </p:spPr>
        <p:txBody>
          <a:bodyPr>
            <a:normAutofit/>
          </a:bodyPr>
          <a:lstStyle>
            <a:lvl1pPr marL="0" indent="0" algn="ctr">
              <a:lnSpc>
                <a:spcPts val="1763"/>
              </a:lnSpc>
              <a:spcBef>
                <a:spcPts val="0"/>
              </a:spcBef>
              <a:buNone/>
              <a:defRPr sz="1328">
                <a:latin typeface="+mn-lt"/>
              </a:defRPr>
            </a:lvl1pPr>
            <a:lvl2pPr marL="504031" indent="0">
              <a:buNone/>
              <a:defRPr sz="1763">
                <a:latin typeface="+mj-lt"/>
              </a:defRPr>
            </a:lvl2pPr>
            <a:lvl3pPr marL="1008063" indent="0">
              <a:buNone/>
              <a:defRPr sz="1763">
                <a:latin typeface="+mj-lt"/>
              </a:defRPr>
            </a:lvl3pPr>
            <a:lvl4pPr marL="1512094" indent="0">
              <a:buNone/>
              <a:defRPr sz="1763">
                <a:latin typeface="+mj-lt"/>
              </a:defRPr>
            </a:lvl4pPr>
            <a:lvl5pPr marL="2016127" indent="0">
              <a:buNone/>
              <a:defRPr sz="1763">
                <a:latin typeface="+mj-lt"/>
              </a:defRPr>
            </a:lvl5pPr>
          </a:lstStyle>
          <a:p>
            <a:pPr lvl="0"/>
            <a:r>
              <a:rPr lang="en-US"/>
              <a:t>Click to add text</a:t>
            </a:r>
          </a:p>
        </p:txBody>
      </p:sp>
      <p:sp>
        <p:nvSpPr>
          <p:cNvPr id="16" name="Rectangle 15">
            <a:extLst>
              <a:ext uri="{FF2B5EF4-FFF2-40B4-BE49-F238E27FC236}">
                <a16:creationId xmlns:a16="http://schemas.microsoft.com/office/drawing/2014/main" id="{115CD85B-85C1-4045-A81C-8A1CE2CC3776}"/>
              </a:ext>
              <a:ext uri="{C183D7F6-B498-43B3-948B-1728B52AA6E4}">
                <adec:decorative xmlns:adec="http://schemas.microsoft.com/office/drawing/2017/decorative" val="1"/>
              </a:ext>
            </a:extLst>
          </p:cNvPr>
          <p:cNvSpPr/>
          <p:nvPr userDrawn="1"/>
        </p:nvSpPr>
        <p:spPr>
          <a:xfrm>
            <a:off x="7100974" y="2550135"/>
            <a:ext cx="2318361" cy="2126789"/>
          </a:xfrm>
          <a:prstGeom prst="rect">
            <a:avLst/>
          </a:prstGeom>
          <a:no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29"/>
          </a:p>
        </p:txBody>
      </p:sp>
      <p:sp>
        <p:nvSpPr>
          <p:cNvPr id="19" name="Picture Placeholder 10">
            <a:extLst>
              <a:ext uri="{FF2B5EF4-FFF2-40B4-BE49-F238E27FC236}">
                <a16:creationId xmlns:a16="http://schemas.microsoft.com/office/drawing/2014/main" id="{CEE0C370-A123-4E33-88E1-10380AF73857}"/>
              </a:ext>
            </a:extLst>
          </p:cNvPr>
          <p:cNvSpPr>
            <a:spLocks noGrp="1"/>
          </p:cNvSpPr>
          <p:nvPr>
            <p:ph type="pic" sz="quarter" idx="21" hasCustomPrompt="1"/>
          </p:nvPr>
        </p:nvSpPr>
        <p:spPr>
          <a:xfrm>
            <a:off x="7252171" y="2681165"/>
            <a:ext cx="2015968" cy="1854640"/>
          </a:xfrm>
          <a:prstGeom prst="rect">
            <a:avLst/>
          </a:prstGeom>
          <a:solidFill>
            <a:schemeClr val="accent6"/>
          </a:solidFill>
        </p:spPr>
        <p:txBody>
          <a:bodyPr tIns="182880">
            <a:normAutofit/>
          </a:bodyPr>
          <a:lstStyle>
            <a:lvl1pPr marL="0" indent="0" algn="ctr">
              <a:buNone/>
              <a:defRPr sz="1547"/>
            </a:lvl1pPr>
          </a:lstStyle>
          <a:p>
            <a:pPr marL="0" marR="0" lvl="0" indent="0" algn="ctr" defTabSz="1008063" rtl="0" eaLnBrk="1" fontAlgn="auto" latinLnBrk="0" hangingPunct="1">
              <a:lnSpc>
                <a:spcPct val="90000"/>
              </a:lnSpc>
              <a:spcBef>
                <a:spcPts val="1102"/>
              </a:spcBef>
              <a:spcAft>
                <a:spcPts val="0"/>
              </a:spcAft>
              <a:buClrTx/>
              <a:buSzTx/>
              <a:buFont typeface="Arial" panose="020B0604020202020204" pitchFamily="34" charset="0"/>
              <a:buNone/>
              <a:tabLst/>
              <a:defRPr/>
            </a:pPr>
            <a:r>
              <a:rPr lang="en-US"/>
              <a:t>Click to add picture</a:t>
            </a:r>
          </a:p>
          <a:p>
            <a:endParaRPr lang="en-US"/>
          </a:p>
        </p:txBody>
      </p:sp>
      <p:sp>
        <p:nvSpPr>
          <p:cNvPr id="17" name="Text Placeholder 7">
            <a:extLst>
              <a:ext uri="{FF2B5EF4-FFF2-40B4-BE49-F238E27FC236}">
                <a16:creationId xmlns:a16="http://schemas.microsoft.com/office/drawing/2014/main" id="{C25D4B4A-04E7-46B7-B6A8-6E076B2AEE85}"/>
              </a:ext>
            </a:extLst>
          </p:cNvPr>
          <p:cNvSpPr>
            <a:spLocks noGrp="1"/>
          </p:cNvSpPr>
          <p:nvPr>
            <p:ph type="body" sz="quarter" idx="19" hasCustomPrompt="1"/>
          </p:nvPr>
        </p:nvSpPr>
        <p:spPr>
          <a:xfrm>
            <a:off x="7106281" y="4954199"/>
            <a:ext cx="2318361" cy="302388"/>
          </a:xfrm>
          <a:prstGeom prst="rect">
            <a:avLst/>
          </a:prstGeom>
        </p:spPr>
        <p:txBody>
          <a:bodyPr anchor="ctr" anchorCtr="0">
            <a:noAutofit/>
          </a:bodyPr>
          <a:lstStyle>
            <a:lvl1pPr marL="0" indent="0" algn="ctr">
              <a:buNone/>
              <a:defRPr sz="1547">
                <a:latin typeface="+mj-lt"/>
              </a:defRPr>
            </a:lvl1pPr>
            <a:lvl2pPr marL="504031" indent="0">
              <a:buNone/>
              <a:defRPr sz="1763">
                <a:latin typeface="+mj-lt"/>
              </a:defRPr>
            </a:lvl2pPr>
            <a:lvl3pPr marL="1008063" indent="0">
              <a:buNone/>
              <a:defRPr sz="1763">
                <a:latin typeface="+mj-lt"/>
              </a:defRPr>
            </a:lvl3pPr>
            <a:lvl4pPr marL="1512094" indent="0">
              <a:buNone/>
              <a:defRPr sz="1763">
                <a:latin typeface="+mj-lt"/>
              </a:defRPr>
            </a:lvl4pPr>
            <a:lvl5pPr marL="2016127" indent="0">
              <a:buNone/>
              <a:defRPr sz="1763">
                <a:latin typeface="+mj-lt"/>
              </a:defRPr>
            </a:lvl5pPr>
          </a:lstStyle>
          <a:p>
            <a:pPr lvl="0"/>
            <a:r>
              <a:rPr lang="en-US"/>
              <a:t>Click to add text</a:t>
            </a:r>
          </a:p>
        </p:txBody>
      </p:sp>
      <p:sp>
        <p:nvSpPr>
          <p:cNvPr id="18" name="Text Placeholder 7">
            <a:extLst>
              <a:ext uri="{FF2B5EF4-FFF2-40B4-BE49-F238E27FC236}">
                <a16:creationId xmlns:a16="http://schemas.microsoft.com/office/drawing/2014/main" id="{732EEBF9-64E6-455C-9716-BDDFD220AF90}"/>
              </a:ext>
            </a:extLst>
          </p:cNvPr>
          <p:cNvSpPr>
            <a:spLocks noGrp="1"/>
          </p:cNvSpPr>
          <p:nvPr>
            <p:ph type="body" sz="quarter" idx="20" hasCustomPrompt="1"/>
          </p:nvPr>
        </p:nvSpPr>
        <p:spPr>
          <a:xfrm>
            <a:off x="7106281" y="5303873"/>
            <a:ext cx="2318361" cy="1118157"/>
          </a:xfrm>
          <a:prstGeom prst="rect">
            <a:avLst/>
          </a:prstGeom>
        </p:spPr>
        <p:txBody>
          <a:bodyPr>
            <a:normAutofit/>
          </a:bodyPr>
          <a:lstStyle>
            <a:lvl1pPr marL="0" indent="0" algn="ctr">
              <a:lnSpc>
                <a:spcPts val="1763"/>
              </a:lnSpc>
              <a:spcBef>
                <a:spcPts val="0"/>
              </a:spcBef>
              <a:buNone/>
              <a:defRPr sz="1328">
                <a:latin typeface="+mn-lt"/>
              </a:defRPr>
            </a:lvl1pPr>
            <a:lvl2pPr marL="504031" indent="0">
              <a:buNone/>
              <a:defRPr sz="1763">
                <a:latin typeface="+mj-lt"/>
              </a:defRPr>
            </a:lvl2pPr>
            <a:lvl3pPr marL="1008063" indent="0">
              <a:buNone/>
              <a:defRPr sz="1763">
                <a:latin typeface="+mj-lt"/>
              </a:defRPr>
            </a:lvl3pPr>
            <a:lvl4pPr marL="1512094" indent="0">
              <a:buNone/>
              <a:defRPr sz="1763">
                <a:latin typeface="+mj-lt"/>
              </a:defRPr>
            </a:lvl4pPr>
            <a:lvl5pPr marL="2016127" indent="0">
              <a:buNone/>
              <a:defRPr sz="1763">
                <a:latin typeface="+mj-lt"/>
              </a:defRPr>
            </a:lvl5pPr>
          </a:lstStyle>
          <a:p>
            <a:pPr lvl="0"/>
            <a:r>
              <a:rPr lang="en-US"/>
              <a:t>Click to add text</a:t>
            </a:r>
          </a:p>
        </p:txBody>
      </p:sp>
      <p:sp>
        <p:nvSpPr>
          <p:cNvPr id="20" name="Rectangle 19">
            <a:extLst>
              <a:ext uri="{FF2B5EF4-FFF2-40B4-BE49-F238E27FC236}">
                <a16:creationId xmlns:a16="http://schemas.microsoft.com/office/drawing/2014/main" id="{F228058F-D5C5-43E9-B57A-E0376D24186D}"/>
              </a:ext>
              <a:ext uri="{C183D7F6-B498-43B3-948B-1728B52AA6E4}">
                <adec:decorative xmlns:adec="http://schemas.microsoft.com/office/drawing/2017/decorative" val="1"/>
              </a:ext>
            </a:extLst>
          </p:cNvPr>
          <p:cNvSpPr/>
          <p:nvPr userDrawn="1"/>
        </p:nvSpPr>
        <p:spPr>
          <a:xfrm>
            <a:off x="10103369" y="2550135"/>
            <a:ext cx="2318361" cy="2126789"/>
          </a:xfrm>
          <a:prstGeom prst="rect">
            <a:avLst/>
          </a:prstGeom>
          <a:no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29"/>
          </a:p>
        </p:txBody>
      </p:sp>
      <p:sp>
        <p:nvSpPr>
          <p:cNvPr id="23" name="Picture Placeholder 10">
            <a:extLst>
              <a:ext uri="{FF2B5EF4-FFF2-40B4-BE49-F238E27FC236}">
                <a16:creationId xmlns:a16="http://schemas.microsoft.com/office/drawing/2014/main" id="{70683A90-4CAD-4A4D-BA65-CD3980EBCF53}"/>
              </a:ext>
            </a:extLst>
          </p:cNvPr>
          <p:cNvSpPr>
            <a:spLocks noGrp="1"/>
          </p:cNvSpPr>
          <p:nvPr>
            <p:ph type="pic" sz="quarter" idx="24" hasCustomPrompt="1"/>
          </p:nvPr>
        </p:nvSpPr>
        <p:spPr>
          <a:xfrm>
            <a:off x="10254567" y="2681165"/>
            <a:ext cx="2015968" cy="1854640"/>
          </a:xfrm>
          <a:prstGeom prst="rect">
            <a:avLst/>
          </a:prstGeom>
          <a:solidFill>
            <a:schemeClr val="accent6"/>
          </a:solidFill>
        </p:spPr>
        <p:txBody>
          <a:bodyPr tIns="182880">
            <a:normAutofit/>
          </a:bodyPr>
          <a:lstStyle>
            <a:lvl1pPr marL="0" indent="0" algn="ctr">
              <a:buNone/>
              <a:defRPr sz="1547"/>
            </a:lvl1pPr>
          </a:lstStyle>
          <a:p>
            <a:pPr marL="0" marR="0" lvl="0" indent="0" algn="ctr" defTabSz="1008063" rtl="0" eaLnBrk="1" fontAlgn="auto" latinLnBrk="0" hangingPunct="1">
              <a:lnSpc>
                <a:spcPct val="90000"/>
              </a:lnSpc>
              <a:spcBef>
                <a:spcPts val="1102"/>
              </a:spcBef>
              <a:spcAft>
                <a:spcPts val="0"/>
              </a:spcAft>
              <a:buClrTx/>
              <a:buSzTx/>
              <a:buFont typeface="Arial" panose="020B0604020202020204" pitchFamily="34" charset="0"/>
              <a:buNone/>
              <a:tabLst/>
              <a:defRPr/>
            </a:pPr>
            <a:r>
              <a:rPr lang="en-US"/>
              <a:t>Click to add picture</a:t>
            </a:r>
          </a:p>
          <a:p>
            <a:endParaRPr lang="en-US"/>
          </a:p>
        </p:txBody>
      </p:sp>
      <p:sp>
        <p:nvSpPr>
          <p:cNvPr id="21" name="Text Placeholder 7">
            <a:extLst>
              <a:ext uri="{FF2B5EF4-FFF2-40B4-BE49-F238E27FC236}">
                <a16:creationId xmlns:a16="http://schemas.microsoft.com/office/drawing/2014/main" id="{AD4D984E-939C-43A7-8502-5BF1564F4279}"/>
              </a:ext>
            </a:extLst>
          </p:cNvPr>
          <p:cNvSpPr>
            <a:spLocks noGrp="1"/>
          </p:cNvSpPr>
          <p:nvPr>
            <p:ph type="body" sz="quarter" idx="22" hasCustomPrompt="1"/>
          </p:nvPr>
        </p:nvSpPr>
        <p:spPr>
          <a:xfrm>
            <a:off x="10099993" y="4956702"/>
            <a:ext cx="2318361" cy="302388"/>
          </a:xfrm>
          <a:prstGeom prst="rect">
            <a:avLst/>
          </a:prstGeom>
        </p:spPr>
        <p:txBody>
          <a:bodyPr anchor="ctr" anchorCtr="0">
            <a:noAutofit/>
          </a:bodyPr>
          <a:lstStyle>
            <a:lvl1pPr marL="0" indent="0" algn="ctr">
              <a:buNone/>
              <a:defRPr sz="1547">
                <a:latin typeface="+mj-lt"/>
              </a:defRPr>
            </a:lvl1pPr>
            <a:lvl2pPr marL="504031" indent="0">
              <a:buNone/>
              <a:defRPr sz="1763">
                <a:latin typeface="+mj-lt"/>
              </a:defRPr>
            </a:lvl2pPr>
            <a:lvl3pPr marL="1008063" indent="0">
              <a:buNone/>
              <a:defRPr sz="1763">
                <a:latin typeface="+mj-lt"/>
              </a:defRPr>
            </a:lvl3pPr>
            <a:lvl4pPr marL="1512094" indent="0">
              <a:buNone/>
              <a:defRPr sz="1763">
                <a:latin typeface="+mj-lt"/>
              </a:defRPr>
            </a:lvl4pPr>
            <a:lvl5pPr marL="2016127" indent="0">
              <a:buNone/>
              <a:defRPr sz="1763">
                <a:latin typeface="+mj-lt"/>
              </a:defRPr>
            </a:lvl5pPr>
          </a:lstStyle>
          <a:p>
            <a:pPr lvl="0"/>
            <a:r>
              <a:rPr lang="en-US"/>
              <a:t>Click to add text</a:t>
            </a:r>
          </a:p>
        </p:txBody>
      </p:sp>
      <p:sp>
        <p:nvSpPr>
          <p:cNvPr id="22" name="Text Placeholder 7">
            <a:extLst>
              <a:ext uri="{FF2B5EF4-FFF2-40B4-BE49-F238E27FC236}">
                <a16:creationId xmlns:a16="http://schemas.microsoft.com/office/drawing/2014/main" id="{D63847E1-E452-438A-B17D-50521FDAF8B8}"/>
              </a:ext>
            </a:extLst>
          </p:cNvPr>
          <p:cNvSpPr>
            <a:spLocks noGrp="1"/>
          </p:cNvSpPr>
          <p:nvPr>
            <p:ph type="body" sz="quarter" idx="23" hasCustomPrompt="1"/>
          </p:nvPr>
        </p:nvSpPr>
        <p:spPr>
          <a:xfrm>
            <a:off x="10099993" y="5306377"/>
            <a:ext cx="2318361" cy="1118157"/>
          </a:xfrm>
          <a:prstGeom prst="rect">
            <a:avLst/>
          </a:prstGeom>
        </p:spPr>
        <p:txBody>
          <a:bodyPr>
            <a:normAutofit/>
          </a:bodyPr>
          <a:lstStyle>
            <a:lvl1pPr marL="0" indent="0" algn="ctr">
              <a:lnSpc>
                <a:spcPts val="1763"/>
              </a:lnSpc>
              <a:spcBef>
                <a:spcPts val="0"/>
              </a:spcBef>
              <a:buNone/>
              <a:defRPr sz="1328">
                <a:latin typeface="+mn-lt"/>
              </a:defRPr>
            </a:lvl1pPr>
            <a:lvl2pPr marL="504031" indent="0">
              <a:buNone/>
              <a:defRPr sz="1763">
                <a:latin typeface="+mj-lt"/>
              </a:defRPr>
            </a:lvl2pPr>
            <a:lvl3pPr marL="1008063" indent="0">
              <a:buNone/>
              <a:defRPr sz="1763">
                <a:latin typeface="+mj-lt"/>
              </a:defRPr>
            </a:lvl3pPr>
            <a:lvl4pPr marL="1512094" indent="0">
              <a:buNone/>
              <a:defRPr sz="1763">
                <a:latin typeface="+mj-lt"/>
              </a:defRPr>
            </a:lvl4pPr>
            <a:lvl5pPr marL="2016127" indent="0">
              <a:buNone/>
              <a:defRPr sz="1763">
                <a:latin typeface="+mj-lt"/>
              </a:defRPr>
            </a:lvl5pPr>
          </a:lstStyle>
          <a:p>
            <a:pPr lvl="0"/>
            <a:r>
              <a:rPr lang="en-US"/>
              <a:t>Click to add text</a:t>
            </a:r>
          </a:p>
        </p:txBody>
      </p:sp>
      <p:sp>
        <p:nvSpPr>
          <p:cNvPr id="3" name="Date Placeholder 2">
            <a:extLst>
              <a:ext uri="{FF2B5EF4-FFF2-40B4-BE49-F238E27FC236}">
                <a16:creationId xmlns:a16="http://schemas.microsoft.com/office/drawing/2014/main" id="{9CAF00A3-1058-4FA9-A985-03711701054C}"/>
              </a:ext>
            </a:extLst>
          </p:cNvPr>
          <p:cNvSpPr>
            <a:spLocks noGrp="1"/>
          </p:cNvSpPr>
          <p:nvPr>
            <p:ph type="dt" sz="half" idx="10"/>
          </p:nvPr>
        </p:nvSpPr>
        <p:spPr>
          <a:xfrm>
            <a:off x="923988" y="7006701"/>
            <a:ext cx="3023949" cy="402484"/>
          </a:xfrm>
          <a:prstGeom prst="rect">
            <a:avLst/>
          </a:prstGeom>
        </p:spPr>
        <p:txBody>
          <a:bodyPr/>
          <a:lstStyle/>
          <a:p>
            <a:endParaRPr lang="en-US"/>
          </a:p>
        </p:txBody>
      </p:sp>
      <p:sp>
        <p:nvSpPr>
          <p:cNvPr id="4" name="Footer Placeholder 3">
            <a:extLst>
              <a:ext uri="{FF2B5EF4-FFF2-40B4-BE49-F238E27FC236}">
                <a16:creationId xmlns:a16="http://schemas.microsoft.com/office/drawing/2014/main" id="{A00F60BE-20E1-40C5-85E7-AEAABD0C0DE6}"/>
              </a:ext>
            </a:extLst>
          </p:cNvPr>
          <p:cNvSpPr>
            <a:spLocks noGrp="1"/>
          </p:cNvSpPr>
          <p:nvPr>
            <p:ph type="ftr" sz="quarter" idx="11"/>
          </p:nvPr>
        </p:nvSpPr>
        <p:spPr>
          <a:xfrm>
            <a:off x="4451927" y="7006701"/>
            <a:ext cx="4535925" cy="402484"/>
          </a:xfrm>
          <a:prstGeom prst="rect">
            <a:avLst/>
          </a:prstGeom>
        </p:spPr>
        <p:txBody>
          <a:bodyPr/>
          <a:lstStyle/>
          <a:p>
            <a:endParaRPr lang="en-US"/>
          </a:p>
        </p:txBody>
      </p:sp>
      <p:sp>
        <p:nvSpPr>
          <p:cNvPr id="5" name="Slide Number Placeholder 4">
            <a:extLst>
              <a:ext uri="{FF2B5EF4-FFF2-40B4-BE49-F238E27FC236}">
                <a16:creationId xmlns:a16="http://schemas.microsoft.com/office/drawing/2014/main" id="{05DC939B-94C9-4FF9-B0C8-1149DEFA6CF8}"/>
              </a:ext>
            </a:extLst>
          </p:cNvPr>
          <p:cNvSpPr>
            <a:spLocks noGrp="1"/>
          </p:cNvSpPr>
          <p:nvPr>
            <p:ph type="sldNum" sz="quarter" idx="12"/>
          </p:nvPr>
        </p:nvSpPr>
        <p:spPr>
          <a:xfrm>
            <a:off x="9491845" y="7006701"/>
            <a:ext cx="3023949" cy="402484"/>
          </a:xfrm>
          <a:prstGeom prst="rect">
            <a:avLst/>
          </a:prstGeom>
        </p:spPr>
        <p:txBody>
          <a:bodyPr/>
          <a:lstStyle/>
          <a:p>
            <a:fld id="{B5CEABB6-07DC-46E8-9B57-56EC44A396E5}" type="slidenum">
              <a:rPr lang="en-US" smtClean="0"/>
              <a:t>‹№›</a:t>
            </a:fld>
            <a:endParaRPr lang="en-US"/>
          </a:p>
        </p:txBody>
      </p:sp>
    </p:spTree>
    <p:extLst>
      <p:ext uri="{BB962C8B-B14F-4D97-AF65-F5344CB8AC3E}">
        <p14:creationId xmlns:p14="http://schemas.microsoft.com/office/powerpoint/2010/main" val="231807901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8_Team 8up">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F8C642-49FB-4E16-A3A0-B2ACBEABFFD6}"/>
              </a:ext>
            </a:extLst>
          </p:cNvPr>
          <p:cNvSpPr>
            <a:spLocks noGrp="1"/>
          </p:cNvSpPr>
          <p:nvPr>
            <p:ph type="title" hasCustomPrompt="1"/>
          </p:nvPr>
        </p:nvSpPr>
        <p:spPr>
          <a:xfrm>
            <a:off x="923985" y="150149"/>
            <a:ext cx="11591806" cy="1287454"/>
          </a:xfrm>
          <a:prstGeom prst="rect">
            <a:avLst/>
          </a:prstGeom>
        </p:spPr>
        <p:txBody>
          <a:bodyPr anchor="b" anchorCtr="0"/>
          <a:lstStyle>
            <a:lvl1pPr>
              <a:defRPr/>
            </a:lvl1pPr>
          </a:lstStyle>
          <a:p>
            <a:r>
              <a:rPr lang="en-US"/>
              <a:t>Click to add title</a:t>
            </a:r>
          </a:p>
        </p:txBody>
      </p:sp>
      <p:sp>
        <p:nvSpPr>
          <p:cNvPr id="40" name="Rectangle 39">
            <a:extLst>
              <a:ext uri="{FF2B5EF4-FFF2-40B4-BE49-F238E27FC236}">
                <a16:creationId xmlns:a16="http://schemas.microsoft.com/office/drawing/2014/main" id="{25E70D0E-EDAA-4490-8D97-5F245A32A2E6}"/>
              </a:ext>
              <a:ext uri="{C183D7F6-B498-43B3-948B-1728B52AA6E4}">
                <adec:decorative xmlns:adec="http://schemas.microsoft.com/office/drawing/2017/decorative" val="1"/>
              </a:ext>
            </a:extLst>
          </p:cNvPr>
          <p:cNvSpPr/>
          <p:nvPr userDrawn="1"/>
        </p:nvSpPr>
        <p:spPr>
          <a:xfrm>
            <a:off x="1038224" y="1983156"/>
            <a:ext cx="2116767" cy="1713526"/>
          </a:xfrm>
          <a:prstGeom prst="rect">
            <a:avLst/>
          </a:prstGeom>
          <a:noFill/>
          <a:ln w="254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29"/>
          </a:p>
        </p:txBody>
      </p:sp>
      <p:sp>
        <p:nvSpPr>
          <p:cNvPr id="41" name="Picture Placeholder 10">
            <a:extLst>
              <a:ext uri="{FF2B5EF4-FFF2-40B4-BE49-F238E27FC236}">
                <a16:creationId xmlns:a16="http://schemas.microsoft.com/office/drawing/2014/main" id="{F4300E0A-2C35-48E1-A7CE-95EBD8EBB9EB}"/>
              </a:ext>
            </a:extLst>
          </p:cNvPr>
          <p:cNvSpPr>
            <a:spLocks noGrp="1"/>
          </p:cNvSpPr>
          <p:nvPr>
            <p:ph type="pic" sz="quarter" idx="15" hasCustomPrompt="1"/>
          </p:nvPr>
        </p:nvSpPr>
        <p:spPr>
          <a:xfrm>
            <a:off x="1164222" y="2109151"/>
            <a:ext cx="1864770" cy="1461537"/>
          </a:xfrm>
          <a:prstGeom prst="rect">
            <a:avLst/>
          </a:prstGeom>
          <a:solidFill>
            <a:schemeClr val="accent6"/>
          </a:solidFill>
        </p:spPr>
        <p:txBody>
          <a:bodyPr tIns="182880">
            <a:normAutofit/>
          </a:bodyPr>
          <a:lstStyle>
            <a:lvl1pPr marL="0" indent="0" algn="ctr">
              <a:buNone/>
              <a:defRPr sz="1328"/>
            </a:lvl1pPr>
          </a:lstStyle>
          <a:p>
            <a:pPr marL="0" marR="0" lvl="0" indent="0" algn="ctr" defTabSz="1008063" rtl="0" eaLnBrk="1" fontAlgn="auto" latinLnBrk="0" hangingPunct="1">
              <a:lnSpc>
                <a:spcPct val="90000"/>
              </a:lnSpc>
              <a:spcBef>
                <a:spcPts val="1102"/>
              </a:spcBef>
              <a:spcAft>
                <a:spcPts val="0"/>
              </a:spcAft>
              <a:buClrTx/>
              <a:buSzTx/>
              <a:buFont typeface="Arial" panose="020B0604020202020204" pitchFamily="34" charset="0"/>
              <a:buNone/>
              <a:tabLst/>
              <a:defRPr/>
            </a:pPr>
            <a:r>
              <a:rPr lang="en-US"/>
              <a:t>Click to add picture</a:t>
            </a:r>
          </a:p>
          <a:p>
            <a:endParaRPr lang="en-US"/>
          </a:p>
        </p:txBody>
      </p:sp>
      <p:sp>
        <p:nvSpPr>
          <p:cNvPr id="8" name="Text Placeholder 7">
            <a:extLst>
              <a:ext uri="{FF2B5EF4-FFF2-40B4-BE49-F238E27FC236}">
                <a16:creationId xmlns:a16="http://schemas.microsoft.com/office/drawing/2014/main" id="{FC61D158-7F2D-4995-8849-6017F9840F1E}"/>
              </a:ext>
            </a:extLst>
          </p:cNvPr>
          <p:cNvSpPr>
            <a:spLocks noGrp="1"/>
          </p:cNvSpPr>
          <p:nvPr>
            <p:ph type="body" sz="quarter" idx="13" hasCustomPrompt="1"/>
          </p:nvPr>
        </p:nvSpPr>
        <p:spPr>
          <a:xfrm>
            <a:off x="1038224" y="3795593"/>
            <a:ext cx="2116767" cy="251989"/>
          </a:xfrm>
          <a:prstGeom prst="rect">
            <a:avLst/>
          </a:prstGeom>
        </p:spPr>
        <p:txBody>
          <a:bodyPr anchor="ctr" anchorCtr="0">
            <a:noAutofit/>
          </a:bodyPr>
          <a:lstStyle>
            <a:lvl1pPr marL="0" indent="0" algn="ctr">
              <a:buNone/>
              <a:defRPr sz="1547">
                <a:latin typeface="+mj-lt"/>
              </a:defRPr>
            </a:lvl1pPr>
            <a:lvl2pPr marL="504031" indent="0">
              <a:buNone/>
              <a:defRPr sz="1763">
                <a:latin typeface="+mj-lt"/>
              </a:defRPr>
            </a:lvl2pPr>
            <a:lvl3pPr marL="1008063" indent="0">
              <a:buNone/>
              <a:defRPr sz="1763">
                <a:latin typeface="+mj-lt"/>
              </a:defRPr>
            </a:lvl3pPr>
            <a:lvl4pPr marL="1512094" indent="0">
              <a:buNone/>
              <a:defRPr sz="1763">
                <a:latin typeface="+mj-lt"/>
              </a:defRPr>
            </a:lvl4pPr>
            <a:lvl5pPr marL="2016127" indent="0">
              <a:buNone/>
              <a:defRPr sz="1763">
                <a:latin typeface="+mj-lt"/>
              </a:defRPr>
            </a:lvl5pPr>
          </a:lstStyle>
          <a:p>
            <a:pPr lvl="0"/>
            <a:r>
              <a:rPr lang="en-US"/>
              <a:t>Click to add text</a:t>
            </a:r>
          </a:p>
        </p:txBody>
      </p:sp>
      <p:sp>
        <p:nvSpPr>
          <p:cNvPr id="9" name="Text Placeholder 7">
            <a:extLst>
              <a:ext uri="{FF2B5EF4-FFF2-40B4-BE49-F238E27FC236}">
                <a16:creationId xmlns:a16="http://schemas.microsoft.com/office/drawing/2014/main" id="{0CF72F91-6995-4FF5-866F-1806A86CA0C3}"/>
              </a:ext>
            </a:extLst>
          </p:cNvPr>
          <p:cNvSpPr>
            <a:spLocks noGrp="1"/>
          </p:cNvSpPr>
          <p:nvPr>
            <p:ph type="body" sz="quarter" idx="14" hasCustomPrompt="1"/>
          </p:nvPr>
        </p:nvSpPr>
        <p:spPr>
          <a:xfrm>
            <a:off x="1038224" y="4058725"/>
            <a:ext cx="2116767" cy="359933"/>
          </a:xfrm>
          <a:prstGeom prst="rect">
            <a:avLst/>
          </a:prstGeom>
        </p:spPr>
        <p:txBody>
          <a:bodyPr>
            <a:normAutofit/>
          </a:bodyPr>
          <a:lstStyle>
            <a:lvl1pPr marL="0" indent="0" algn="ctr">
              <a:lnSpc>
                <a:spcPts val="1763"/>
              </a:lnSpc>
              <a:spcBef>
                <a:spcPts val="0"/>
              </a:spcBef>
              <a:buNone/>
              <a:defRPr sz="1328">
                <a:latin typeface="+mn-lt"/>
              </a:defRPr>
            </a:lvl1pPr>
            <a:lvl2pPr marL="504031" indent="0">
              <a:buNone/>
              <a:defRPr sz="1763">
                <a:latin typeface="+mj-lt"/>
              </a:defRPr>
            </a:lvl2pPr>
            <a:lvl3pPr marL="1008063" indent="0">
              <a:buNone/>
              <a:defRPr sz="1763">
                <a:latin typeface="+mj-lt"/>
              </a:defRPr>
            </a:lvl3pPr>
            <a:lvl4pPr marL="1512094" indent="0">
              <a:buNone/>
              <a:defRPr sz="1763">
                <a:latin typeface="+mj-lt"/>
              </a:defRPr>
            </a:lvl4pPr>
            <a:lvl5pPr marL="2016127" indent="0">
              <a:buNone/>
              <a:defRPr sz="1763">
                <a:latin typeface="+mj-lt"/>
              </a:defRPr>
            </a:lvl5pPr>
          </a:lstStyle>
          <a:p>
            <a:pPr lvl="0"/>
            <a:r>
              <a:rPr lang="en-US"/>
              <a:t>Click to add text</a:t>
            </a:r>
          </a:p>
        </p:txBody>
      </p:sp>
      <p:sp>
        <p:nvSpPr>
          <p:cNvPr id="42" name="Rectangle 41">
            <a:extLst>
              <a:ext uri="{FF2B5EF4-FFF2-40B4-BE49-F238E27FC236}">
                <a16:creationId xmlns:a16="http://schemas.microsoft.com/office/drawing/2014/main" id="{99D6C849-74CD-4E83-8CC4-99167CFD5052}"/>
              </a:ext>
              <a:ext uri="{C183D7F6-B498-43B3-948B-1728B52AA6E4}">
                <adec:decorative xmlns:adec="http://schemas.microsoft.com/office/drawing/2017/decorative" val="1"/>
              </a:ext>
            </a:extLst>
          </p:cNvPr>
          <p:cNvSpPr/>
          <p:nvPr userDrawn="1"/>
        </p:nvSpPr>
        <p:spPr>
          <a:xfrm>
            <a:off x="4122937" y="1983156"/>
            <a:ext cx="2116767" cy="1713526"/>
          </a:xfrm>
          <a:prstGeom prst="rect">
            <a:avLst/>
          </a:prstGeom>
          <a:noFill/>
          <a:ln w="254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29"/>
          </a:p>
        </p:txBody>
      </p:sp>
      <p:sp>
        <p:nvSpPr>
          <p:cNvPr id="43" name="Picture Placeholder 10">
            <a:extLst>
              <a:ext uri="{FF2B5EF4-FFF2-40B4-BE49-F238E27FC236}">
                <a16:creationId xmlns:a16="http://schemas.microsoft.com/office/drawing/2014/main" id="{EC894F36-9611-4410-9632-21E5CE1FF1FA}"/>
              </a:ext>
            </a:extLst>
          </p:cNvPr>
          <p:cNvSpPr>
            <a:spLocks noGrp="1"/>
          </p:cNvSpPr>
          <p:nvPr>
            <p:ph type="pic" sz="quarter" idx="18" hasCustomPrompt="1"/>
          </p:nvPr>
        </p:nvSpPr>
        <p:spPr>
          <a:xfrm>
            <a:off x="4248937" y="2109151"/>
            <a:ext cx="1864770" cy="1461537"/>
          </a:xfrm>
          <a:prstGeom prst="rect">
            <a:avLst/>
          </a:prstGeom>
          <a:solidFill>
            <a:schemeClr val="accent6"/>
          </a:solidFill>
        </p:spPr>
        <p:txBody>
          <a:bodyPr tIns="182880">
            <a:normAutofit/>
          </a:bodyPr>
          <a:lstStyle>
            <a:lvl1pPr marL="0" indent="0" algn="ctr">
              <a:buNone/>
              <a:defRPr sz="1328"/>
            </a:lvl1pPr>
          </a:lstStyle>
          <a:p>
            <a:pPr marL="0" marR="0" lvl="0" indent="0" algn="ctr" defTabSz="1008063" rtl="0" eaLnBrk="1" fontAlgn="auto" latinLnBrk="0" hangingPunct="1">
              <a:lnSpc>
                <a:spcPct val="90000"/>
              </a:lnSpc>
              <a:spcBef>
                <a:spcPts val="1102"/>
              </a:spcBef>
              <a:spcAft>
                <a:spcPts val="0"/>
              </a:spcAft>
              <a:buClrTx/>
              <a:buSzTx/>
              <a:buFont typeface="Arial" panose="020B0604020202020204" pitchFamily="34" charset="0"/>
              <a:buNone/>
              <a:tabLst/>
              <a:defRPr/>
            </a:pPr>
            <a:r>
              <a:rPr lang="en-US"/>
              <a:t>Click to add picture</a:t>
            </a:r>
          </a:p>
          <a:p>
            <a:endParaRPr lang="en-US"/>
          </a:p>
        </p:txBody>
      </p:sp>
      <p:sp>
        <p:nvSpPr>
          <p:cNvPr id="13" name="Text Placeholder 7">
            <a:extLst>
              <a:ext uri="{FF2B5EF4-FFF2-40B4-BE49-F238E27FC236}">
                <a16:creationId xmlns:a16="http://schemas.microsoft.com/office/drawing/2014/main" id="{973D1BAC-79DB-4FD8-A55E-2B3460CB0A20}"/>
              </a:ext>
            </a:extLst>
          </p:cNvPr>
          <p:cNvSpPr>
            <a:spLocks noGrp="1"/>
          </p:cNvSpPr>
          <p:nvPr>
            <p:ph type="body" sz="quarter" idx="16" hasCustomPrompt="1"/>
          </p:nvPr>
        </p:nvSpPr>
        <p:spPr>
          <a:xfrm>
            <a:off x="4122653" y="3799996"/>
            <a:ext cx="2116767" cy="251989"/>
          </a:xfrm>
          <a:prstGeom prst="rect">
            <a:avLst/>
          </a:prstGeom>
        </p:spPr>
        <p:txBody>
          <a:bodyPr anchor="ctr" anchorCtr="0">
            <a:noAutofit/>
          </a:bodyPr>
          <a:lstStyle>
            <a:lvl1pPr marL="0" indent="0" algn="ctr">
              <a:buNone/>
              <a:defRPr sz="1547">
                <a:latin typeface="+mj-lt"/>
              </a:defRPr>
            </a:lvl1pPr>
            <a:lvl2pPr marL="504031" indent="0">
              <a:buNone/>
              <a:defRPr sz="1763">
                <a:latin typeface="+mj-lt"/>
              </a:defRPr>
            </a:lvl2pPr>
            <a:lvl3pPr marL="1008063" indent="0">
              <a:buNone/>
              <a:defRPr sz="1763">
                <a:latin typeface="+mj-lt"/>
              </a:defRPr>
            </a:lvl3pPr>
            <a:lvl4pPr marL="1512094" indent="0">
              <a:buNone/>
              <a:defRPr sz="1763">
                <a:latin typeface="+mj-lt"/>
              </a:defRPr>
            </a:lvl4pPr>
            <a:lvl5pPr marL="2016127" indent="0">
              <a:buNone/>
              <a:defRPr sz="1763">
                <a:latin typeface="+mj-lt"/>
              </a:defRPr>
            </a:lvl5pPr>
          </a:lstStyle>
          <a:p>
            <a:pPr lvl="0"/>
            <a:r>
              <a:rPr lang="en-US"/>
              <a:t>Click to add text</a:t>
            </a:r>
          </a:p>
        </p:txBody>
      </p:sp>
      <p:sp>
        <p:nvSpPr>
          <p:cNvPr id="14" name="Text Placeholder 7">
            <a:extLst>
              <a:ext uri="{FF2B5EF4-FFF2-40B4-BE49-F238E27FC236}">
                <a16:creationId xmlns:a16="http://schemas.microsoft.com/office/drawing/2014/main" id="{EF99DF7C-CF3F-4AC1-9C96-414220A2ACD3}"/>
              </a:ext>
            </a:extLst>
          </p:cNvPr>
          <p:cNvSpPr>
            <a:spLocks noGrp="1"/>
          </p:cNvSpPr>
          <p:nvPr>
            <p:ph type="body" sz="quarter" idx="17" hasCustomPrompt="1"/>
          </p:nvPr>
        </p:nvSpPr>
        <p:spPr>
          <a:xfrm>
            <a:off x="4122653" y="4063176"/>
            <a:ext cx="2116767" cy="359933"/>
          </a:xfrm>
          <a:prstGeom prst="rect">
            <a:avLst/>
          </a:prstGeom>
        </p:spPr>
        <p:txBody>
          <a:bodyPr>
            <a:normAutofit/>
          </a:bodyPr>
          <a:lstStyle>
            <a:lvl1pPr marL="0" indent="0" algn="ctr">
              <a:lnSpc>
                <a:spcPts val="1763"/>
              </a:lnSpc>
              <a:spcBef>
                <a:spcPts val="0"/>
              </a:spcBef>
              <a:buNone/>
              <a:defRPr sz="1328">
                <a:latin typeface="+mn-lt"/>
              </a:defRPr>
            </a:lvl1pPr>
            <a:lvl2pPr marL="504031" indent="0">
              <a:buNone/>
              <a:defRPr sz="1763">
                <a:latin typeface="+mj-lt"/>
              </a:defRPr>
            </a:lvl2pPr>
            <a:lvl3pPr marL="1008063" indent="0">
              <a:buNone/>
              <a:defRPr sz="1763">
                <a:latin typeface="+mj-lt"/>
              </a:defRPr>
            </a:lvl3pPr>
            <a:lvl4pPr marL="1512094" indent="0">
              <a:buNone/>
              <a:defRPr sz="1763">
                <a:latin typeface="+mj-lt"/>
              </a:defRPr>
            </a:lvl4pPr>
            <a:lvl5pPr marL="2016127" indent="0">
              <a:buNone/>
              <a:defRPr sz="1763">
                <a:latin typeface="+mj-lt"/>
              </a:defRPr>
            </a:lvl5pPr>
          </a:lstStyle>
          <a:p>
            <a:pPr lvl="0"/>
            <a:r>
              <a:rPr lang="en-US"/>
              <a:t>Click to add text</a:t>
            </a:r>
          </a:p>
        </p:txBody>
      </p:sp>
      <p:sp>
        <p:nvSpPr>
          <p:cNvPr id="44" name="Rectangle 43">
            <a:extLst>
              <a:ext uri="{FF2B5EF4-FFF2-40B4-BE49-F238E27FC236}">
                <a16:creationId xmlns:a16="http://schemas.microsoft.com/office/drawing/2014/main" id="{4FD21C66-AAE4-4F7A-836C-5ABFDB3E2C40}"/>
              </a:ext>
              <a:ext uri="{C183D7F6-B498-43B3-948B-1728B52AA6E4}">
                <adec:decorative xmlns:adec="http://schemas.microsoft.com/office/drawing/2017/decorative" val="1"/>
              </a:ext>
            </a:extLst>
          </p:cNvPr>
          <p:cNvSpPr/>
          <p:nvPr userDrawn="1"/>
        </p:nvSpPr>
        <p:spPr>
          <a:xfrm>
            <a:off x="7207652" y="1983156"/>
            <a:ext cx="2116767" cy="1713526"/>
          </a:xfrm>
          <a:prstGeom prst="rect">
            <a:avLst/>
          </a:prstGeom>
          <a:noFill/>
          <a:ln w="254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29"/>
          </a:p>
        </p:txBody>
      </p:sp>
      <p:sp>
        <p:nvSpPr>
          <p:cNvPr id="45" name="Picture Placeholder 10">
            <a:extLst>
              <a:ext uri="{FF2B5EF4-FFF2-40B4-BE49-F238E27FC236}">
                <a16:creationId xmlns:a16="http://schemas.microsoft.com/office/drawing/2014/main" id="{8663743D-14C0-41A7-8122-D4D2A7801780}"/>
              </a:ext>
            </a:extLst>
          </p:cNvPr>
          <p:cNvSpPr>
            <a:spLocks noGrp="1"/>
          </p:cNvSpPr>
          <p:nvPr>
            <p:ph type="pic" sz="quarter" idx="21" hasCustomPrompt="1"/>
          </p:nvPr>
        </p:nvSpPr>
        <p:spPr>
          <a:xfrm>
            <a:off x="7333651" y="2109151"/>
            <a:ext cx="1864770" cy="1461537"/>
          </a:xfrm>
          <a:prstGeom prst="rect">
            <a:avLst/>
          </a:prstGeom>
          <a:solidFill>
            <a:schemeClr val="accent6"/>
          </a:solidFill>
        </p:spPr>
        <p:txBody>
          <a:bodyPr tIns="182880">
            <a:normAutofit/>
          </a:bodyPr>
          <a:lstStyle>
            <a:lvl1pPr marL="0" indent="0" algn="ctr">
              <a:buNone/>
              <a:defRPr sz="1328"/>
            </a:lvl1pPr>
          </a:lstStyle>
          <a:p>
            <a:pPr marL="0" marR="0" lvl="0" indent="0" algn="ctr" defTabSz="1008063" rtl="0" eaLnBrk="1" fontAlgn="auto" latinLnBrk="0" hangingPunct="1">
              <a:lnSpc>
                <a:spcPct val="90000"/>
              </a:lnSpc>
              <a:spcBef>
                <a:spcPts val="1102"/>
              </a:spcBef>
              <a:spcAft>
                <a:spcPts val="0"/>
              </a:spcAft>
              <a:buClrTx/>
              <a:buSzTx/>
              <a:buFont typeface="Arial" panose="020B0604020202020204" pitchFamily="34" charset="0"/>
              <a:buNone/>
              <a:tabLst/>
              <a:defRPr/>
            </a:pPr>
            <a:r>
              <a:rPr lang="en-US"/>
              <a:t>Click to add picture</a:t>
            </a:r>
          </a:p>
          <a:p>
            <a:endParaRPr lang="en-US"/>
          </a:p>
        </p:txBody>
      </p:sp>
      <p:sp>
        <p:nvSpPr>
          <p:cNvPr id="17" name="Text Placeholder 7">
            <a:extLst>
              <a:ext uri="{FF2B5EF4-FFF2-40B4-BE49-F238E27FC236}">
                <a16:creationId xmlns:a16="http://schemas.microsoft.com/office/drawing/2014/main" id="{C25D4B4A-04E7-46B7-B6A8-6E076B2AEE85}"/>
              </a:ext>
            </a:extLst>
          </p:cNvPr>
          <p:cNvSpPr>
            <a:spLocks noGrp="1"/>
          </p:cNvSpPr>
          <p:nvPr>
            <p:ph type="body" sz="quarter" idx="19" hasCustomPrompt="1"/>
          </p:nvPr>
        </p:nvSpPr>
        <p:spPr>
          <a:xfrm>
            <a:off x="7207080" y="3799996"/>
            <a:ext cx="2116767" cy="251989"/>
          </a:xfrm>
          <a:prstGeom prst="rect">
            <a:avLst/>
          </a:prstGeom>
        </p:spPr>
        <p:txBody>
          <a:bodyPr anchor="ctr" anchorCtr="0">
            <a:noAutofit/>
          </a:bodyPr>
          <a:lstStyle>
            <a:lvl1pPr marL="0" indent="0" algn="ctr">
              <a:buNone/>
              <a:defRPr sz="1547">
                <a:latin typeface="+mj-lt"/>
              </a:defRPr>
            </a:lvl1pPr>
            <a:lvl2pPr marL="504031" indent="0">
              <a:buNone/>
              <a:defRPr sz="1763">
                <a:latin typeface="+mj-lt"/>
              </a:defRPr>
            </a:lvl2pPr>
            <a:lvl3pPr marL="1008063" indent="0">
              <a:buNone/>
              <a:defRPr sz="1763">
                <a:latin typeface="+mj-lt"/>
              </a:defRPr>
            </a:lvl3pPr>
            <a:lvl4pPr marL="1512094" indent="0">
              <a:buNone/>
              <a:defRPr sz="1763">
                <a:latin typeface="+mj-lt"/>
              </a:defRPr>
            </a:lvl4pPr>
            <a:lvl5pPr marL="2016127" indent="0">
              <a:buNone/>
              <a:defRPr sz="1763">
                <a:latin typeface="+mj-lt"/>
              </a:defRPr>
            </a:lvl5pPr>
          </a:lstStyle>
          <a:p>
            <a:pPr lvl="0"/>
            <a:r>
              <a:rPr lang="en-US"/>
              <a:t>Click to add text</a:t>
            </a:r>
          </a:p>
        </p:txBody>
      </p:sp>
      <p:sp>
        <p:nvSpPr>
          <p:cNvPr id="18" name="Text Placeholder 7">
            <a:extLst>
              <a:ext uri="{FF2B5EF4-FFF2-40B4-BE49-F238E27FC236}">
                <a16:creationId xmlns:a16="http://schemas.microsoft.com/office/drawing/2014/main" id="{732EEBF9-64E6-455C-9716-BDDFD220AF90}"/>
              </a:ext>
            </a:extLst>
          </p:cNvPr>
          <p:cNvSpPr>
            <a:spLocks noGrp="1"/>
          </p:cNvSpPr>
          <p:nvPr>
            <p:ph type="body" sz="quarter" idx="20" hasCustomPrompt="1"/>
          </p:nvPr>
        </p:nvSpPr>
        <p:spPr>
          <a:xfrm>
            <a:off x="7207080" y="4063176"/>
            <a:ext cx="2116767" cy="359933"/>
          </a:xfrm>
          <a:prstGeom prst="rect">
            <a:avLst/>
          </a:prstGeom>
        </p:spPr>
        <p:txBody>
          <a:bodyPr>
            <a:normAutofit/>
          </a:bodyPr>
          <a:lstStyle>
            <a:lvl1pPr marL="0" indent="0" algn="ctr">
              <a:lnSpc>
                <a:spcPts val="1763"/>
              </a:lnSpc>
              <a:spcBef>
                <a:spcPts val="0"/>
              </a:spcBef>
              <a:buNone/>
              <a:defRPr sz="1328">
                <a:latin typeface="+mn-lt"/>
              </a:defRPr>
            </a:lvl1pPr>
            <a:lvl2pPr marL="504031" indent="0">
              <a:buNone/>
              <a:defRPr sz="1763">
                <a:latin typeface="+mj-lt"/>
              </a:defRPr>
            </a:lvl2pPr>
            <a:lvl3pPr marL="1008063" indent="0">
              <a:buNone/>
              <a:defRPr sz="1763">
                <a:latin typeface="+mj-lt"/>
              </a:defRPr>
            </a:lvl3pPr>
            <a:lvl4pPr marL="1512094" indent="0">
              <a:buNone/>
              <a:defRPr sz="1763">
                <a:latin typeface="+mj-lt"/>
              </a:defRPr>
            </a:lvl4pPr>
            <a:lvl5pPr marL="2016127" indent="0">
              <a:buNone/>
              <a:defRPr sz="1763">
                <a:latin typeface="+mj-lt"/>
              </a:defRPr>
            </a:lvl5pPr>
          </a:lstStyle>
          <a:p>
            <a:pPr lvl="0"/>
            <a:r>
              <a:rPr lang="en-US"/>
              <a:t>Click to add text</a:t>
            </a:r>
          </a:p>
        </p:txBody>
      </p:sp>
      <p:sp>
        <p:nvSpPr>
          <p:cNvPr id="46" name="Rectangle 45">
            <a:extLst>
              <a:ext uri="{FF2B5EF4-FFF2-40B4-BE49-F238E27FC236}">
                <a16:creationId xmlns:a16="http://schemas.microsoft.com/office/drawing/2014/main" id="{68F25CD1-436E-47AA-8A14-C090BF4316B6}"/>
              </a:ext>
              <a:ext uri="{C183D7F6-B498-43B3-948B-1728B52AA6E4}">
                <adec:decorative xmlns:adec="http://schemas.microsoft.com/office/drawing/2017/decorative" val="1"/>
              </a:ext>
            </a:extLst>
          </p:cNvPr>
          <p:cNvSpPr/>
          <p:nvPr userDrawn="1"/>
        </p:nvSpPr>
        <p:spPr>
          <a:xfrm>
            <a:off x="10292366" y="1983156"/>
            <a:ext cx="2116767" cy="1713526"/>
          </a:xfrm>
          <a:prstGeom prst="rect">
            <a:avLst/>
          </a:prstGeom>
          <a:noFill/>
          <a:ln w="254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29"/>
          </a:p>
        </p:txBody>
      </p:sp>
      <p:sp>
        <p:nvSpPr>
          <p:cNvPr id="47" name="Picture Placeholder 10">
            <a:extLst>
              <a:ext uri="{FF2B5EF4-FFF2-40B4-BE49-F238E27FC236}">
                <a16:creationId xmlns:a16="http://schemas.microsoft.com/office/drawing/2014/main" id="{68C01EED-EC2C-4D5E-969B-9815EC0237DA}"/>
              </a:ext>
            </a:extLst>
          </p:cNvPr>
          <p:cNvSpPr>
            <a:spLocks noGrp="1"/>
          </p:cNvSpPr>
          <p:nvPr>
            <p:ph type="pic" sz="quarter" idx="24" hasCustomPrompt="1"/>
          </p:nvPr>
        </p:nvSpPr>
        <p:spPr>
          <a:xfrm>
            <a:off x="10418366" y="2109151"/>
            <a:ext cx="1864770" cy="1461537"/>
          </a:xfrm>
          <a:prstGeom prst="rect">
            <a:avLst/>
          </a:prstGeom>
          <a:solidFill>
            <a:schemeClr val="accent6"/>
          </a:solidFill>
        </p:spPr>
        <p:txBody>
          <a:bodyPr tIns="182880">
            <a:normAutofit/>
          </a:bodyPr>
          <a:lstStyle>
            <a:lvl1pPr marL="0" indent="0" algn="ctr">
              <a:buNone/>
              <a:defRPr sz="1328"/>
            </a:lvl1pPr>
          </a:lstStyle>
          <a:p>
            <a:pPr marL="0" marR="0" lvl="0" indent="0" algn="ctr" defTabSz="1008063" rtl="0" eaLnBrk="1" fontAlgn="auto" latinLnBrk="0" hangingPunct="1">
              <a:lnSpc>
                <a:spcPct val="90000"/>
              </a:lnSpc>
              <a:spcBef>
                <a:spcPts val="1102"/>
              </a:spcBef>
              <a:spcAft>
                <a:spcPts val="0"/>
              </a:spcAft>
              <a:buClrTx/>
              <a:buSzTx/>
              <a:buFont typeface="Arial" panose="020B0604020202020204" pitchFamily="34" charset="0"/>
              <a:buNone/>
              <a:tabLst/>
              <a:defRPr/>
            </a:pPr>
            <a:r>
              <a:rPr lang="en-US"/>
              <a:t>Click to add picture</a:t>
            </a:r>
          </a:p>
          <a:p>
            <a:endParaRPr lang="en-US"/>
          </a:p>
        </p:txBody>
      </p:sp>
      <p:sp>
        <p:nvSpPr>
          <p:cNvPr id="21" name="Text Placeholder 7">
            <a:extLst>
              <a:ext uri="{FF2B5EF4-FFF2-40B4-BE49-F238E27FC236}">
                <a16:creationId xmlns:a16="http://schemas.microsoft.com/office/drawing/2014/main" id="{AD4D984E-939C-43A7-8502-5BF1564F4279}"/>
              </a:ext>
            </a:extLst>
          </p:cNvPr>
          <p:cNvSpPr>
            <a:spLocks noGrp="1"/>
          </p:cNvSpPr>
          <p:nvPr>
            <p:ph type="body" sz="quarter" idx="22" hasCustomPrompt="1"/>
          </p:nvPr>
        </p:nvSpPr>
        <p:spPr>
          <a:xfrm>
            <a:off x="10291510" y="3799996"/>
            <a:ext cx="2116767" cy="251989"/>
          </a:xfrm>
          <a:prstGeom prst="rect">
            <a:avLst/>
          </a:prstGeom>
        </p:spPr>
        <p:txBody>
          <a:bodyPr anchor="ctr" anchorCtr="0">
            <a:noAutofit/>
          </a:bodyPr>
          <a:lstStyle>
            <a:lvl1pPr marL="0" indent="0" algn="ctr">
              <a:buNone/>
              <a:defRPr sz="1547">
                <a:latin typeface="+mj-lt"/>
              </a:defRPr>
            </a:lvl1pPr>
            <a:lvl2pPr marL="504031" indent="0">
              <a:buNone/>
              <a:defRPr sz="1763">
                <a:latin typeface="+mj-lt"/>
              </a:defRPr>
            </a:lvl2pPr>
            <a:lvl3pPr marL="1008063" indent="0">
              <a:buNone/>
              <a:defRPr sz="1763">
                <a:latin typeface="+mj-lt"/>
              </a:defRPr>
            </a:lvl3pPr>
            <a:lvl4pPr marL="1512094" indent="0">
              <a:buNone/>
              <a:defRPr sz="1763">
                <a:latin typeface="+mj-lt"/>
              </a:defRPr>
            </a:lvl4pPr>
            <a:lvl5pPr marL="2016127" indent="0">
              <a:buNone/>
              <a:defRPr sz="1763">
                <a:latin typeface="+mj-lt"/>
              </a:defRPr>
            </a:lvl5pPr>
          </a:lstStyle>
          <a:p>
            <a:pPr lvl="0"/>
            <a:r>
              <a:rPr lang="en-US"/>
              <a:t>Click to add text</a:t>
            </a:r>
          </a:p>
        </p:txBody>
      </p:sp>
      <p:sp>
        <p:nvSpPr>
          <p:cNvPr id="22" name="Text Placeholder 7">
            <a:extLst>
              <a:ext uri="{FF2B5EF4-FFF2-40B4-BE49-F238E27FC236}">
                <a16:creationId xmlns:a16="http://schemas.microsoft.com/office/drawing/2014/main" id="{D63847E1-E452-438A-B17D-50521FDAF8B8}"/>
              </a:ext>
            </a:extLst>
          </p:cNvPr>
          <p:cNvSpPr>
            <a:spLocks noGrp="1"/>
          </p:cNvSpPr>
          <p:nvPr>
            <p:ph type="body" sz="quarter" idx="23" hasCustomPrompt="1"/>
          </p:nvPr>
        </p:nvSpPr>
        <p:spPr>
          <a:xfrm>
            <a:off x="10291510" y="4063176"/>
            <a:ext cx="2116767" cy="359933"/>
          </a:xfrm>
          <a:prstGeom prst="rect">
            <a:avLst/>
          </a:prstGeom>
        </p:spPr>
        <p:txBody>
          <a:bodyPr>
            <a:normAutofit/>
          </a:bodyPr>
          <a:lstStyle>
            <a:lvl1pPr marL="0" indent="0" algn="ctr">
              <a:lnSpc>
                <a:spcPts val="1763"/>
              </a:lnSpc>
              <a:spcBef>
                <a:spcPts val="0"/>
              </a:spcBef>
              <a:buNone/>
              <a:defRPr sz="1328">
                <a:latin typeface="+mn-lt"/>
              </a:defRPr>
            </a:lvl1pPr>
            <a:lvl2pPr marL="504031" indent="0">
              <a:buNone/>
              <a:defRPr sz="1763">
                <a:latin typeface="+mj-lt"/>
              </a:defRPr>
            </a:lvl2pPr>
            <a:lvl3pPr marL="1008063" indent="0">
              <a:buNone/>
              <a:defRPr sz="1763">
                <a:latin typeface="+mj-lt"/>
              </a:defRPr>
            </a:lvl3pPr>
            <a:lvl4pPr marL="1512094" indent="0">
              <a:buNone/>
              <a:defRPr sz="1763">
                <a:latin typeface="+mj-lt"/>
              </a:defRPr>
            </a:lvl4pPr>
            <a:lvl5pPr marL="2016127" indent="0">
              <a:buNone/>
              <a:defRPr sz="1763">
                <a:latin typeface="+mj-lt"/>
              </a:defRPr>
            </a:lvl5pPr>
          </a:lstStyle>
          <a:p>
            <a:pPr lvl="0"/>
            <a:r>
              <a:rPr lang="en-US"/>
              <a:t>Click to add text</a:t>
            </a:r>
          </a:p>
        </p:txBody>
      </p:sp>
      <p:sp>
        <p:nvSpPr>
          <p:cNvPr id="54" name="Rectangle 53">
            <a:extLst>
              <a:ext uri="{FF2B5EF4-FFF2-40B4-BE49-F238E27FC236}">
                <a16:creationId xmlns:a16="http://schemas.microsoft.com/office/drawing/2014/main" id="{1BFAF5AF-131D-45FE-9220-15852C520008}"/>
              </a:ext>
              <a:ext uri="{C183D7F6-B498-43B3-948B-1728B52AA6E4}">
                <adec:decorative xmlns:adec="http://schemas.microsoft.com/office/drawing/2017/decorative" val="1"/>
              </a:ext>
            </a:extLst>
          </p:cNvPr>
          <p:cNvSpPr/>
          <p:nvPr userDrawn="1"/>
        </p:nvSpPr>
        <p:spPr>
          <a:xfrm>
            <a:off x="1038224" y="4534545"/>
            <a:ext cx="2116767" cy="1713526"/>
          </a:xfrm>
          <a:prstGeom prst="rect">
            <a:avLst/>
          </a:prstGeom>
          <a:noFill/>
          <a:ln w="254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29"/>
          </a:p>
        </p:txBody>
      </p:sp>
      <p:sp>
        <p:nvSpPr>
          <p:cNvPr id="55" name="Picture Placeholder 10">
            <a:extLst>
              <a:ext uri="{FF2B5EF4-FFF2-40B4-BE49-F238E27FC236}">
                <a16:creationId xmlns:a16="http://schemas.microsoft.com/office/drawing/2014/main" id="{86B14609-6CE7-4483-A952-6A0C59D63312}"/>
              </a:ext>
            </a:extLst>
          </p:cNvPr>
          <p:cNvSpPr>
            <a:spLocks noGrp="1"/>
          </p:cNvSpPr>
          <p:nvPr>
            <p:ph type="pic" sz="quarter" idx="36" hasCustomPrompt="1"/>
          </p:nvPr>
        </p:nvSpPr>
        <p:spPr>
          <a:xfrm>
            <a:off x="1164222" y="4660540"/>
            <a:ext cx="1864770" cy="1461537"/>
          </a:xfrm>
          <a:prstGeom prst="rect">
            <a:avLst/>
          </a:prstGeom>
          <a:solidFill>
            <a:schemeClr val="accent6"/>
          </a:solidFill>
        </p:spPr>
        <p:txBody>
          <a:bodyPr tIns="182880">
            <a:normAutofit/>
          </a:bodyPr>
          <a:lstStyle>
            <a:lvl1pPr marL="0" indent="0" algn="ctr">
              <a:buNone/>
              <a:defRPr sz="1328"/>
            </a:lvl1pPr>
          </a:lstStyle>
          <a:p>
            <a:pPr marL="0" marR="0" lvl="0" indent="0" algn="ctr" defTabSz="1008063" rtl="0" eaLnBrk="1" fontAlgn="auto" latinLnBrk="0" hangingPunct="1">
              <a:lnSpc>
                <a:spcPct val="90000"/>
              </a:lnSpc>
              <a:spcBef>
                <a:spcPts val="1102"/>
              </a:spcBef>
              <a:spcAft>
                <a:spcPts val="0"/>
              </a:spcAft>
              <a:buClrTx/>
              <a:buSzTx/>
              <a:buFont typeface="Arial" panose="020B0604020202020204" pitchFamily="34" charset="0"/>
              <a:buNone/>
              <a:tabLst/>
              <a:defRPr/>
            </a:pPr>
            <a:r>
              <a:rPr lang="en-US"/>
              <a:t>Click to add picture</a:t>
            </a:r>
          </a:p>
          <a:p>
            <a:endParaRPr lang="en-US"/>
          </a:p>
        </p:txBody>
      </p:sp>
      <p:sp>
        <p:nvSpPr>
          <p:cNvPr id="25" name="Text Placeholder 7">
            <a:extLst>
              <a:ext uri="{FF2B5EF4-FFF2-40B4-BE49-F238E27FC236}">
                <a16:creationId xmlns:a16="http://schemas.microsoft.com/office/drawing/2014/main" id="{A0E37C15-4439-4FA1-B82A-6543015098C1}"/>
              </a:ext>
            </a:extLst>
          </p:cNvPr>
          <p:cNvSpPr>
            <a:spLocks noGrp="1"/>
          </p:cNvSpPr>
          <p:nvPr>
            <p:ph type="body" sz="quarter" idx="25" hasCustomPrompt="1"/>
          </p:nvPr>
        </p:nvSpPr>
        <p:spPr>
          <a:xfrm>
            <a:off x="1038224" y="6333110"/>
            <a:ext cx="2116767" cy="251989"/>
          </a:xfrm>
          <a:prstGeom prst="rect">
            <a:avLst/>
          </a:prstGeom>
        </p:spPr>
        <p:txBody>
          <a:bodyPr anchor="ctr" anchorCtr="0">
            <a:noAutofit/>
          </a:bodyPr>
          <a:lstStyle>
            <a:lvl1pPr marL="0" indent="0" algn="ctr">
              <a:buNone/>
              <a:defRPr sz="1547">
                <a:latin typeface="+mj-lt"/>
              </a:defRPr>
            </a:lvl1pPr>
            <a:lvl2pPr marL="504031" indent="0">
              <a:buNone/>
              <a:defRPr sz="1763">
                <a:latin typeface="+mj-lt"/>
              </a:defRPr>
            </a:lvl2pPr>
            <a:lvl3pPr marL="1008063" indent="0">
              <a:buNone/>
              <a:defRPr sz="1763">
                <a:latin typeface="+mj-lt"/>
              </a:defRPr>
            </a:lvl3pPr>
            <a:lvl4pPr marL="1512094" indent="0">
              <a:buNone/>
              <a:defRPr sz="1763">
                <a:latin typeface="+mj-lt"/>
              </a:defRPr>
            </a:lvl4pPr>
            <a:lvl5pPr marL="2016127" indent="0">
              <a:buNone/>
              <a:defRPr sz="1763">
                <a:latin typeface="+mj-lt"/>
              </a:defRPr>
            </a:lvl5pPr>
          </a:lstStyle>
          <a:p>
            <a:pPr lvl="0"/>
            <a:r>
              <a:rPr lang="en-US"/>
              <a:t>Click to add text</a:t>
            </a:r>
          </a:p>
        </p:txBody>
      </p:sp>
      <p:sp>
        <p:nvSpPr>
          <p:cNvPr id="26" name="Text Placeholder 7">
            <a:extLst>
              <a:ext uri="{FF2B5EF4-FFF2-40B4-BE49-F238E27FC236}">
                <a16:creationId xmlns:a16="http://schemas.microsoft.com/office/drawing/2014/main" id="{B4B36042-0944-4E63-98F0-4C6088F4B012}"/>
              </a:ext>
            </a:extLst>
          </p:cNvPr>
          <p:cNvSpPr>
            <a:spLocks noGrp="1"/>
          </p:cNvSpPr>
          <p:nvPr>
            <p:ph type="body" sz="quarter" idx="26" hasCustomPrompt="1"/>
          </p:nvPr>
        </p:nvSpPr>
        <p:spPr>
          <a:xfrm>
            <a:off x="1038224" y="6589654"/>
            <a:ext cx="2116767" cy="359933"/>
          </a:xfrm>
          <a:prstGeom prst="rect">
            <a:avLst/>
          </a:prstGeom>
        </p:spPr>
        <p:txBody>
          <a:bodyPr>
            <a:normAutofit/>
          </a:bodyPr>
          <a:lstStyle>
            <a:lvl1pPr marL="0" indent="0" algn="ctr">
              <a:lnSpc>
                <a:spcPts val="1763"/>
              </a:lnSpc>
              <a:spcBef>
                <a:spcPts val="0"/>
              </a:spcBef>
              <a:buNone/>
              <a:defRPr sz="1328">
                <a:latin typeface="+mn-lt"/>
              </a:defRPr>
            </a:lvl1pPr>
            <a:lvl2pPr marL="504031" indent="0">
              <a:buNone/>
              <a:defRPr sz="1763">
                <a:latin typeface="+mj-lt"/>
              </a:defRPr>
            </a:lvl2pPr>
            <a:lvl3pPr marL="1008063" indent="0">
              <a:buNone/>
              <a:defRPr sz="1763">
                <a:latin typeface="+mj-lt"/>
              </a:defRPr>
            </a:lvl3pPr>
            <a:lvl4pPr marL="1512094" indent="0">
              <a:buNone/>
              <a:defRPr sz="1763">
                <a:latin typeface="+mj-lt"/>
              </a:defRPr>
            </a:lvl4pPr>
            <a:lvl5pPr marL="2016127" indent="0">
              <a:buNone/>
              <a:defRPr sz="1763">
                <a:latin typeface="+mj-lt"/>
              </a:defRPr>
            </a:lvl5pPr>
          </a:lstStyle>
          <a:p>
            <a:pPr lvl="0"/>
            <a:r>
              <a:rPr lang="en-US"/>
              <a:t>Click to add text</a:t>
            </a:r>
          </a:p>
        </p:txBody>
      </p:sp>
      <p:sp>
        <p:nvSpPr>
          <p:cNvPr id="56" name="Rectangle 55">
            <a:extLst>
              <a:ext uri="{FF2B5EF4-FFF2-40B4-BE49-F238E27FC236}">
                <a16:creationId xmlns:a16="http://schemas.microsoft.com/office/drawing/2014/main" id="{6E1E5DFE-ABE4-4574-8214-460F40787767}"/>
              </a:ext>
              <a:ext uri="{C183D7F6-B498-43B3-948B-1728B52AA6E4}">
                <adec:decorative xmlns:adec="http://schemas.microsoft.com/office/drawing/2017/decorative" val="1"/>
              </a:ext>
            </a:extLst>
          </p:cNvPr>
          <p:cNvSpPr/>
          <p:nvPr userDrawn="1"/>
        </p:nvSpPr>
        <p:spPr>
          <a:xfrm>
            <a:off x="4122653" y="4534545"/>
            <a:ext cx="2116767" cy="1713526"/>
          </a:xfrm>
          <a:prstGeom prst="rect">
            <a:avLst/>
          </a:prstGeom>
          <a:noFill/>
          <a:ln w="254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29"/>
          </a:p>
        </p:txBody>
      </p:sp>
      <p:sp>
        <p:nvSpPr>
          <p:cNvPr id="57" name="Picture Placeholder 10">
            <a:extLst>
              <a:ext uri="{FF2B5EF4-FFF2-40B4-BE49-F238E27FC236}">
                <a16:creationId xmlns:a16="http://schemas.microsoft.com/office/drawing/2014/main" id="{8C0FF998-B1F8-44FC-A045-B322FEC67A38}"/>
              </a:ext>
            </a:extLst>
          </p:cNvPr>
          <p:cNvSpPr>
            <a:spLocks noGrp="1"/>
          </p:cNvSpPr>
          <p:nvPr>
            <p:ph type="pic" sz="quarter" idx="37" hasCustomPrompt="1"/>
          </p:nvPr>
        </p:nvSpPr>
        <p:spPr>
          <a:xfrm>
            <a:off x="4248652" y="4660540"/>
            <a:ext cx="1864770" cy="1461537"/>
          </a:xfrm>
          <a:prstGeom prst="rect">
            <a:avLst/>
          </a:prstGeom>
          <a:solidFill>
            <a:schemeClr val="accent6"/>
          </a:solidFill>
        </p:spPr>
        <p:txBody>
          <a:bodyPr tIns="182880">
            <a:normAutofit/>
          </a:bodyPr>
          <a:lstStyle>
            <a:lvl1pPr marL="0" indent="0" algn="ctr">
              <a:buNone/>
              <a:defRPr sz="1328"/>
            </a:lvl1pPr>
          </a:lstStyle>
          <a:p>
            <a:pPr marL="0" marR="0" lvl="0" indent="0" algn="ctr" defTabSz="1008063" rtl="0" eaLnBrk="1" fontAlgn="auto" latinLnBrk="0" hangingPunct="1">
              <a:lnSpc>
                <a:spcPct val="90000"/>
              </a:lnSpc>
              <a:spcBef>
                <a:spcPts val="1102"/>
              </a:spcBef>
              <a:spcAft>
                <a:spcPts val="0"/>
              </a:spcAft>
              <a:buClrTx/>
              <a:buSzTx/>
              <a:buFont typeface="Arial" panose="020B0604020202020204" pitchFamily="34" charset="0"/>
              <a:buNone/>
              <a:tabLst/>
              <a:defRPr/>
            </a:pPr>
            <a:r>
              <a:rPr lang="en-US"/>
              <a:t>Click to add picture</a:t>
            </a:r>
          </a:p>
          <a:p>
            <a:endParaRPr lang="en-US"/>
          </a:p>
        </p:txBody>
      </p:sp>
      <p:sp>
        <p:nvSpPr>
          <p:cNvPr id="29" name="Text Placeholder 7">
            <a:extLst>
              <a:ext uri="{FF2B5EF4-FFF2-40B4-BE49-F238E27FC236}">
                <a16:creationId xmlns:a16="http://schemas.microsoft.com/office/drawing/2014/main" id="{525DBE17-3292-4AD9-9132-FEC89DF26EF6}"/>
              </a:ext>
            </a:extLst>
          </p:cNvPr>
          <p:cNvSpPr>
            <a:spLocks noGrp="1"/>
          </p:cNvSpPr>
          <p:nvPr>
            <p:ph type="body" sz="quarter" idx="28" hasCustomPrompt="1"/>
          </p:nvPr>
        </p:nvSpPr>
        <p:spPr>
          <a:xfrm>
            <a:off x="4122653" y="6328653"/>
            <a:ext cx="2116767" cy="251989"/>
          </a:xfrm>
          <a:prstGeom prst="rect">
            <a:avLst/>
          </a:prstGeom>
        </p:spPr>
        <p:txBody>
          <a:bodyPr anchor="ctr" anchorCtr="0">
            <a:noAutofit/>
          </a:bodyPr>
          <a:lstStyle>
            <a:lvl1pPr marL="0" indent="0" algn="ctr">
              <a:buNone/>
              <a:defRPr sz="1547">
                <a:latin typeface="+mj-lt"/>
              </a:defRPr>
            </a:lvl1pPr>
            <a:lvl2pPr marL="504031" indent="0">
              <a:buNone/>
              <a:defRPr sz="1763">
                <a:latin typeface="+mj-lt"/>
              </a:defRPr>
            </a:lvl2pPr>
            <a:lvl3pPr marL="1008063" indent="0">
              <a:buNone/>
              <a:defRPr sz="1763">
                <a:latin typeface="+mj-lt"/>
              </a:defRPr>
            </a:lvl3pPr>
            <a:lvl4pPr marL="1512094" indent="0">
              <a:buNone/>
              <a:defRPr sz="1763">
                <a:latin typeface="+mj-lt"/>
              </a:defRPr>
            </a:lvl4pPr>
            <a:lvl5pPr marL="2016127" indent="0">
              <a:buNone/>
              <a:defRPr sz="1763">
                <a:latin typeface="+mj-lt"/>
              </a:defRPr>
            </a:lvl5pPr>
          </a:lstStyle>
          <a:p>
            <a:pPr lvl="0"/>
            <a:r>
              <a:rPr lang="en-US"/>
              <a:t>Click to add text</a:t>
            </a:r>
          </a:p>
        </p:txBody>
      </p:sp>
      <p:sp>
        <p:nvSpPr>
          <p:cNvPr id="30" name="Text Placeholder 7">
            <a:extLst>
              <a:ext uri="{FF2B5EF4-FFF2-40B4-BE49-F238E27FC236}">
                <a16:creationId xmlns:a16="http://schemas.microsoft.com/office/drawing/2014/main" id="{45D8728A-4ADC-409A-AF07-C6DC0796E542}"/>
              </a:ext>
            </a:extLst>
          </p:cNvPr>
          <p:cNvSpPr>
            <a:spLocks noGrp="1"/>
          </p:cNvSpPr>
          <p:nvPr>
            <p:ph type="body" sz="quarter" idx="29" hasCustomPrompt="1"/>
          </p:nvPr>
        </p:nvSpPr>
        <p:spPr>
          <a:xfrm>
            <a:off x="4122653" y="6591833"/>
            <a:ext cx="2116767" cy="359933"/>
          </a:xfrm>
          <a:prstGeom prst="rect">
            <a:avLst/>
          </a:prstGeom>
        </p:spPr>
        <p:txBody>
          <a:bodyPr>
            <a:normAutofit/>
          </a:bodyPr>
          <a:lstStyle>
            <a:lvl1pPr marL="0" indent="0" algn="ctr">
              <a:lnSpc>
                <a:spcPts val="1763"/>
              </a:lnSpc>
              <a:spcBef>
                <a:spcPts val="0"/>
              </a:spcBef>
              <a:buNone/>
              <a:defRPr sz="1328">
                <a:latin typeface="+mn-lt"/>
              </a:defRPr>
            </a:lvl1pPr>
            <a:lvl2pPr marL="504031" indent="0">
              <a:buNone/>
              <a:defRPr sz="1763">
                <a:latin typeface="+mj-lt"/>
              </a:defRPr>
            </a:lvl2pPr>
            <a:lvl3pPr marL="1008063" indent="0">
              <a:buNone/>
              <a:defRPr sz="1763">
                <a:latin typeface="+mj-lt"/>
              </a:defRPr>
            </a:lvl3pPr>
            <a:lvl4pPr marL="1512094" indent="0">
              <a:buNone/>
              <a:defRPr sz="1763">
                <a:latin typeface="+mj-lt"/>
              </a:defRPr>
            </a:lvl4pPr>
            <a:lvl5pPr marL="2016127" indent="0">
              <a:buNone/>
              <a:defRPr sz="1763">
                <a:latin typeface="+mj-lt"/>
              </a:defRPr>
            </a:lvl5pPr>
          </a:lstStyle>
          <a:p>
            <a:pPr lvl="0"/>
            <a:r>
              <a:rPr lang="en-US"/>
              <a:t>Click to add text</a:t>
            </a:r>
          </a:p>
        </p:txBody>
      </p:sp>
      <p:sp>
        <p:nvSpPr>
          <p:cNvPr id="58" name="Rectangle 57">
            <a:extLst>
              <a:ext uri="{FF2B5EF4-FFF2-40B4-BE49-F238E27FC236}">
                <a16:creationId xmlns:a16="http://schemas.microsoft.com/office/drawing/2014/main" id="{99BFB914-76F2-40AA-B7E6-F06BCEBF6C79}"/>
              </a:ext>
              <a:ext uri="{C183D7F6-B498-43B3-948B-1728B52AA6E4}">
                <adec:decorative xmlns:adec="http://schemas.microsoft.com/office/drawing/2017/decorative" val="1"/>
              </a:ext>
            </a:extLst>
          </p:cNvPr>
          <p:cNvSpPr/>
          <p:nvPr userDrawn="1"/>
        </p:nvSpPr>
        <p:spPr>
          <a:xfrm>
            <a:off x="7207080" y="4534545"/>
            <a:ext cx="2116767" cy="1713526"/>
          </a:xfrm>
          <a:prstGeom prst="rect">
            <a:avLst/>
          </a:prstGeom>
          <a:noFill/>
          <a:ln w="254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29"/>
          </a:p>
        </p:txBody>
      </p:sp>
      <p:sp>
        <p:nvSpPr>
          <p:cNvPr id="59" name="Picture Placeholder 10">
            <a:extLst>
              <a:ext uri="{FF2B5EF4-FFF2-40B4-BE49-F238E27FC236}">
                <a16:creationId xmlns:a16="http://schemas.microsoft.com/office/drawing/2014/main" id="{B101D19E-87CD-4005-9400-DB83194D9039}"/>
              </a:ext>
            </a:extLst>
          </p:cNvPr>
          <p:cNvSpPr>
            <a:spLocks noGrp="1"/>
          </p:cNvSpPr>
          <p:nvPr>
            <p:ph type="pic" sz="quarter" idx="38" hasCustomPrompt="1"/>
          </p:nvPr>
        </p:nvSpPr>
        <p:spPr>
          <a:xfrm>
            <a:off x="7333080" y="4660540"/>
            <a:ext cx="1864770" cy="1461537"/>
          </a:xfrm>
          <a:prstGeom prst="rect">
            <a:avLst/>
          </a:prstGeom>
          <a:solidFill>
            <a:schemeClr val="accent6"/>
          </a:solidFill>
        </p:spPr>
        <p:txBody>
          <a:bodyPr tIns="182880">
            <a:normAutofit/>
          </a:bodyPr>
          <a:lstStyle>
            <a:lvl1pPr marL="0" indent="0" algn="ctr">
              <a:buNone/>
              <a:defRPr sz="1328"/>
            </a:lvl1pPr>
          </a:lstStyle>
          <a:p>
            <a:pPr marL="0" marR="0" lvl="0" indent="0" algn="ctr" defTabSz="1008063" rtl="0" eaLnBrk="1" fontAlgn="auto" latinLnBrk="0" hangingPunct="1">
              <a:lnSpc>
                <a:spcPct val="90000"/>
              </a:lnSpc>
              <a:spcBef>
                <a:spcPts val="1102"/>
              </a:spcBef>
              <a:spcAft>
                <a:spcPts val="0"/>
              </a:spcAft>
              <a:buClrTx/>
              <a:buSzTx/>
              <a:buFont typeface="Arial" panose="020B0604020202020204" pitchFamily="34" charset="0"/>
              <a:buNone/>
              <a:tabLst/>
              <a:defRPr/>
            </a:pPr>
            <a:r>
              <a:rPr lang="en-US"/>
              <a:t>Click to add picture</a:t>
            </a:r>
          </a:p>
          <a:p>
            <a:endParaRPr lang="en-US"/>
          </a:p>
        </p:txBody>
      </p:sp>
      <p:sp>
        <p:nvSpPr>
          <p:cNvPr id="33" name="Text Placeholder 7">
            <a:extLst>
              <a:ext uri="{FF2B5EF4-FFF2-40B4-BE49-F238E27FC236}">
                <a16:creationId xmlns:a16="http://schemas.microsoft.com/office/drawing/2014/main" id="{B49575FE-C1FA-4068-A233-77E5F5A13272}"/>
              </a:ext>
            </a:extLst>
          </p:cNvPr>
          <p:cNvSpPr>
            <a:spLocks noGrp="1"/>
          </p:cNvSpPr>
          <p:nvPr>
            <p:ph type="body" sz="quarter" idx="31" hasCustomPrompt="1"/>
          </p:nvPr>
        </p:nvSpPr>
        <p:spPr>
          <a:xfrm>
            <a:off x="7207080" y="6328653"/>
            <a:ext cx="2116767" cy="251989"/>
          </a:xfrm>
          <a:prstGeom prst="rect">
            <a:avLst/>
          </a:prstGeom>
        </p:spPr>
        <p:txBody>
          <a:bodyPr anchor="ctr" anchorCtr="0">
            <a:noAutofit/>
          </a:bodyPr>
          <a:lstStyle>
            <a:lvl1pPr marL="0" indent="0" algn="ctr">
              <a:buNone/>
              <a:defRPr sz="1547">
                <a:latin typeface="+mj-lt"/>
              </a:defRPr>
            </a:lvl1pPr>
            <a:lvl2pPr marL="504031" indent="0">
              <a:buNone/>
              <a:defRPr sz="1763">
                <a:latin typeface="+mj-lt"/>
              </a:defRPr>
            </a:lvl2pPr>
            <a:lvl3pPr marL="1008063" indent="0">
              <a:buNone/>
              <a:defRPr sz="1763">
                <a:latin typeface="+mj-lt"/>
              </a:defRPr>
            </a:lvl3pPr>
            <a:lvl4pPr marL="1512094" indent="0">
              <a:buNone/>
              <a:defRPr sz="1763">
                <a:latin typeface="+mj-lt"/>
              </a:defRPr>
            </a:lvl4pPr>
            <a:lvl5pPr marL="2016127" indent="0">
              <a:buNone/>
              <a:defRPr sz="1763">
                <a:latin typeface="+mj-lt"/>
              </a:defRPr>
            </a:lvl5pPr>
          </a:lstStyle>
          <a:p>
            <a:pPr lvl="0"/>
            <a:r>
              <a:rPr lang="en-US"/>
              <a:t>Click to add text</a:t>
            </a:r>
          </a:p>
        </p:txBody>
      </p:sp>
      <p:sp>
        <p:nvSpPr>
          <p:cNvPr id="34" name="Text Placeholder 7">
            <a:extLst>
              <a:ext uri="{FF2B5EF4-FFF2-40B4-BE49-F238E27FC236}">
                <a16:creationId xmlns:a16="http://schemas.microsoft.com/office/drawing/2014/main" id="{166F420D-1588-4FD4-97C7-F6BE4424A8A3}"/>
              </a:ext>
            </a:extLst>
          </p:cNvPr>
          <p:cNvSpPr>
            <a:spLocks noGrp="1"/>
          </p:cNvSpPr>
          <p:nvPr>
            <p:ph type="body" sz="quarter" idx="32" hasCustomPrompt="1"/>
          </p:nvPr>
        </p:nvSpPr>
        <p:spPr>
          <a:xfrm>
            <a:off x="7207080" y="6591833"/>
            <a:ext cx="2116767" cy="359933"/>
          </a:xfrm>
          <a:prstGeom prst="rect">
            <a:avLst/>
          </a:prstGeom>
        </p:spPr>
        <p:txBody>
          <a:bodyPr>
            <a:normAutofit/>
          </a:bodyPr>
          <a:lstStyle>
            <a:lvl1pPr marL="0" indent="0" algn="ctr">
              <a:lnSpc>
                <a:spcPts val="1763"/>
              </a:lnSpc>
              <a:spcBef>
                <a:spcPts val="0"/>
              </a:spcBef>
              <a:buNone/>
              <a:defRPr sz="1328">
                <a:latin typeface="+mn-lt"/>
              </a:defRPr>
            </a:lvl1pPr>
            <a:lvl2pPr marL="504031" indent="0">
              <a:buNone/>
              <a:defRPr sz="1763">
                <a:latin typeface="+mj-lt"/>
              </a:defRPr>
            </a:lvl2pPr>
            <a:lvl3pPr marL="1008063" indent="0">
              <a:buNone/>
              <a:defRPr sz="1763">
                <a:latin typeface="+mj-lt"/>
              </a:defRPr>
            </a:lvl3pPr>
            <a:lvl4pPr marL="1512094" indent="0">
              <a:buNone/>
              <a:defRPr sz="1763">
                <a:latin typeface="+mj-lt"/>
              </a:defRPr>
            </a:lvl4pPr>
            <a:lvl5pPr marL="2016127" indent="0">
              <a:buNone/>
              <a:defRPr sz="1763">
                <a:latin typeface="+mj-lt"/>
              </a:defRPr>
            </a:lvl5pPr>
          </a:lstStyle>
          <a:p>
            <a:pPr lvl="0"/>
            <a:r>
              <a:rPr lang="en-US"/>
              <a:t>Click to add text</a:t>
            </a:r>
          </a:p>
        </p:txBody>
      </p:sp>
      <p:sp>
        <p:nvSpPr>
          <p:cNvPr id="60" name="Rectangle 59">
            <a:extLst>
              <a:ext uri="{FF2B5EF4-FFF2-40B4-BE49-F238E27FC236}">
                <a16:creationId xmlns:a16="http://schemas.microsoft.com/office/drawing/2014/main" id="{7FA2C836-B950-48A3-94B2-47E0E9F4D843}"/>
              </a:ext>
              <a:ext uri="{C183D7F6-B498-43B3-948B-1728B52AA6E4}">
                <adec:decorative xmlns:adec="http://schemas.microsoft.com/office/drawing/2017/decorative" val="1"/>
              </a:ext>
            </a:extLst>
          </p:cNvPr>
          <p:cNvSpPr/>
          <p:nvPr userDrawn="1"/>
        </p:nvSpPr>
        <p:spPr>
          <a:xfrm>
            <a:off x="10291510" y="4534545"/>
            <a:ext cx="2116767" cy="1713526"/>
          </a:xfrm>
          <a:prstGeom prst="rect">
            <a:avLst/>
          </a:prstGeom>
          <a:noFill/>
          <a:ln w="254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29"/>
          </a:p>
        </p:txBody>
      </p:sp>
      <p:sp>
        <p:nvSpPr>
          <p:cNvPr id="61" name="Picture Placeholder 10">
            <a:extLst>
              <a:ext uri="{FF2B5EF4-FFF2-40B4-BE49-F238E27FC236}">
                <a16:creationId xmlns:a16="http://schemas.microsoft.com/office/drawing/2014/main" id="{D51652FF-DB34-4769-98B0-7BAF1150CDEA}"/>
              </a:ext>
            </a:extLst>
          </p:cNvPr>
          <p:cNvSpPr>
            <a:spLocks noGrp="1"/>
          </p:cNvSpPr>
          <p:nvPr>
            <p:ph type="pic" sz="quarter" idx="39" hasCustomPrompt="1"/>
          </p:nvPr>
        </p:nvSpPr>
        <p:spPr>
          <a:xfrm>
            <a:off x="10417508" y="4660540"/>
            <a:ext cx="1864770" cy="1461537"/>
          </a:xfrm>
          <a:prstGeom prst="rect">
            <a:avLst/>
          </a:prstGeom>
          <a:solidFill>
            <a:schemeClr val="accent6"/>
          </a:solidFill>
        </p:spPr>
        <p:txBody>
          <a:bodyPr tIns="182880">
            <a:normAutofit/>
          </a:bodyPr>
          <a:lstStyle>
            <a:lvl1pPr marL="0" indent="0" algn="ctr">
              <a:buNone/>
              <a:defRPr sz="1328"/>
            </a:lvl1pPr>
          </a:lstStyle>
          <a:p>
            <a:pPr marL="0" marR="0" lvl="0" indent="0" algn="ctr" defTabSz="1008063" rtl="0" eaLnBrk="1" fontAlgn="auto" latinLnBrk="0" hangingPunct="1">
              <a:lnSpc>
                <a:spcPct val="90000"/>
              </a:lnSpc>
              <a:spcBef>
                <a:spcPts val="1102"/>
              </a:spcBef>
              <a:spcAft>
                <a:spcPts val="0"/>
              </a:spcAft>
              <a:buClrTx/>
              <a:buSzTx/>
              <a:buFont typeface="Arial" panose="020B0604020202020204" pitchFamily="34" charset="0"/>
              <a:buNone/>
              <a:tabLst/>
              <a:defRPr/>
            </a:pPr>
            <a:r>
              <a:rPr lang="en-US"/>
              <a:t>Click to add picture</a:t>
            </a:r>
          </a:p>
          <a:p>
            <a:endParaRPr lang="en-US"/>
          </a:p>
        </p:txBody>
      </p:sp>
      <p:sp>
        <p:nvSpPr>
          <p:cNvPr id="37" name="Text Placeholder 7">
            <a:extLst>
              <a:ext uri="{FF2B5EF4-FFF2-40B4-BE49-F238E27FC236}">
                <a16:creationId xmlns:a16="http://schemas.microsoft.com/office/drawing/2014/main" id="{A50D099D-DBBB-4ABF-B900-9B4AF2B814AD}"/>
              </a:ext>
            </a:extLst>
          </p:cNvPr>
          <p:cNvSpPr>
            <a:spLocks noGrp="1"/>
          </p:cNvSpPr>
          <p:nvPr>
            <p:ph type="body" sz="quarter" idx="34" hasCustomPrompt="1"/>
          </p:nvPr>
        </p:nvSpPr>
        <p:spPr>
          <a:xfrm>
            <a:off x="10291510" y="6328653"/>
            <a:ext cx="2116767" cy="251989"/>
          </a:xfrm>
          <a:prstGeom prst="rect">
            <a:avLst/>
          </a:prstGeom>
        </p:spPr>
        <p:txBody>
          <a:bodyPr anchor="ctr" anchorCtr="0">
            <a:noAutofit/>
          </a:bodyPr>
          <a:lstStyle>
            <a:lvl1pPr marL="0" indent="0" algn="ctr">
              <a:buNone/>
              <a:defRPr sz="1547">
                <a:latin typeface="+mj-lt"/>
              </a:defRPr>
            </a:lvl1pPr>
            <a:lvl2pPr marL="504031" indent="0">
              <a:buNone/>
              <a:defRPr sz="1763">
                <a:latin typeface="+mj-lt"/>
              </a:defRPr>
            </a:lvl2pPr>
            <a:lvl3pPr marL="1008063" indent="0">
              <a:buNone/>
              <a:defRPr sz="1763">
                <a:latin typeface="+mj-lt"/>
              </a:defRPr>
            </a:lvl3pPr>
            <a:lvl4pPr marL="1512094" indent="0">
              <a:buNone/>
              <a:defRPr sz="1763">
                <a:latin typeface="+mj-lt"/>
              </a:defRPr>
            </a:lvl4pPr>
            <a:lvl5pPr marL="2016127" indent="0">
              <a:buNone/>
              <a:defRPr sz="1763">
                <a:latin typeface="+mj-lt"/>
              </a:defRPr>
            </a:lvl5pPr>
          </a:lstStyle>
          <a:p>
            <a:pPr lvl="0"/>
            <a:r>
              <a:rPr lang="en-US"/>
              <a:t>Click to add text</a:t>
            </a:r>
          </a:p>
        </p:txBody>
      </p:sp>
      <p:sp>
        <p:nvSpPr>
          <p:cNvPr id="38" name="Text Placeholder 7">
            <a:extLst>
              <a:ext uri="{FF2B5EF4-FFF2-40B4-BE49-F238E27FC236}">
                <a16:creationId xmlns:a16="http://schemas.microsoft.com/office/drawing/2014/main" id="{F4BB94E2-DE8B-4D7C-A9AD-5F1A452B75C8}"/>
              </a:ext>
            </a:extLst>
          </p:cNvPr>
          <p:cNvSpPr>
            <a:spLocks noGrp="1"/>
          </p:cNvSpPr>
          <p:nvPr>
            <p:ph type="body" sz="quarter" idx="35" hasCustomPrompt="1"/>
          </p:nvPr>
        </p:nvSpPr>
        <p:spPr>
          <a:xfrm>
            <a:off x="10291510" y="6591833"/>
            <a:ext cx="2116767" cy="359933"/>
          </a:xfrm>
          <a:prstGeom prst="rect">
            <a:avLst/>
          </a:prstGeom>
        </p:spPr>
        <p:txBody>
          <a:bodyPr>
            <a:normAutofit/>
          </a:bodyPr>
          <a:lstStyle>
            <a:lvl1pPr marL="0" indent="0" algn="ctr">
              <a:lnSpc>
                <a:spcPts val="1763"/>
              </a:lnSpc>
              <a:spcBef>
                <a:spcPts val="0"/>
              </a:spcBef>
              <a:buNone/>
              <a:defRPr sz="1328">
                <a:latin typeface="+mn-lt"/>
              </a:defRPr>
            </a:lvl1pPr>
            <a:lvl2pPr marL="504031" indent="0">
              <a:buNone/>
              <a:defRPr sz="1763">
                <a:latin typeface="+mj-lt"/>
              </a:defRPr>
            </a:lvl2pPr>
            <a:lvl3pPr marL="1008063" indent="0">
              <a:buNone/>
              <a:defRPr sz="1763">
                <a:latin typeface="+mj-lt"/>
              </a:defRPr>
            </a:lvl3pPr>
            <a:lvl4pPr marL="1512094" indent="0">
              <a:buNone/>
              <a:defRPr sz="1763">
                <a:latin typeface="+mj-lt"/>
              </a:defRPr>
            </a:lvl4pPr>
            <a:lvl5pPr marL="2016127" indent="0">
              <a:buNone/>
              <a:defRPr sz="1763">
                <a:latin typeface="+mj-lt"/>
              </a:defRPr>
            </a:lvl5pPr>
          </a:lstStyle>
          <a:p>
            <a:pPr lvl="0"/>
            <a:r>
              <a:rPr lang="en-US"/>
              <a:t>Click to add text</a:t>
            </a:r>
          </a:p>
        </p:txBody>
      </p:sp>
      <p:sp>
        <p:nvSpPr>
          <p:cNvPr id="3" name="Date Placeholder 2">
            <a:extLst>
              <a:ext uri="{FF2B5EF4-FFF2-40B4-BE49-F238E27FC236}">
                <a16:creationId xmlns:a16="http://schemas.microsoft.com/office/drawing/2014/main" id="{9CAF00A3-1058-4FA9-A985-03711701054C}"/>
              </a:ext>
            </a:extLst>
          </p:cNvPr>
          <p:cNvSpPr>
            <a:spLocks noGrp="1"/>
          </p:cNvSpPr>
          <p:nvPr>
            <p:ph type="dt" sz="half" idx="10"/>
          </p:nvPr>
        </p:nvSpPr>
        <p:spPr>
          <a:xfrm>
            <a:off x="923988" y="7006701"/>
            <a:ext cx="3023949" cy="402484"/>
          </a:xfrm>
          <a:prstGeom prst="rect">
            <a:avLst/>
          </a:prstGeom>
        </p:spPr>
        <p:txBody>
          <a:bodyPr/>
          <a:lstStyle/>
          <a:p>
            <a:endParaRPr lang="en-US"/>
          </a:p>
        </p:txBody>
      </p:sp>
      <p:sp>
        <p:nvSpPr>
          <p:cNvPr id="4" name="Footer Placeholder 3">
            <a:extLst>
              <a:ext uri="{FF2B5EF4-FFF2-40B4-BE49-F238E27FC236}">
                <a16:creationId xmlns:a16="http://schemas.microsoft.com/office/drawing/2014/main" id="{A00F60BE-20E1-40C5-85E7-AEAABD0C0DE6}"/>
              </a:ext>
            </a:extLst>
          </p:cNvPr>
          <p:cNvSpPr>
            <a:spLocks noGrp="1"/>
          </p:cNvSpPr>
          <p:nvPr>
            <p:ph type="ftr" sz="quarter" idx="11"/>
          </p:nvPr>
        </p:nvSpPr>
        <p:spPr>
          <a:xfrm>
            <a:off x="4451927" y="7006701"/>
            <a:ext cx="4535925" cy="402484"/>
          </a:xfrm>
          <a:prstGeom prst="rect">
            <a:avLst/>
          </a:prstGeom>
        </p:spPr>
        <p:txBody>
          <a:bodyPr/>
          <a:lstStyle/>
          <a:p>
            <a:endParaRPr lang="en-US"/>
          </a:p>
        </p:txBody>
      </p:sp>
      <p:sp>
        <p:nvSpPr>
          <p:cNvPr id="5" name="Slide Number Placeholder 4">
            <a:extLst>
              <a:ext uri="{FF2B5EF4-FFF2-40B4-BE49-F238E27FC236}">
                <a16:creationId xmlns:a16="http://schemas.microsoft.com/office/drawing/2014/main" id="{05DC939B-94C9-4FF9-B0C8-1149DEFA6CF8}"/>
              </a:ext>
            </a:extLst>
          </p:cNvPr>
          <p:cNvSpPr>
            <a:spLocks noGrp="1"/>
          </p:cNvSpPr>
          <p:nvPr>
            <p:ph type="sldNum" sz="quarter" idx="12"/>
          </p:nvPr>
        </p:nvSpPr>
        <p:spPr>
          <a:xfrm>
            <a:off x="9491845" y="7006701"/>
            <a:ext cx="3023949" cy="402484"/>
          </a:xfrm>
          <a:prstGeom prst="rect">
            <a:avLst/>
          </a:prstGeom>
        </p:spPr>
        <p:txBody>
          <a:bodyPr/>
          <a:lstStyle/>
          <a:p>
            <a:fld id="{B5CEABB6-07DC-46E8-9B57-56EC44A396E5}" type="slidenum">
              <a:rPr lang="en-US" smtClean="0"/>
              <a:t>‹№›</a:t>
            </a:fld>
            <a:endParaRPr lang="en-US"/>
          </a:p>
        </p:txBody>
      </p:sp>
    </p:spTree>
    <p:extLst>
      <p:ext uri="{BB962C8B-B14F-4D97-AF65-F5344CB8AC3E}">
        <p14:creationId xmlns:p14="http://schemas.microsoft.com/office/powerpoint/2010/main" val="135042906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9_Fundin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AE12D1-08AF-45E9-A34A-BDE9E860BAA2}"/>
              </a:ext>
            </a:extLst>
          </p:cNvPr>
          <p:cNvSpPr>
            <a:spLocks noGrp="1"/>
          </p:cNvSpPr>
          <p:nvPr>
            <p:ph type="title" hasCustomPrompt="1"/>
          </p:nvPr>
        </p:nvSpPr>
        <p:spPr>
          <a:xfrm>
            <a:off x="923985" y="402485"/>
            <a:ext cx="11591806" cy="1461189"/>
          </a:xfrm>
          <a:prstGeom prst="rect">
            <a:avLst/>
          </a:prstGeom>
        </p:spPr>
        <p:txBody>
          <a:bodyPr/>
          <a:lstStyle>
            <a:lvl1pPr>
              <a:defRPr cap="all" baseline="0"/>
            </a:lvl1pPr>
          </a:lstStyle>
          <a:p>
            <a:r>
              <a:rPr lang="en-US"/>
              <a:t>Click to add title</a:t>
            </a:r>
          </a:p>
        </p:txBody>
      </p:sp>
      <p:sp>
        <p:nvSpPr>
          <p:cNvPr id="7" name="Content Placeholder 6">
            <a:extLst>
              <a:ext uri="{FF2B5EF4-FFF2-40B4-BE49-F238E27FC236}">
                <a16:creationId xmlns:a16="http://schemas.microsoft.com/office/drawing/2014/main" id="{7604696C-9CC0-44FC-8AC2-8DFE99C4DB68}"/>
              </a:ext>
            </a:extLst>
          </p:cNvPr>
          <p:cNvSpPr>
            <a:spLocks noGrp="1"/>
          </p:cNvSpPr>
          <p:nvPr>
            <p:ph sz="quarter" idx="22" hasCustomPrompt="1"/>
          </p:nvPr>
        </p:nvSpPr>
        <p:spPr>
          <a:xfrm>
            <a:off x="1133982" y="2209932"/>
            <a:ext cx="2015968" cy="1915118"/>
          </a:xfrm>
          <a:prstGeom prst="rect">
            <a:avLst/>
          </a:prstGeom>
        </p:spPr>
        <p:txBody>
          <a:bodyPr>
            <a:normAutofit/>
          </a:bodyPr>
          <a:lstStyle>
            <a:lvl1pPr marL="0" indent="0" algn="ctr">
              <a:buNone/>
              <a:defRPr sz="1328"/>
            </a:lvl1pPr>
            <a:lvl2pPr marL="504031" indent="0">
              <a:buNone/>
              <a:defRPr sz="1763"/>
            </a:lvl2pPr>
            <a:lvl3pPr marL="1008063" indent="0">
              <a:buNone/>
              <a:defRPr sz="1763"/>
            </a:lvl3pPr>
            <a:lvl4pPr marL="1512094" indent="0">
              <a:buNone/>
              <a:defRPr sz="1763"/>
            </a:lvl4pPr>
            <a:lvl5pPr marL="2016127" indent="0">
              <a:buNone/>
              <a:defRPr sz="1763"/>
            </a:lvl5pPr>
          </a:lstStyle>
          <a:p>
            <a:pPr lvl="0"/>
            <a:r>
              <a:rPr lang="en-US"/>
              <a:t>Click to add content</a:t>
            </a:r>
          </a:p>
        </p:txBody>
      </p:sp>
      <p:sp>
        <p:nvSpPr>
          <p:cNvPr id="11" name="Text Placeholder 10">
            <a:extLst>
              <a:ext uri="{FF2B5EF4-FFF2-40B4-BE49-F238E27FC236}">
                <a16:creationId xmlns:a16="http://schemas.microsoft.com/office/drawing/2014/main" id="{C3258F3F-4770-4107-AD7E-356E3E22E2A4}"/>
              </a:ext>
            </a:extLst>
          </p:cNvPr>
          <p:cNvSpPr>
            <a:spLocks noGrp="1"/>
          </p:cNvSpPr>
          <p:nvPr>
            <p:ph type="body" sz="quarter" idx="14" hasCustomPrompt="1"/>
          </p:nvPr>
        </p:nvSpPr>
        <p:spPr>
          <a:xfrm>
            <a:off x="1007984" y="4283818"/>
            <a:ext cx="2267964" cy="604774"/>
          </a:xfrm>
          <a:prstGeom prst="rect">
            <a:avLst/>
          </a:prstGeom>
        </p:spPr>
        <p:txBody>
          <a:bodyPr anchor="ctr" anchorCtr="0">
            <a:noAutofit/>
          </a:bodyPr>
          <a:lstStyle>
            <a:lvl1pPr marL="0" indent="0" algn="ctr">
              <a:buNone/>
              <a:defRPr sz="1989" cap="all" baseline="0">
                <a:solidFill>
                  <a:schemeClr val="bg1">
                    <a:lumMod val="50000"/>
                  </a:schemeClr>
                </a:solidFill>
                <a:latin typeface="+mj-lt"/>
              </a:defRPr>
            </a:lvl1pPr>
            <a:lvl2pPr marL="504031" indent="0">
              <a:buNone/>
              <a:defRPr sz="1989">
                <a:latin typeface="+mj-lt"/>
              </a:defRPr>
            </a:lvl2pPr>
            <a:lvl3pPr marL="1008063" indent="0">
              <a:buNone/>
              <a:defRPr sz="1989">
                <a:latin typeface="+mj-lt"/>
              </a:defRPr>
            </a:lvl3pPr>
            <a:lvl4pPr marL="1512094" indent="0">
              <a:buNone/>
              <a:defRPr sz="1989">
                <a:latin typeface="+mj-lt"/>
              </a:defRPr>
            </a:lvl4pPr>
            <a:lvl5pPr marL="2016127" indent="0">
              <a:buNone/>
              <a:defRPr sz="1989">
                <a:latin typeface="+mj-lt"/>
              </a:defRPr>
            </a:lvl5pPr>
          </a:lstStyle>
          <a:p>
            <a:pPr lvl="0"/>
            <a:r>
              <a:rPr lang="en-US"/>
              <a:t>CLICK TO add SUBTITLE</a:t>
            </a:r>
          </a:p>
        </p:txBody>
      </p:sp>
      <p:sp>
        <p:nvSpPr>
          <p:cNvPr id="19" name="Text Placeholder 12">
            <a:extLst>
              <a:ext uri="{FF2B5EF4-FFF2-40B4-BE49-F238E27FC236}">
                <a16:creationId xmlns:a16="http://schemas.microsoft.com/office/drawing/2014/main" id="{0476FD53-B37B-46FF-B4D7-8219A0920D98}"/>
              </a:ext>
            </a:extLst>
          </p:cNvPr>
          <p:cNvSpPr>
            <a:spLocks noGrp="1"/>
          </p:cNvSpPr>
          <p:nvPr>
            <p:ph type="body" sz="quarter" idx="32" hasCustomPrompt="1"/>
          </p:nvPr>
        </p:nvSpPr>
        <p:spPr>
          <a:xfrm>
            <a:off x="1007984" y="5009547"/>
            <a:ext cx="2267964" cy="302388"/>
          </a:xfrm>
          <a:prstGeom prst="rect">
            <a:avLst/>
          </a:prstGeom>
        </p:spPr>
        <p:txBody>
          <a:bodyPr anchor="t" anchorCtr="0">
            <a:normAutofit/>
          </a:bodyPr>
          <a:lstStyle>
            <a:lvl1pPr marL="0" indent="0" algn="ctr">
              <a:lnSpc>
                <a:spcPts val="2207"/>
              </a:lnSpc>
              <a:spcBef>
                <a:spcPts val="0"/>
              </a:spcBef>
              <a:buNone/>
              <a:defRPr sz="1763">
                <a:solidFill>
                  <a:schemeClr val="tx1"/>
                </a:solidFill>
              </a:defRPr>
            </a:lvl1pPr>
            <a:lvl2pPr marL="504031" indent="0">
              <a:buNone/>
              <a:defRPr sz="1763"/>
            </a:lvl2pPr>
            <a:lvl3pPr marL="1008063" indent="0">
              <a:buNone/>
              <a:defRPr sz="1763"/>
            </a:lvl3pPr>
            <a:lvl4pPr marL="1512094" indent="0">
              <a:buNone/>
              <a:defRPr sz="1763"/>
            </a:lvl4pPr>
            <a:lvl5pPr marL="2016127" indent="0">
              <a:buNone/>
              <a:defRPr sz="1763"/>
            </a:lvl5pPr>
          </a:lstStyle>
          <a:p>
            <a:pPr lvl="0"/>
            <a:r>
              <a:rPr lang="en-US"/>
              <a:t>Click to add text</a:t>
            </a:r>
          </a:p>
        </p:txBody>
      </p:sp>
      <p:sp>
        <p:nvSpPr>
          <p:cNvPr id="12" name="Text Placeholder 12">
            <a:extLst>
              <a:ext uri="{FF2B5EF4-FFF2-40B4-BE49-F238E27FC236}">
                <a16:creationId xmlns:a16="http://schemas.microsoft.com/office/drawing/2014/main" id="{63B409B5-268E-4A89-9A3E-F04112557B6B}"/>
              </a:ext>
            </a:extLst>
          </p:cNvPr>
          <p:cNvSpPr>
            <a:spLocks noGrp="1"/>
          </p:cNvSpPr>
          <p:nvPr>
            <p:ph type="body" sz="quarter" idx="15" hasCustomPrompt="1"/>
          </p:nvPr>
        </p:nvSpPr>
        <p:spPr>
          <a:xfrm>
            <a:off x="1007984" y="5381664"/>
            <a:ext cx="2267964" cy="1303763"/>
          </a:xfrm>
          <a:prstGeom prst="rect">
            <a:avLst/>
          </a:prstGeom>
        </p:spPr>
        <p:txBody>
          <a:bodyPr anchor="t" anchorCtr="0">
            <a:normAutofit/>
          </a:bodyPr>
          <a:lstStyle>
            <a:lvl1pPr marL="0" indent="0" algn="ctr">
              <a:lnSpc>
                <a:spcPts val="2207"/>
              </a:lnSpc>
              <a:spcBef>
                <a:spcPts val="0"/>
              </a:spcBef>
              <a:buNone/>
              <a:defRPr sz="1547">
                <a:solidFill>
                  <a:schemeClr val="tx1"/>
                </a:solidFill>
              </a:defRPr>
            </a:lvl1pPr>
            <a:lvl2pPr marL="504031" indent="0">
              <a:buNone/>
              <a:defRPr sz="1763"/>
            </a:lvl2pPr>
            <a:lvl3pPr marL="1008063" indent="0">
              <a:buNone/>
              <a:defRPr sz="1763"/>
            </a:lvl3pPr>
            <a:lvl4pPr marL="1512094" indent="0">
              <a:buNone/>
              <a:defRPr sz="1763"/>
            </a:lvl4pPr>
            <a:lvl5pPr marL="2016127" indent="0">
              <a:buNone/>
              <a:defRPr sz="1763"/>
            </a:lvl5pPr>
          </a:lstStyle>
          <a:p>
            <a:pPr lvl="0"/>
            <a:r>
              <a:rPr lang="en-US"/>
              <a:t>Click to add text</a:t>
            </a:r>
          </a:p>
        </p:txBody>
      </p:sp>
      <p:sp>
        <p:nvSpPr>
          <p:cNvPr id="8" name="Content Placeholder 6">
            <a:extLst>
              <a:ext uri="{FF2B5EF4-FFF2-40B4-BE49-F238E27FC236}">
                <a16:creationId xmlns:a16="http://schemas.microsoft.com/office/drawing/2014/main" id="{F699FD58-B1B9-484E-809F-8803AF860825}"/>
              </a:ext>
            </a:extLst>
          </p:cNvPr>
          <p:cNvSpPr>
            <a:spLocks noGrp="1"/>
          </p:cNvSpPr>
          <p:nvPr>
            <p:ph sz="quarter" idx="25" hasCustomPrompt="1"/>
          </p:nvPr>
        </p:nvSpPr>
        <p:spPr>
          <a:xfrm>
            <a:off x="4182434" y="2209932"/>
            <a:ext cx="2015968" cy="1915118"/>
          </a:xfrm>
          <a:prstGeom prst="rect">
            <a:avLst/>
          </a:prstGeom>
        </p:spPr>
        <p:txBody>
          <a:bodyPr>
            <a:normAutofit/>
          </a:bodyPr>
          <a:lstStyle>
            <a:lvl1pPr marL="0" indent="0" algn="ctr">
              <a:buNone/>
              <a:defRPr sz="1328"/>
            </a:lvl1pPr>
            <a:lvl2pPr marL="504031" indent="0">
              <a:buNone/>
              <a:defRPr sz="1763"/>
            </a:lvl2pPr>
            <a:lvl3pPr marL="1008063" indent="0">
              <a:buNone/>
              <a:defRPr sz="1763"/>
            </a:lvl3pPr>
            <a:lvl4pPr marL="1512094" indent="0">
              <a:buNone/>
              <a:defRPr sz="1763"/>
            </a:lvl4pPr>
            <a:lvl5pPr marL="2016127" indent="0">
              <a:buNone/>
              <a:defRPr sz="1763"/>
            </a:lvl5pPr>
          </a:lstStyle>
          <a:p>
            <a:pPr lvl="0"/>
            <a:r>
              <a:rPr lang="en-US"/>
              <a:t>Click to add content</a:t>
            </a:r>
          </a:p>
        </p:txBody>
      </p:sp>
      <p:sp>
        <p:nvSpPr>
          <p:cNvPr id="13" name="Text Placeholder 10">
            <a:extLst>
              <a:ext uri="{FF2B5EF4-FFF2-40B4-BE49-F238E27FC236}">
                <a16:creationId xmlns:a16="http://schemas.microsoft.com/office/drawing/2014/main" id="{36721D15-D416-46CA-B345-30DFABF2B1F9}"/>
              </a:ext>
            </a:extLst>
          </p:cNvPr>
          <p:cNvSpPr>
            <a:spLocks noGrp="1"/>
          </p:cNvSpPr>
          <p:nvPr>
            <p:ph type="body" sz="quarter" idx="23" hasCustomPrompt="1"/>
          </p:nvPr>
        </p:nvSpPr>
        <p:spPr>
          <a:xfrm>
            <a:off x="4056436" y="4283818"/>
            <a:ext cx="2267964" cy="604774"/>
          </a:xfrm>
          <a:prstGeom prst="rect">
            <a:avLst/>
          </a:prstGeom>
        </p:spPr>
        <p:txBody>
          <a:bodyPr anchor="ctr" anchorCtr="0">
            <a:noAutofit/>
          </a:bodyPr>
          <a:lstStyle>
            <a:lvl1pPr marL="0" indent="0" algn="ctr">
              <a:buNone/>
              <a:defRPr sz="1989" cap="all" baseline="0">
                <a:solidFill>
                  <a:schemeClr val="bg1">
                    <a:lumMod val="50000"/>
                  </a:schemeClr>
                </a:solidFill>
                <a:latin typeface="+mj-lt"/>
              </a:defRPr>
            </a:lvl1pPr>
            <a:lvl2pPr marL="504031" indent="0">
              <a:buNone/>
              <a:defRPr sz="1989">
                <a:latin typeface="+mj-lt"/>
              </a:defRPr>
            </a:lvl2pPr>
            <a:lvl3pPr marL="1008063" indent="0">
              <a:buNone/>
              <a:defRPr sz="1989">
                <a:latin typeface="+mj-lt"/>
              </a:defRPr>
            </a:lvl3pPr>
            <a:lvl4pPr marL="1512094" indent="0">
              <a:buNone/>
              <a:defRPr sz="1989">
                <a:latin typeface="+mj-lt"/>
              </a:defRPr>
            </a:lvl4pPr>
            <a:lvl5pPr marL="2016127" indent="0">
              <a:buNone/>
              <a:defRPr sz="1989">
                <a:latin typeface="+mj-lt"/>
              </a:defRPr>
            </a:lvl5pPr>
          </a:lstStyle>
          <a:p>
            <a:pPr lvl="0"/>
            <a:r>
              <a:rPr lang="en-US"/>
              <a:t>CLICK TO add SUBTITLE</a:t>
            </a:r>
          </a:p>
        </p:txBody>
      </p:sp>
      <p:sp>
        <p:nvSpPr>
          <p:cNvPr id="20" name="Text Placeholder 12">
            <a:extLst>
              <a:ext uri="{FF2B5EF4-FFF2-40B4-BE49-F238E27FC236}">
                <a16:creationId xmlns:a16="http://schemas.microsoft.com/office/drawing/2014/main" id="{F093374F-C753-4BE8-A368-3181FB016DEE}"/>
              </a:ext>
            </a:extLst>
          </p:cNvPr>
          <p:cNvSpPr>
            <a:spLocks noGrp="1"/>
          </p:cNvSpPr>
          <p:nvPr>
            <p:ph type="body" sz="quarter" idx="33" hasCustomPrompt="1"/>
          </p:nvPr>
        </p:nvSpPr>
        <p:spPr>
          <a:xfrm>
            <a:off x="4056436" y="5009547"/>
            <a:ext cx="2267964" cy="302388"/>
          </a:xfrm>
          <a:prstGeom prst="rect">
            <a:avLst/>
          </a:prstGeom>
        </p:spPr>
        <p:txBody>
          <a:bodyPr anchor="t" anchorCtr="0">
            <a:normAutofit/>
          </a:bodyPr>
          <a:lstStyle>
            <a:lvl1pPr marL="0" indent="0" algn="ctr">
              <a:lnSpc>
                <a:spcPts val="2207"/>
              </a:lnSpc>
              <a:spcBef>
                <a:spcPts val="0"/>
              </a:spcBef>
              <a:buNone/>
              <a:defRPr sz="1763">
                <a:solidFill>
                  <a:schemeClr val="tx1"/>
                </a:solidFill>
              </a:defRPr>
            </a:lvl1pPr>
            <a:lvl2pPr marL="504031" indent="0">
              <a:buNone/>
              <a:defRPr sz="1763"/>
            </a:lvl2pPr>
            <a:lvl3pPr marL="1008063" indent="0">
              <a:buNone/>
              <a:defRPr sz="1763"/>
            </a:lvl3pPr>
            <a:lvl4pPr marL="1512094" indent="0">
              <a:buNone/>
              <a:defRPr sz="1763"/>
            </a:lvl4pPr>
            <a:lvl5pPr marL="2016127" indent="0">
              <a:buNone/>
              <a:defRPr sz="1763"/>
            </a:lvl5pPr>
          </a:lstStyle>
          <a:p>
            <a:pPr lvl="0"/>
            <a:r>
              <a:rPr lang="en-US"/>
              <a:t>Click to add text</a:t>
            </a:r>
          </a:p>
        </p:txBody>
      </p:sp>
      <p:sp>
        <p:nvSpPr>
          <p:cNvPr id="14" name="Text Placeholder 12">
            <a:extLst>
              <a:ext uri="{FF2B5EF4-FFF2-40B4-BE49-F238E27FC236}">
                <a16:creationId xmlns:a16="http://schemas.microsoft.com/office/drawing/2014/main" id="{AC9D2393-012C-4C1F-9650-99EA950E702C}"/>
              </a:ext>
            </a:extLst>
          </p:cNvPr>
          <p:cNvSpPr>
            <a:spLocks noGrp="1"/>
          </p:cNvSpPr>
          <p:nvPr>
            <p:ph type="body" sz="quarter" idx="24" hasCustomPrompt="1"/>
          </p:nvPr>
        </p:nvSpPr>
        <p:spPr>
          <a:xfrm>
            <a:off x="4056436" y="5381664"/>
            <a:ext cx="2267964" cy="1303763"/>
          </a:xfrm>
          <a:prstGeom prst="rect">
            <a:avLst/>
          </a:prstGeom>
        </p:spPr>
        <p:txBody>
          <a:bodyPr anchor="t" anchorCtr="0">
            <a:normAutofit/>
          </a:bodyPr>
          <a:lstStyle>
            <a:lvl1pPr marL="0" indent="0" algn="ctr">
              <a:lnSpc>
                <a:spcPts val="2207"/>
              </a:lnSpc>
              <a:spcBef>
                <a:spcPts val="0"/>
              </a:spcBef>
              <a:buNone/>
              <a:defRPr sz="1547">
                <a:solidFill>
                  <a:schemeClr val="tx1"/>
                </a:solidFill>
              </a:defRPr>
            </a:lvl1pPr>
            <a:lvl2pPr marL="504031" indent="0">
              <a:buNone/>
              <a:defRPr sz="1763"/>
            </a:lvl2pPr>
            <a:lvl3pPr marL="1008063" indent="0">
              <a:buNone/>
              <a:defRPr sz="1763"/>
            </a:lvl3pPr>
            <a:lvl4pPr marL="1512094" indent="0">
              <a:buNone/>
              <a:defRPr sz="1763"/>
            </a:lvl4pPr>
            <a:lvl5pPr marL="2016127" indent="0">
              <a:buNone/>
              <a:defRPr sz="1763"/>
            </a:lvl5pPr>
          </a:lstStyle>
          <a:p>
            <a:pPr lvl="0"/>
            <a:r>
              <a:rPr lang="en-US"/>
              <a:t>Click to add text</a:t>
            </a:r>
          </a:p>
        </p:txBody>
      </p:sp>
      <p:sp>
        <p:nvSpPr>
          <p:cNvPr id="10" name="Content Placeholder 6">
            <a:extLst>
              <a:ext uri="{FF2B5EF4-FFF2-40B4-BE49-F238E27FC236}">
                <a16:creationId xmlns:a16="http://schemas.microsoft.com/office/drawing/2014/main" id="{9AC387C7-76B0-4819-9FC8-B40C19C3B39E}"/>
              </a:ext>
            </a:extLst>
          </p:cNvPr>
          <p:cNvSpPr>
            <a:spLocks noGrp="1"/>
          </p:cNvSpPr>
          <p:nvPr>
            <p:ph sz="quarter" idx="31" hasCustomPrompt="1"/>
          </p:nvPr>
        </p:nvSpPr>
        <p:spPr>
          <a:xfrm>
            <a:off x="7230884" y="2209932"/>
            <a:ext cx="2015968" cy="1915118"/>
          </a:xfrm>
          <a:prstGeom prst="rect">
            <a:avLst/>
          </a:prstGeom>
        </p:spPr>
        <p:txBody>
          <a:bodyPr>
            <a:normAutofit/>
          </a:bodyPr>
          <a:lstStyle>
            <a:lvl1pPr marL="0" indent="0" algn="ctr">
              <a:buNone/>
              <a:defRPr sz="1328"/>
            </a:lvl1pPr>
            <a:lvl2pPr marL="504031" indent="0">
              <a:buNone/>
              <a:defRPr sz="1763"/>
            </a:lvl2pPr>
            <a:lvl3pPr marL="1008063" indent="0">
              <a:buNone/>
              <a:defRPr sz="1763"/>
            </a:lvl3pPr>
            <a:lvl4pPr marL="1512094" indent="0">
              <a:buNone/>
              <a:defRPr sz="1763"/>
            </a:lvl4pPr>
            <a:lvl5pPr marL="2016127" indent="0">
              <a:buNone/>
              <a:defRPr sz="1763"/>
            </a:lvl5pPr>
          </a:lstStyle>
          <a:p>
            <a:pPr lvl="0"/>
            <a:r>
              <a:rPr lang="en-US"/>
              <a:t>Click to add content</a:t>
            </a:r>
          </a:p>
        </p:txBody>
      </p:sp>
      <p:sp>
        <p:nvSpPr>
          <p:cNvPr id="17" name="Text Placeholder 10">
            <a:extLst>
              <a:ext uri="{FF2B5EF4-FFF2-40B4-BE49-F238E27FC236}">
                <a16:creationId xmlns:a16="http://schemas.microsoft.com/office/drawing/2014/main" id="{3E56ACE9-A0FF-4BBA-A8DD-2E6649B83D60}"/>
              </a:ext>
            </a:extLst>
          </p:cNvPr>
          <p:cNvSpPr>
            <a:spLocks noGrp="1"/>
          </p:cNvSpPr>
          <p:nvPr>
            <p:ph type="body" sz="quarter" idx="29" hasCustomPrompt="1"/>
          </p:nvPr>
        </p:nvSpPr>
        <p:spPr>
          <a:xfrm>
            <a:off x="7104886" y="4283818"/>
            <a:ext cx="2267964" cy="604774"/>
          </a:xfrm>
          <a:prstGeom prst="rect">
            <a:avLst/>
          </a:prstGeom>
        </p:spPr>
        <p:txBody>
          <a:bodyPr anchor="ctr" anchorCtr="0">
            <a:noAutofit/>
          </a:bodyPr>
          <a:lstStyle>
            <a:lvl1pPr marL="0" indent="0" algn="ctr">
              <a:buNone/>
              <a:defRPr sz="1989" cap="all" baseline="0">
                <a:solidFill>
                  <a:schemeClr val="bg1">
                    <a:lumMod val="50000"/>
                  </a:schemeClr>
                </a:solidFill>
                <a:latin typeface="+mj-lt"/>
              </a:defRPr>
            </a:lvl1pPr>
            <a:lvl2pPr marL="504031" indent="0">
              <a:buNone/>
              <a:defRPr sz="1989">
                <a:latin typeface="+mj-lt"/>
              </a:defRPr>
            </a:lvl2pPr>
            <a:lvl3pPr marL="1008063" indent="0">
              <a:buNone/>
              <a:defRPr sz="1989">
                <a:latin typeface="+mj-lt"/>
              </a:defRPr>
            </a:lvl3pPr>
            <a:lvl4pPr marL="1512094" indent="0">
              <a:buNone/>
              <a:defRPr sz="1989">
                <a:latin typeface="+mj-lt"/>
              </a:defRPr>
            </a:lvl4pPr>
            <a:lvl5pPr marL="2016127" indent="0">
              <a:buNone/>
              <a:defRPr sz="1989">
                <a:latin typeface="+mj-lt"/>
              </a:defRPr>
            </a:lvl5pPr>
          </a:lstStyle>
          <a:p>
            <a:pPr lvl="0"/>
            <a:r>
              <a:rPr lang="en-US"/>
              <a:t>CLICK TO add SUBTITLE</a:t>
            </a:r>
          </a:p>
        </p:txBody>
      </p:sp>
      <p:sp>
        <p:nvSpPr>
          <p:cNvPr id="22" name="Text Placeholder 12">
            <a:extLst>
              <a:ext uri="{FF2B5EF4-FFF2-40B4-BE49-F238E27FC236}">
                <a16:creationId xmlns:a16="http://schemas.microsoft.com/office/drawing/2014/main" id="{0DCB1896-F06C-4D59-8766-46C845012E66}"/>
              </a:ext>
            </a:extLst>
          </p:cNvPr>
          <p:cNvSpPr>
            <a:spLocks noGrp="1"/>
          </p:cNvSpPr>
          <p:nvPr>
            <p:ph type="body" sz="quarter" idx="35" hasCustomPrompt="1"/>
          </p:nvPr>
        </p:nvSpPr>
        <p:spPr>
          <a:xfrm>
            <a:off x="7104886" y="5009547"/>
            <a:ext cx="2267964" cy="302388"/>
          </a:xfrm>
          <a:prstGeom prst="rect">
            <a:avLst/>
          </a:prstGeom>
        </p:spPr>
        <p:txBody>
          <a:bodyPr anchor="t" anchorCtr="0">
            <a:normAutofit/>
          </a:bodyPr>
          <a:lstStyle>
            <a:lvl1pPr marL="0" indent="0" algn="ctr">
              <a:lnSpc>
                <a:spcPts val="2207"/>
              </a:lnSpc>
              <a:spcBef>
                <a:spcPts val="0"/>
              </a:spcBef>
              <a:buNone/>
              <a:defRPr sz="1763">
                <a:solidFill>
                  <a:schemeClr val="tx1"/>
                </a:solidFill>
              </a:defRPr>
            </a:lvl1pPr>
            <a:lvl2pPr marL="504031" indent="0">
              <a:buNone/>
              <a:defRPr sz="1763"/>
            </a:lvl2pPr>
            <a:lvl3pPr marL="1008063" indent="0">
              <a:buNone/>
              <a:defRPr sz="1763"/>
            </a:lvl3pPr>
            <a:lvl4pPr marL="1512094" indent="0">
              <a:buNone/>
              <a:defRPr sz="1763"/>
            </a:lvl4pPr>
            <a:lvl5pPr marL="2016127" indent="0">
              <a:buNone/>
              <a:defRPr sz="1763"/>
            </a:lvl5pPr>
          </a:lstStyle>
          <a:p>
            <a:pPr lvl="0"/>
            <a:r>
              <a:rPr lang="en-US"/>
              <a:t>Click to add text</a:t>
            </a:r>
          </a:p>
        </p:txBody>
      </p:sp>
      <p:sp>
        <p:nvSpPr>
          <p:cNvPr id="18" name="Text Placeholder 12">
            <a:extLst>
              <a:ext uri="{FF2B5EF4-FFF2-40B4-BE49-F238E27FC236}">
                <a16:creationId xmlns:a16="http://schemas.microsoft.com/office/drawing/2014/main" id="{CCCED8A0-8B7A-4AC1-B50A-DC4933FEBC3F}"/>
              </a:ext>
            </a:extLst>
          </p:cNvPr>
          <p:cNvSpPr>
            <a:spLocks noGrp="1"/>
          </p:cNvSpPr>
          <p:nvPr>
            <p:ph type="body" sz="quarter" idx="30" hasCustomPrompt="1"/>
          </p:nvPr>
        </p:nvSpPr>
        <p:spPr>
          <a:xfrm>
            <a:off x="7104886" y="5381664"/>
            <a:ext cx="2267964" cy="1303763"/>
          </a:xfrm>
          <a:prstGeom prst="rect">
            <a:avLst/>
          </a:prstGeom>
        </p:spPr>
        <p:txBody>
          <a:bodyPr anchor="t" anchorCtr="0">
            <a:normAutofit/>
          </a:bodyPr>
          <a:lstStyle>
            <a:lvl1pPr marL="0" indent="0" algn="ctr">
              <a:lnSpc>
                <a:spcPts val="2207"/>
              </a:lnSpc>
              <a:spcBef>
                <a:spcPts val="0"/>
              </a:spcBef>
              <a:buNone/>
              <a:defRPr sz="1547">
                <a:solidFill>
                  <a:schemeClr val="tx1"/>
                </a:solidFill>
              </a:defRPr>
            </a:lvl1pPr>
            <a:lvl2pPr marL="504031" indent="0">
              <a:buNone/>
              <a:defRPr sz="1763"/>
            </a:lvl2pPr>
            <a:lvl3pPr marL="1008063" indent="0">
              <a:buNone/>
              <a:defRPr sz="1763"/>
            </a:lvl3pPr>
            <a:lvl4pPr marL="1512094" indent="0">
              <a:buNone/>
              <a:defRPr sz="1763"/>
            </a:lvl4pPr>
            <a:lvl5pPr marL="2016127" indent="0">
              <a:buNone/>
              <a:defRPr sz="1763"/>
            </a:lvl5pPr>
          </a:lstStyle>
          <a:p>
            <a:pPr lvl="0"/>
            <a:r>
              <a:rPr lang="en-US"/>
              <a:t>Click to add text</a:t>
            </a:r>
          </a:p>
        </p:txBody>
      </p:sp>
      <p:sp>
        <p:nvSpPr>
          <p:cNvPr id="9" name="Content Placeholder 6">
            <a:extLst>
              <a:ext uri="{FF2B5EF4-FFF2-40B4-BE49-F238E27FC236}">
                <a16:creationId xmlns:a16="http://schemas.microsoft.com/office/drawing/2014/main" id="{75FD3887-0B8F-4A14-87BF-BBB6BBD72F4D}"/>
              </a:ext>
            </a:extLst>
          </p:cNvPr>
          <p:cNvSpPr>
            <a:spLocks noGrp="1"/>
          </p:cNvSpPr>
          <p:nvPr>
            <p:ph sz="quarter" idx="28" hasCustomPrompt="1"/>
          </p:nvPr>
        </p:nvSpPr>
        <p:spPr>
          <a:xfrm>
            <a:off x="10279333" y="2209932"/>
            <a:ext cx="2015968" cy="1915118"/>
          </a:xfrm>
          <a:prstGeom prst="rect">
            <a:avLst/>
          </a:prstGeom>
        </p:spPr>
        <p:txBody>
          <a:bodyPr>
            <a:normAutofit/>
          </a:bodyPr>
          <a:lstStyle>
            <a:lvl1pPr marL="0" indent="0" algn="ctr">
              <a:buNone/>
              <a:defRPr sz="1328"/>
            </a:lvl1pPr>
            <a:lvl2pPr marL="504031" indent="0">
              <a:buNone/>
              <a:defRPr sz="1763"/>
            </a:lvl2pPr>
            <a:lvl3pPr marL="1008063" indent="0">
              <a:buNone/>
              <a:defRPr sz="1763"/>
            </a:lvl3pPr>
            <a:lvl4pPr marL="1512094" indent="0">
              <a:buNone/>
              <a:defRPr sz="1763"/>
            </a:lvl4pPr>
            <a:lvl5pPr marL="2016127" indent="0">
              <a:buNone/>
              <a:defRPr sz="1763"/>
            </a:lvl5pPr>
          </a:lstStyle>
          <a:p>
            <a:pPr lvl="0"/>
            <a:r>
              <a:rPr lang="en-US"/>
              <a:t>Click to add content</a:t>
            </a:r>
          </a:p>
        </p:txBody>
      </p:sp>
      <p:sp>
        <p:nvSpPr>
          <p:cNvPr id="15" name="Text Placeholder 10">
            <a:extLst>
              <a:ext uri="{FF2B5EF4-FFF2-40B4-BE49-F238E27FC236}">
                <a16:creationId xmlns:a16="http://schemas.microsoft.com/office/drawing/2014/main" id="{F8DA812D-8076-461A-9F49-953A009E6FE4}"/>
              </a:ext>
            </a:extLst>
          </p:cNvPr>
          <p:cNvSpPr>
            <a:spLocks noGrp="1"/>
          </p:cNvSpPr>
          <p:nvPr>
            <p:ph type="body" sz="quarter" idx="26" hasCustomPrompt="1"/>
          </p:nvPr>
        </p:nvSpPr>
        <p:spPr>
          <a:xfrm>
            <a:off x="10153335" y="4283818"/>
            <a:ext cx="2267964" cy="604774"/>
          </a:xfrm>
          <a:prstGeom prst="rect">
            <a:avLst/>
          </a:prstGeom>
        </p:spPr>
        <p:txBody>
          <a:bodyPr anchor="ctr" anchorCtr="0">
            <a:noAutofit/>
          </a:bodyPr>
          <a:lstStyle>
            <a:lvl1pPr marL="0" indent="0" algn="ctr">
              <a:buNone/>
              <a:defRPr sz="1989" cap="all" baseline="0">
                <a:solidFill>
                  <a:schemeClr val="bg1">
                    <a:lumMod val="50000"/>
                  </a:schemeClr>
                </a:solidFill>
                <a:latin typeface="+mj-lt"/>
              </a:defRPr>
            </a:lvl1pPr>
            <a:lvl2pPr marL="504031" indent="0">
              <a:buNone/>
              <a:defRPr sz="1989">
                <a:latin typeface="+mj-lt"/>
              </a:defRPr>
            </a:lvl2pPr>
            <a:lvl3pPr marL="1008063" indent="0">
              <a:buNone/>
              <a:defRPr sz="1989">
                <a:latin typeface="+mj-lt"/>
              </a:defRPr>
            </a:lvl3pPr>
            <a:lvl4pPr marL="1512094" indent="0">
              <a:buNone/>
              <a:defRPr sz="1989">
                <a:latin typeface="+mj-lt"/>
              </a:defRPr>
            </a:lvl4pPr>
            <a:lvl5pPr marL="2016127" indent="0">
              <a:buNone/>
              <a:defRPr sz="1989">
                <a:latin typeface="+mj-lt"/>
              </a:defRPr>
            </a:lvl5pPr>
          </a:lstStyle>
          <a:p>
            <a:pPr lvl="0"/>
            <a:r>
              <a:rPr lang="en-US"/>
              <a:t>CLICK TO add SUBTITLE</a:t>
            </a:r>
          </a:p>
        </p:txBody>
      </p:sp>
      <p:sp>
        <p:nvSpPr>
          <p:cNvPr id="21" name="Text Placeholder 12">
            <a:extLst>
              <a:ext uri="{FF2B5EF4-FFF2-40B4-BE49-F238E27FC236}">
                <a16:creationId xmlns:a16="http://schemas.microsoft.com/office/drawing/2014/main" id="{BED1A083-6B0C-4F0D-B72D-0033321C8575}"/>
              </a:ext>
            </a:extLst>
          </p:cNvPr>
          <p:cNvSpPr>
            <a:spLocks noGrp="1"/>
          </p:cNvSpPr>
          <p:nvPr>
            <p:ph type="body" sz="quarter" idx="34" hasCustomPrompt="1"/>
          </p:nvPr>
        </p:nvSpPr>
        <p:spPr>
          <a:xfrm>
            <a:off x="10153335" y="5009547"/>
            <a:ext cx="2267964" cy="302388"/>
          </a:xfrm>
          <a:prstGeom prst="rect">
            <a:avLst/>
          </a:prstGeom>
        </p:spPr>
        <p:txBody>
          <a:bodyPr anchor="t" anchorCtr="0">
            <a:normAutofit/>
          </a:bodyPr>
          <a:lstStyle>
            <a:lvl1pPr marL="0" indent="0" algn="ctr">
              <a:lnSpc>
                <a:spcPts val="2207"/>
              </a:lnSpc>
              <a:spcBef>
                <a:spcPts val="0"/>
              </a:spcBef>
              <a:buNone/>
              <a:defRPr sz="1763">
                <a:solidFill>
                  <a:schemeClr val="tx1"/>
                </a:solidFill>
              </a:defRPr>
            </a:lvl1pPr>
            <a:lvl2pPr marL="504031" indent="0">
              <a:buNone/>
              <a:defRPr sz="1763"/>
            </a:lvl2pPr>
            <a:lvl3pPr marL="1008063" indent="0">
              <a:buNone/>
              <a:defRPr sz="1763"/>
            </a:lvl3pPr>
            <a:lvl4pPr marL="1512094" indent="0">
              <a:buNone/>
              <a:defRPr sz="1763"/>
            </a:lvl4pPr>
            <a:lvl5pPr marL="2016127" indent="0">
              <a:buNone/>
              <a:defRPr sz="1763"/>
            </a:lvl5pPr>
          </a:lstStyle>
          <a:p>
            <a:pPr lvl="0"/>
            <a:r>
              <a:rPr lang="en-US"/>
              <a:t>Click to add text</a:t>
            </a:r>
          </a:p>
        </p:txBody>
      </p:sp>
      <p:sp>
        <p:nvSpPr>
          <p:cNvPr id="16" name="Text Placeholder 12">
            <a:extLst>
              <a:ext uri="{FF2B5EF4-FFF2-40B4-BE49-F238E27FC236}">
                <a16:creationId xmlns:a16="http://schemas.microsoft.com/office/drawing/2014/main" id="{8C219C4D-CBC4-4E40-A175-465A78AA608E}"/>
              </a:ext>
            </a:extLst>
          </p:cNvPr>
          <p:cNvSpPr>
            <a:spLocks noGrp="1"/>
          </p:cNvSpPr>
          <p:nvPr>
            <p:ph type="body" sz="quarter" idx="27" hasCustomPrompt="1"/>
          </p:nvPr>
        </p:nvSpPr>
        <p:spPr>
          <a:xfrm>
            <a:off x="10153335" y="5381664"/>
            <a:ext cx="2267964" cy="1303763"/>
          </a:xfrm>
          <a:prstGeom prst="rect">
            <a:avLst/>
          </a:prstGeom>
        </p:spPr>
        <p:txBody>
          <a:bodyPr anchor="t" anchorCtr="0">
            <a:normAutofit/>
          </a:bodyPr>
          <a:lstStyle>
            <a:lvl1pPr marL="0" indent="0" algn="ctr">
              <a:lnSpc>
                <a:spcPts val="2207"/>
              </a:lnSpc>
              <a:spcBef>
                <a:spcPts val="0"/>
              </a:spcBef>
              <a:buNone/>
              <a:defRPr sz="1547">
                <a:solidFill>
                  <a:schemeClr val="tx1"/>
                </a:solidFill>
              </a:defRPr>
            </a:lvl1pPr>
            <a:lvl2pPr marL="504031" indent="0">
              <a:buNone/>
              <a:defRPr sz="1763"/>
            </a:lvl2pPr>
            <a:lvl3pPr marL="1008063" indent="0">
              <a:buNone/>
              <a:defRPr sz="1763"/>
            </a:lvl3pPr>
            <a:lvl4pPr marL="1512094" indent="0">
              <a:buNone/>
              <a:defRPr sz="1763"/>
            </a:lvl4pPr>
            <a:lvl5pPr marL="2016127" indent="0">
              <a:buNone/>
              <a:defRPr sz="1763"/>
            </a:lvl5pPr>
          </a:lstStyle>
          <a:p>
            <a:pPr lvl="0"/>
            <a:r>
              <a:rPr lang="en-US"/>
              <a:t>Click to add text</a:t>
            </a:r>
          </a:p>
        </p:txBody>
      </p:sp>
      <p:sp>
        <p:nvSpPr>
          <p:cNvPr id="4" name="Date Placeholder 3">
            <a:extLst>
              <a:ext uri="{FF2B5EF4-FFF2-40B4-BE49-F238E27FC236}">
                <a16:creationId xmlns:a16="http://schemas.microsoft.com/office/drawing/2014/main" id="{3EDAC16E-5725-4AC1-AB85-871F25D26688}"/>
              </a:ext>
            </a:extLst>
          </p:cNvPr>
          <p:cNvSpPr>
            <a:spLocks noGrp="1"/>
          </p:cNvSpPr>
          <p:nvPr>
            <p:ph type="dt" sz="half" idx="10"/>
          </p:nvPr>
        </p:nvSpPr>
        <p:spPr>
          <a:xfrm>
            <a:off x="923988" y="7006701"/>
            <a:ext cx="3023949" cy="402484"/>
          </a:xfrm>
          <a:prstGeom prst="rect">
            <a:avLst/>
          </a:prstGeom>
        </p:spPr>
        <p:txBody>
          <a:bodyPr/>
          <a:lstStyle/>
          <a:p>
            <a:endParaRPr lang="en-US"/>
          </a:p>
        </p:txBody>
      </p:sp>
      <p:sp>
        <p:nvSpPr>
          <p:cNvPr id="5" name="Footer Placeholder 4">
            <a:extLst>
              <a:ext uri="{FF2B5EF4-FFF2-40B4-BE49-F238E27FC236}">
                <a16:creationId xmlns:a16="http://schemas.microsoft.com/office/drawing/2014/main" id="{FD10B5D8-71E9-48DC-A04C-559359603CB0}"/>
              </a:ext>
            </a:extLst>
          </p:cNvPr>
          <p:cNvSpPr>
            <a:spLocks noGrp="1"/>
          </p:cNvSpPr>
          <p:nvPr>
            <p:ph type="ftr" sz="quarter" idx="11"/>
          </p:nvPr>
        </p:nvSpPr>
        <p:spPr>
          <a:xfrm>
            <a:off x="4451927" y="7006701"/>
            <a:ext cx="4535925" cy="402484"/>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A0FDD81F-9379-48E6-9B14-83486F920A39}"/>
              </a:ext>
            </a:extLst>
          </p:cNvPr>
          <p:cNvSpPr>
            <a:spLocks noGrp="1"/>
          </p:cNvSpPr>
          <p:nvPr>
            <p:ph type="sldNum" sz="quarter" idx="12"/>
          </p:nvPr>
        </p:nvSpPr>
        <p:spPr>
          <a:xfrm>
            <a:off x="9491845" y="7006701"/>
            <a:ext cx="3023949" cy="402484"/>
          </a:xfrm>
          <a:prstGeom prst="rect">
            <a:avLst/>
          </a:prstGeom>
        </p:spPr>
        <p:txBody>
          <a:bodyPr/>
          <a:lstStyle/>
          <a:p>
            <a:fld id="{B5CEABB6-07DC-46E8-9B57-56EC44A396E5}" type="slidenum">
              <a:rPr lang="en-US" smtClean="0"/>
              <a:t>‹№›</a:t>
            </a:fld>
            <a:endParaRPr lang="en-US"/>
          </a:p>
        </p:txBody>
      </p:sp>
    </p:spTree>
    <p:extLst>
      <p:ext uri="{BB962C8B-B14F-4D97-AF65-F5344CB8AC3E}">
        <p14:creationId xmlns:p14="http://schemas.microsoft.com/office/powerpoint/2010/main" val="375500792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4E60EB58-EF7E-435A-8B07-B5BCF3AF119F}"/>
              </a:ext>
            </a:extLst>
          </p:cNvPr>
          <p:cNvSpPr>
            <a:spLocks noGrp="1"/>
          </p:cNvSpPr>
          <p:nvPr>
            <p:ph type="sldNum" sz="quarter" idx="12"/>
          </p:nvPr>
        </p:nvSpPr>
        <p:spPr>
          <a:xfrm>
            <a:off x="9491845" y="7006701"/>
            <a:ext cx="3023949" cy="402484"/>
          </a:xfrm>
          <a:prstGeom prst="rect">
            <a:avLst/>
          </a:prstGeom>
        </p:spPr>
        <p:txBody>
          <a:bodyPr/>
          <a:lstStyle/>
          <a:p>
            <a:fld id="{82EE24B5-652C-4DB5-B7C3-B5BBEC1280B1}" type="slidenum">
              <a:rPr lang="en-US" smtClean="0"/>
              <a:t>‹№›</a:t>
            </a:fld>
            <a:endParaRPr lang="en-US"/>
          </a:p>
        </p:txBody>
      </p:sp>
      <p:sp>
        <p:nvSpPr>
          <p:cNvPr id="2" name="Title 1">
            <a:extLst>
              <a:ext uri="{FF2B5EF4-FFF2-40B4-BE49-F238E27FC236}">
                <a16:creationId xmlns:a16="http://schemas.microsoft.com/office/drawing/2014/main" id="{E7F76098-6FA1-470A-BEF4-E4B0AC75E8FE}"/>
              </a:ext>
            </a:extLst>
          </p:cNvPr>
          <p:cNvSpPr>
            <a:spLocks noGrp="1"/>
          </p:cNvSpPr>
          <p:nvPr>
            <p:ph type="title"/>
          </p:nvPr>
        </p:nvSpPr>
        <p:spPr>
          <a:xfrm>
            <a:off x="923985" y="402485"/>
            <a:ext cx="11591806" cy="1461189"/>
          </a:xfrm>
          <a:prstGeom prst="rect">
            <a:avLst/>
          </a:prstGeom>
        </p:spPr>
        <p:txBody>
          <a:bodyPr/>
          <a:lstStyle/>
          <a:p>
            <a:r>
              <a:rPr lang="en-US"/>
              <a:t>Click to edit Master title style</a:t>
            </a:r>
          </a:p>
        </p:txBody>
      </p:sp>
      <p:sp>
        <p:nvSpPr>
          <p:cNvPr id="5" name="Date Placeholder 4">
            <a:extLst>
              <a:ext uri="{FF2B5EF4-FFF2-40B4-BE49-F238E27FC236}">
                <a16:creationId xmlns:a16="http://schemas.microsoft.com/office/drawing/2014/main" id="{47F57DE0-C032-4FCC-9006-09C2C328A665}"/>
              </a:ext>
            </a:extLst>
          </p:cNvPr>
          <p:cNvSpPr>
            <a:spLocks noGrp="1"/>
          </p:cNvSpPr>
          <p:nvPr>
            <p:ph type="dt" sz="half" idx="10"/>
          </p:nvPr>
        </p:nvSpPr>
        <p:spPr>
          <a:xfrm>
            <a:off x="923988" y="7006701"/>
            <a:ext cx="3023949" cy="402484"/>
          </a:xfrm>
          <a:prstGeom prst="rect">
            <a:avLst/>
          </a:prstGeom>
        </p:spPr>
        <p:txBody>
          <a:bodyPr/>
          <a:lstStyle/>
          <a:p>
            <a:endParaRPr lang="en-US"/>
          </a:p>
        </p:txBody>
      </p:sp>
      <p:sp>
        <p:nvSpPr>
          <p:cNvPr id="6" name="Footer Placeholder 5">
            <a:extLst>
              <a:ext uri="{FF2B5EF4-FFF2-40B4-BE49-F238E27FC236}">
                <a16:creationId xmlns:a16="http://schemas.microsoft.com/office/drawing/2014/main" id="{90C776CB-2819-4488-9012-A6EA22079A47}"/>
              </a:ext>
            </a:extLst>
          </p:cNvPr>
          <p:cNvSpPr>
            <a:spLocks noGrp="1"/>
          </p:cNvSpPr>
          <p:nvPr>
            <p:ph type="ftr" sz="quarter" idx="11"/>
          </p:nvPr>
        </p:nvSpPr>
        <p:spPr>
          <a:xfrm>
            <a:off x="4451927" y="7006701"/>
            <a:ext cx="4535925" cy="402484"/>
          </a:xfrm>
          <a:prstGeom prst="rect">
            <a:avLst/>
          </a:prstGeom>
        </p:spPr>
        <p:txBody>
          <a:bodyPr/>
          <a:lstStyle/>
          <a:p>
            <a:endParaRPr lang="en-US"/>
          </a:p>
        </p:txBody>
      </p:sp>
      <p:sp>
        <p:nvSpPr>
          <p:cNvPr id="12" name="Picture Placeholder 11">
            <a:extLst>
              <a:ext uri="{FF2B5EF4-FFF2-40B4-BE49-F238E27FC236}">
                <a16:creationId xmlns:a16="http://schemas.microsoft.com/office/drawing/2014/main" id="{B15EEB49-54F4-404C-9B31-AD488BFCB2E0}"/>
              </a:ext>
            </a:extLst>
          </p:cNvPr>
          <p:cNvSpPr>
            <a:spLocks noGrp="1"/>
          </p:cNvSpPr>
          <p:nvPr>
            <p:ph type="pic" sz="quarter" idx="14"/>
          </p:nvPr>
        </p:nvSpPr>
        <p:spPr>
          <a:xfrm>
            <a:off x="1953810" y="2446313"/>
            <a:ext cx="2661077" cy="2661006"/>
          </a:xfrm>
          <a:prstGeom prst="ellipse">
            <a:avLst/>
          </a:prstGeom>
          <a:noFill/>
          <a:ln w="387350">
            <a:noFill/>
          </a:ln>
        </p:spPr>
        <p:txBody>
          <a:bodyPr/>
          <a:lstStyle/>
          <a:p>
            <a:r>
              <a:rPr lang="en-US"/>
              <a:t>Click icon to add picture</a:t>
            </a:r>
          </a:p>
        </p:txBody>
      </p:sp>
      <p:sp>
        <p:nvSpPr>
          <p:cNvPr id="17" name="Picture Placeholder 11">
            <a:extLst>
              <a:ext uri="{FF2B5EF4-FFF2-40B4-BE49-F238E27FC236}">
                <a16:creationId xmlns:a16="http://schemas.microsoft.com/office/drawing/2014/main" id="{6B2DD458-866A-421E-9AD0-B0D9E1195728}"/>
              </a:ext>
            </a:extLst>
          </p:cNvPr>
          <p:cNvSpPr>
            <a:spLocks noGrp="1"/>
          </p:cNvSpPr>
          <p:nvPr>
            <p:ph type="pic" sz="quarter" idx="17"/>
          </p:nvPr>
        </p:nvSpPr>
        <p:spPr>
          <a:xfrm>
            <a:off x="8824897" y="2420779"/>
            <a:ext cx="2661077" cy="2661006"/>
          </a:xfrm>
          <a:prstGeom prst="ellipse">
            <a:avLst/>
          </a:prstGeom>
          <a:noFill/>
          <a:ln w="387350">
            <a:noFill/>
          </a:ln>
        </p:spPr>
        <p:txBody>
          <a:bodyPr/>
          <a:lstStyle/>
          <a:p>
            <a:r>
              <a:rPr lang="en-US"/>
              <a:t>Click icon to add picture</a:t>
            </a:r>
          </a:p>
        </p:txBody>
      </p:sp>
      <p:sp>
        <p:nvSpPr>
          <p:cNvPr id="14" name="Picture Placeholder 11">
            <a:extLst>
              <a:ext uri="{FF2B5EF4-FFF2-40B4-BE49-F238E27FC236}">
                <a16:creationId xmlns:a16="http://schemas.microsoft.com/office/drawing/2014/main" id="{57A4D097-9603-42DC-888D-8039CE6ADC94}"/>
              </a:ext>
            </a:extLst>
          </p:cNvPr>
          <p:cNvSpPr>
            <a:spLocks noGrp="1"/>
          </p:cNvSpPr>
          <p:nvPr>
            <p:ph type="pic" sz="quarter" idx="16"/>
          </p:nvPr>
        </p:nvSpPr>
        <p:spPr>
          <a:xfrm>
            <a:off x="5056720" y="2225759"/>
            <a:ext cx="3326344" cy="3326257"/>
          </a:xfrm>
          <a:prstGeom prst="ellipse">
            <a:avLst/>
          </a:prstGeom>
          <a:noFill/>
        </p:spPr>
        <p:txBody>
          <a:bodyPr/>
          <a:lstStyle/>
          <a:p>
            <a:r>
              <a:rPr lang="en-US"/>
              <a:t>Click icon to add picture</a:t>
            </a:r>
          </a:p>
        </p:txBody>
      </p:sp>
      <p:sp>
        <p:nvSpPr>
          <p:cNvPr id="25" name="Text Placeholder 23">
            <a:extLst>
              <a:ext uri="{FF2B5EF4-FFF2-40B4-BE49-F238E27FC236}">
                <a16:creationId xmlns:a16="http://schemas.microsoft.com/office/drawing/2014/main" id="{B9B9E0BA-35AD-4D69-9A03-35F2509C2C27}"/>
              </a:ext>
            </a:extLst>
          </p:cNvPr>
          <p:cNvSpPr>
            <a:spLocks noGrp="1"/>
          </p:cNvSpPr>
          <p:nvPr>
            <p:ph type="body" sz="quarter" idx="19"/>
          </p:nvPr>
        </p:nvSpPr>
        <p:spPr>
          <a:xfrm>
            <a:off x="1777973" y="5549017"/>
            <a:ext cx="2976702" cy="813714"/>
          </a:xfrm>
          <a:prstGeom prst="rect">
            <a:avLst/>
          </a:prstGeom>
        </p:spPr>
        <p:txBody>
          <a:bodyPr>
            <a:normAutofit/>
          </a:bodyPr>
          <a:lstStyle>
            <a:lvl1pPr marL="0" indent="0" algn="ctr">
              <a:buNone/>
              <a:defRPr sz="2207">
                <a:solidFill>
                  <a:schemeClr val="bg1">
                    <a:lumMod val="95000"/>
                  </a:schemeClr>
                </a:solidFill>
                <a:latin typeface="+mj-lt"/>
              </a:defRPr>
            </a:lvl1pPr>
          </a:lstStyle>
          <a:p>
            <a:pPr lvl="0"/>
            <a:r>
              <a:rPr lang="en-US"/>
              <a:t>Click to edit Master text styles</a:t>
            </a:r>
          </a:p>
        </p:txBody>
      </p:sp>
      <p:sp>
        <p:nvSpPr>
          <p:cNvPr id="26" name="Text Placeholder 23">
            <a:extLst>
              <a:ext uri="{FF2B5EF4-FFF2-40B4-BE49-F238E27FC236}">
                <a16:creationId xmlns:a16="http://schemas.microsoft.com/office/drawing/2014/main" id="{B1CC61B3-695C-423D-8F0B-45674DC932B3}"/>
              </a:ext>
            </a:extLst>
          </p:cNvPr>
          <p:cNvSpPr>
            <a:spLocks noGrp="1"/>
          </p:cNvSpPr>
          <p:nvPr>
            <p:ph type="body" sz="quarter" idx="20"/>
          </p:nvPr>
        </p:nvSpPr>
        <p:spPr>
          <a:xfrm>
            <a:off x="5231541" y="5772497"/>
            <a:ext cx="2976702" cy="813714"/>
          </a:xfrm>
          <a:prstGeom prst="rect">
            <a:avLst/>
          </a:prstGeom>
        </p:spPr>
        <p:txBody>
          <a:bodyPr>
            <a:normAutofit/>
          </a:bodyPr>
          <a:lstStyle>
            <a:lvl1pPr marL="0" indent="0" algn="ctr">
              <a:buNone/>
              <a:defRPr sz="2207">
                <a:solidFill>
                  <a:schemeClr val="bg1">
                    <a:lumMod val="95000"/>
                  </a:schemeClr>
                </a:solidFill>
                <a:latin typeface="+mj-lt"/>
              </a:defRPr>
            </a:lvl1pPr>
          </a:lstStyle>
          <a:p>
            <a:pPr lvl="0"/>
            <a:r>
              <a:rPr lang="en-US"/>
              <a:t>Click to edit Master text styles</a:t>
            </a:r>
          </a:p>
        </p:txBody>
      </p:sp>
      <p:sp>
        <p:nvSpPr>
          <p:cNvPr id="27" name="Text Placeholder 23">
            <a:extLst>
              <a:ext uri="{FF2B5EF4-FFF2-40B4-BE49-F238E27FC236}">
                <a16:creationId xmlns:a16="http://schemas.microsoft.com/office/drawing/2014/main" id="{B870F23E-35A1-4942-A685-641AA883066A}"/>
              </a:ext>
            </a:extLst>
          </p:cNvPr>
          <p:cNvSpPr>
            <a:spLocks noGrp="1"/>
          </p:cNvSpPr>
          <p:nvPr>
            <p:ph type="body" sz="quarter" idx="21"/>
          </p:nvPr>
        </p:nvSpPr>
        <p:spPr>
          <a:xfrm>
            <a:off x="8685107" y="5549017"/>
            <a:ext cx="2976702" cy="813714"/>
          </a:xfrm>
          <a:prstGeom prst="rect">
            <a:avLst/>
          </a:prstGeom>
        </p:spPr>
        <p:txBody>
          <a:bodyPr>
            <a:normAutofit/>
          </a:bodyPr>
          <a:lstStyle>
            <a:lvl1pPr marL="0" indent="0" algn="ctr">
              <a:buNone/>
              <a:defRPr sz="2207">
                <a:solidFill>
                  <a:schemeClr val="bg1">
                    <a:lumMod val="95000"/>
                  </a:schemeClr>
                </a:solidFill>
                <a:latin typeface="+mj-lt"/>
              </a:defRPr>
            </a:lvl1pPr>
          </a:lstStyle>
          <a:p>
            <a:pPr lvl="0"/>
            <a:r>
              <a:rPr lang="en-US"/>
              <a:t>Click to edit Master text styles</a:t>
            </a:r>
          </a:p>
        </p:txBody>
      </p:sp>
      <p:sp>
        <p:nvSpPr>
          <p:cNvPr id="29" name="Picture Placeholder 28">
            <a:extLst>
              <a:ext uri="{FF2B5EF4-FFF2-40B4-BE49-F238E27FC236}">
                <a16:creationId xmlns:a16="http://schemas.microsoft.com/office/drawing/2014/main" id="{863B8202-88BB-4ED4-B936-9D9C0B4C8D17}"/>
              </a:ext>
            </a:extLst>
          </p:cNvPr>
          <p:cNvSpPr>
            <a:spLocks noGrp="1"/>
          </p:cNvSpPr>
          <p:nvPr>
            <p:ph type="pic" sz="quarter" idx="22"/>
          </p:nvPr>
        </p:nvSpPr>
        <p:spPr>
          <a:xfrm>
            <a:off x="0" y="0"/>
            <a:ext cx="13439775" cy="7559675"/>
          </a:xfrm>
          <a:prstGeom prst="rect">
            <a:avLst/>
          </a:prstGeom>
        </p:spPr>
        <p:txBody>
          <a:bodyPr/>
          <a:lstStyle>
            <a:lvl1pPr marL="0" indent="0" algn="ctr">
              <a:buNone/>
              <a:defRPr/>
            </a:lvl1pPr>
          </a:lstStyle>
          <a:p>
            <a:r>
              <a:rPr lang="en-US"/>
              <a:t>Click icon to add picture</a:t>
            </a:r>
          </a:p>
        </p:txBody>
      </p:sp>
    </p:spTree>
    <p:extLst>
      <p:ext uri="{BB962C8B-B14F-4D97-AF65-F5344CB8AC3E}">
        <p14:creationId xmlns:p14="http://schemas.microsoft.com/office/powerpoint/2010/main" val="353791030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able of contents">
  <p:cSld name="Table of contents">
    <p:spTree>
      <p:nvGrpSpPr>
        <p:cNvPr id="1" name="Shape 11"/>
        <p:cNvGrpSpPr/>
        <p:nvPr/>
      </p:nvGrpSpPr>
      <p:grpSpPr>
        <a:xfrm>
          <a:off x="0" y="0"/>
          <a:ext cx="0" cy="0"/>
          <a:chOff x="0" y="0"/>
          <a:chExt cx="0" cy="0"/>
        </a:xfrm>
      </p:grpSpPr>
      <p:sp>
        <p:nvSpPr>
          <p:cNvPr id="12" name="Google Shape;12;p3"/>
          <p:cNvSpPr txBox="1">
            <a:spLocks noGrp="1"/>
          </p:cNvSpPr>
          <p:nvPr>
            <p:ph type="ctrTitle"/>
          </p:nvPr>
        </p:nvSpPr>
        <p:spPr>
          <a:xfrm>
            <a:off x="5032423" y="569490"/>
            <a:ext cx="3309677" cy="849223"/>
          </a:xfrm>
          <a:prstGeom prst="rect">
            <a:avLst/>
          </a:prstGeom>
        </p:spPr>
        <p:txBody>
          <a:bodyPr spcFirstLastPara="1" wrap="square" lIns="91425" tIns="91425" rIns="91425" bIns="91425" anchor="b" anchorCtr="0">
            <a:noAutofit/>
          </a:bodyPr>
          <a:lstStyle>
            <a:lvl1pPr lvl="0" rtl="0">
              <a:spcBef>
                <a:spcPts val="0"/>
              </a:spcBef>
              <a:spcAft>
                <a:spcPts val="0"/>
              </a:spcAft>
              <a:buSzPts val="1200"/>
              <a:buNone/>
              <a:defRPr sz="1764"/>
            </a:lvl1pPr>
            <a:lvl2pPr lvl="1" rtl="0">
              <a:spcBef>
                <a:spcPts val="0"/>
              </a:spcBef>
              <a:spcAft>
                <a:spcPts val="0"/>
              </a:spcAft>
              <a:buSzPts val="1200"/>
              <a:buNone/>
              <a:defRPr sz="1764"/>
            </a:lvl2pPr>
            <a:lvl3pPr lvl="2" rtl="0">
              <a:spcBef>
                <a:spcPts val="0"/>
              </a:spcBef>
              <a:spcAft>
                <a:spcPts val="0"/>
              </a:spcAft>
              <a:buSzPts val="1200"/>
              <a:buNone/>
              <a:defRPr sz="1764"/>
            </a:lvl3pPr>
            <a:lvl4pPr lvl="3" rtl="0">
              <a:spcBef>
                <a:spcPts val="0"/>
              </a:spcBef>
              <a:spcAft>
                <a:spcPts val="0"/>
              </a:spcAft>
              <a:buSzPts val="1200"/>
              <a:buNone/>
              <a:defRPr sz="1764"/>
            </a:lvl4pPr>
            <a:lvl5pPr lvl="4" rtl="0">
              <a:spcBef>
                <a:spcPts val="0"/>
              </a:spcBef>
              <a:spcAft>
                <a:spcPts val="0"/>
              </a:spcAft>
              <a:buSzPts val="1200"/>
              <a:buNone/>
              <a:defRPr sz="1764"/>
            </a:lvl5pPr>
            <a:lvl6pPr lvl="5" rtl="0">
              <a:spcBef>
                <a:spcPts val="0"/>
              </a:spcBef>
              <a:spcAft>
                <a:spcPts val="0"/>
              </a:spcAft>
              <a:buSzPts val="1200"/>
              <a:buNone/>
              <a:defRPr sz="1764"/>
            </a:lvl6pPr>
            <a:lvl7pPr lvl="6" rtl="0">
              <a:spcBef>
                <a:spcPts val="0"/>
              </a:spcBef>
              <a:spcAft>
                <a:spcPts val="0"/>
              </a:spcAft>
              <a:buSzPts val="1200"/>
              <a:buNone/>
              <a:defRPr sz="1764"/>
            </a:lvl7pPr>
            <a:lvl8pPr lvl="7" rtl="0">
              <a:spcBef>
                <a:spcPts val="0"/>
              </a:spcBef>
              <a:spcAft>
                <a:spcPts val="0"/>
              </a:spcAft>
              <a:buSzPts val="1200"/>
              <a:buNone/>
              <a:defRPr sz="1764"/>
            </a:lvl8pPr>
            <a:lvl9pPr lvl="8" rtl="0">
              <a:spcBef>
                <a:spcPts val="0"/>
              </a:spcBef>
              <a:spcAft>
                <a:spcPts val="0"/>
              </a:spcAft>
              <a:buSzPts val="1200"/>
              <a:buNone/>
              <a:defRPr sz="1764"/>
            </a:lvl9pPr>
          </a:lstStyle>
          <a:p>
            <a:endParaRPr/>
          </a:p>
        </p:txBody>
      </p:sp>
      <p:sp>
        <p:nvSpPr>
          <p:cNvPr id="13" name="Google Shape;13;p3"/>
          <p:cNvSpPr txBox="1">
            <a:spLocks noGrp="1"/>
          </p:cNvSpPr>
          <p:nvPr>
            <p:ph type="subTitle" idx="1"/>
          </p:nvPr>
        </p:nvSpPr>
        <p:spPr>
          <a:xfrm>
            <a:off x="5032420" y="1179508"/>
            <a:ext cx="2802158" cy="841287"/>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SzPts val="1000"/>
              <a:buNone/>
              <a:defRPr sz="1470"/>
            </a:lvl1pPr>
            <a:lvl2pPr lvl="1" rtl="0">
              <a:lnSpc>
                <a:spcPct val="100000"/>
              </a:lnSpc>
              <a:spcBef>
                <a:spcPts val="0"/>
              </a:spcBef>
              <a:spcAft>
                <a:spcPts val="0"/>
              </a:spcAft>
              <a:buSzPts val="1000"/>
              <a:buNone/>
              <a:defRPr sz="1470"/>
            </a:lvl2pPr>
            <a:lvl3pPr lvl="2" rtl="0">
              <a:lnSpc>
                <a:spcPct val="100000"/>
              </a:lnSpc>
              <a:spcBef>
                <a:spcPts val="0"/>
              </a:spcBef>
              <a:spcAft>
                <a:spcPts val="0"/>
              </a:spcAft>
              <a:buSzPts val="1000"/>
              <a:buNone/>
              <a:defRPr sz="1470"/>
            </a:lvl3pPr>
            <a:lvl4pPr lvl="3" rtl="0">
              <a:lnSpc>
                <a:spcPct val="100000"/>
              </a:lnSpc>
              <a:spcBef>
                <a:spcPts val="0"/>
              </a:spcBef>
              <a:spcAft>
                <a:spcPts val="0"/>
              </a:spcAft>
              <a:buSzPts val="1000"/>
              <a:buNone/>
              <a:defRPr sz="1470"/>
            </a:lvl4pPr>
            <a:lvl5pPr lvl="4" rtl="0">
              <a:lnSpc>
                <a:spcPct val="100000"/>
              </a:lnSpc>
              <a:spcBef>
                <a:spcPts val="0"/>
              </a:spcBef>
              <a:spcAft>
                <a:spcPts val="0"/>
              </a:spcAft>
              <a:buSzPts val="1000"/>
              <a:buNone/>
              <a:defRPr sz="1470"/>
            </a:lvl5pPr>
            <a:lvl6pPr lvl="5" rtl="0">
              <a:lnSpc>
                <a:spcPct val="100000"/>
              </a:lnSpc>
              <a:spcBef>
                <a:spcPts val="0"/>
              </a:spcBef>
              <a:spcAft>
                <a:spcPts val="0"/>
              </a:spcAft>
              <a:buSzPts val="1000"/>
              <a:buNone/>
              <a:defRPr sz="1470"/>
            </a:lvl6pPr>
            <a:lvl7pPr lvl="6" rtl="0">
              <a:lnSpc>
                <a:spcPct val="100000"/>
              </a:lnSpc>
              <a:spcBef>
                <a:spcPts val="0"/>
              </a:spcBef>
              <a:spcAft>
                <a:spcPts val="0"/>
              </a:spcAft>
              <a:buSzPts val="1000"/>
              <a:buNone/>
              <a:defRPr sz="1470"/>
            </a:lvl7pPr>
            <a:lvl8pPr lvl="7" rtl="0">
              <a:lnSpc>
                <a:spcPct val="100000"/>
              </a:lnSpc>
              <a:spcBef>
                <a:spcPts val="0"/>
              </a:spcBef>
              <a:spcAft>
                <a:spcPts val="0"/>
              </a:spcAft>
              <a:buSzPts val="1000"/>
              <a:buNone/>
              <a:defRPr sz="1470"/>
            </a:lvl8pPr>
            <a:lvl9pPr lvl="8" rtl="0">
              <a:lnSpc>
                <a:spcPct val="100000"/>
              </a:lnSpc>
              <a:spcBef>
                <a:spcPts val="0"/>
              </a:spcBef>
              <a:spcAft>
                <a:spcPts val="0"/>
              </a:spcAft>
              <a:buSzPts val="1000"/>
              <a:buNone/>
              <a:defRPr sz="1470"/>
            </a:lvl9pPr>
          </a:lstStyle>
          <a:p>
            <a:endParaRPr/>
          </a:p>
        </p:txBody>
      </p:sp>
      <p:sp>
        <p:nvSpPr>
          <p:cNvPr id="14" name="Google Shape;14;p3"/>
          <p:cNvSpPr txBox="1">
            <a:spLocks noGrp="1"/>
          </p:cNvSpPr>
          <p:nvPr>
            <p:ph type="title" idx="2" hasCustomPrompt="1"/>
          </p:nvPr>
        </p:nvSpPr>
        <p:spPr>
          <a:xfrm>
            <a:off x="2973399" y="961385"/>
            <a:ext cx="2556115" cy="849223"/>
          </a:xfrm>
          <a:prstGeom prst="rect">
            <a:avLst/>
          </a:prstGeom>
        </p:spPr>
        <p:txBody>
          <a:bodyPr spcFirstLastPara="1" wrap="square" lIns="91425" tIns="91425" rIns="91425" bIns="91425" anchor="ctr" anchorCtr="0">
            <a:noAutofit/>
          </a:bodyPr>
          <a:lstStyle>
            <a:lvl1pPr lvl="0" rtl="0">
              <a:spcBef>
                <a:spcPts val="0"/>
              </a:spcBef>
              <a:spcAft>
                <a:spcPts val="0"/>
              </a:spcAft>
              <a:buSzPts val="4800"/>
              <a:buNone/>
              <a:defRPr sz="7055"/>
            </a:lvl1pPr>
            <a:lvl2pPr lvl="1" rtl="0">
              <a:spcBef>
                <a:spcPts val="0"/>
              </a:spcBef>
              <a:spcAft>
                <a:spcPts val="0"/>
              </a:spcAft>
              <a:buSzPts val="4800"/>
              <a:buFont typeface="Fira Sans Extra Condensed Medium"/>
              <a:buNone/>
              <a:defRPr sz="7055">
                <a:latin typeface="Fira Sans Extra Condensed Medium"/>
                <a:ea typeface="Fira Sans Extra Condensed Medium"/>
                <a:cs typeface="Fira Sans Extra Condensed Medium"/>
                <a:sym typeface="Fira Sans Extra Condensed Medium"/>
              </a:defRPr>
            </a:lvl2pPr>
            <a:lvl3pPr lvl="2" rtl="0">
              <a:spcBef>
                <a:spcPts val="0"/>
              </a:spcBef>
              <a:spcAft>
                <a:spcPts val="0"/>
              </a:spcAft>
              <a:buSzPts val="4800"/>
              <a:buFont typeface="Fira Sans Extra Condensed Medium"/>
              <a:buNone/>
              <a:defRPr sz="7055">
                <a:latin typeface="Fira Sans Extra Condensed Medium"/>
                <a:ea typeface="Fira Sans Extra Condensed Medium"/>
                <a:cs typeface="Fira Sans Extra Condensed Medium"/>
                <a:sym typeface="Fira Sans Extra Condensed Medium"/>
              </a:defRPr>
            </a:lvl3pPr>
            <a:lvl4pPr lvl="3" rtl="0">
              <a:spcBef>
                <a:spcPts val="0"/>
              </a:spcBef>
              <a:spcAft>
                <a:spcPts val="0"/>
              </a:spcAft>
              <a:buSzPts val="4800"/>
              <a:buFont typeface="Fira Sans Extra Condensed Medium"/>
              <a:buNone/>
              <a:defRPr sz="7055">
                <a:latin typeface="Fira Sans Extra Condensed Medium"/>
                <a:ea typeface="Fira Sans Extra Condensed Medium"/>
                <a:cs typeface="Fira Sans Extra Condensed Medium"/>
                <a:sym typeface="Fira Sans Extra Condensed Medium"/>
              </a:defRPr>
            </a:lvl4pPr>
            <a:lvl5pPr lvl="4" rtl="0">
              <a:spcBef>
                <a:spcPts val="0"/>
              </a:spcBef>
              <a:spcAft>
                <a:spcPts val="0"/>
              </a:spcAft>
              <a:buSzPts val="4800"/>
              <a:buFont typeface="Fira Sans Extra Condensed Medium"/>
              <a:buNone/>
              <a:defRPr sz="7055">
                <a:latin typeface="Fira Sans Extra Condensed Medium"/>
                <a:ea typeface="Fira Sans Extra Condensed Medium"/>
                <a:cs typeface="Fira Sans Extra Condensed Medium"/>
                <a:sym typeface="Fira Sans Extra Condensed Medium"/>
              </a:defRPr>
            </a:lvl5pPr>
            <a:lvl6pPr lvl="5" rtl="0">
              <a:spcBef>
                <a:spcPts val="0"/>
              </a:spcBef>
              <a:spcAft>
                <a:spcPts val="0"/>
              </a:spcAft>
              <a:buSzPts val="4800"/>
              <a:buFont typeface="Fira Sans Extra Condensed Medium"/>
              <a:buNone/>
              <a:defRPr sz="7055">
                <a:latin typeface="Fira Sans Extra Condensed Medium"/>
                <a:ea typeface="Fira Sans Extra Condensed Medium"/>
                <a:cs typeface="Fira Sans Extra Condensed Medium"/>
                <a:sym typeface="Fira Sans Extra Condensed Medium"/>
              </a:defRPr>
            </a:lvl6pPr>
            <a:lvl7pPr lvl="6" rtl="0">
              <a:spcBef>
                <a:spcPts val="0"/>
              </a:spcBef>
              <a:spcAft>
                <a:spcPts val="0"/>
              </a:spcAft>
              <a:buSzPts val="4800"/>
              <a:buFont typeface="Fira Sans Extra Condensed Medium"/>
              <a:buNone/>
              <a:defRPr sz="7055">
                <a:latin typeface="Fira Sans Extra Condensed Medium"/>
                <a:ea typeface="Fira Sans Extra Condensed Medium"/>
                <a:cs typeface="Fira Sans Extra Condensed Medium"/>
                <a:sym typeface="Fira Sans Extra Condensed Medium"/>
              </a:defRPr>
            </a:lvl7pPr>
            <a:lvl8pPr lvl="7" rtl="0">
              <a:spcBef>
                <a:spcPts val="0"/>
              </a:spcBef>
              <a:spcAft>
                <a:spcPts val="0"/>
              </a:spcAft>
              <a:buSzPts val="4800"/>
              <a:buFont typeface="Fira Sans Extra Condensed Medium"/>
              <a:buNone/>
              <a:defRPr sz="7055">
                <a:latin typeface="Fira Sans Extra Condensed Medium"/>
                <a:ea typeface="Fira Sans Extra Condensed Medium"/>
                <a:cs typeface="Fira Sans Extra Condensed Medium"/>
                <a:sym typeface="Fira Sans Extra Condensed Medium"/>
              </a:defRPr>
            </a:lvl8pPr>
            <a:lvl9pPr lvl="8" rtl="0">
              <a:spcBef>
                <a:spcPts val="0"/>
              </a:spcBef>
              <a:spcAft>
                <a:spcPts val="0"/>
              </a:spcAft>
              <a:buSzPts val="4800"/>
              <a:buFont typeface="Fira Sans Extra Condensed Medium"/>
              <a:buNone/>
              <a:defRPr sz="7055">
                <a:latin typeface="Fira Sans Extra Condensed Medium"/>
                <a:ea typeface="Fira Sans Extra Condensed Medium"/>
                <a:cs typeface="Fira Sans Extra Condensed Medium"/>
                <a:sym typeface="Fira Sans Extra Condensed Medium"/>
              </a:defRPr>
            </a:lvl9pPr>
          </a:lstStyle>
          <a:p>
            <a:r>
              <a:t>xx%</a:t>
            </a:r>
          </a:p>
        </p:txBody>
      </p:sp>
      <p:sp>
        <p:nvSpPr>
          <p:cNvPr id="15" name="Google Shape;15;p3"/>
          <p:cNvSpPr txBox="1">
            <a:spLocks noGrp="1"/>
          </p:cNvSpPr>
          <p:nvPr>
            <p:ph type="ctrTitle" idx="3"/>
          </p:nvPr>
        </p:nvSpPr>
        <p:spPr>
          <a:xfrm>
            <a:off x="5034424" y="1799398"/>
            <a:ext cx="3309677" cy="849223"/>
          </a:xfrm>
          <a:prstGeom prst="rect">
            <a:avLst/>
          </a:prstGeom>
        </p:spPr>
        <p:txBody>
          <a:bodyPr spcFirstLastPara="1" wrap="square" lIns="91425" tIns="91425" rIns="91425" bIns="91425" anchor="b" anchorCtr="0">
            <a:noAutofit/>
          </a:bodyPr>
          <a:lstStyle>
            <a:lvl1pPr lvl="0" rtl="0">
              <a:spcBef>
                <a:spcPts val="0"/>
              </a:spcBef>
              <a:spcAft>
                <a:spcPts val="0"/>
              </a:spcAft>
              <a:buSzPts val="1200"/>
              <a:buNone/>
              <a:defRPr sz="1764"/>
            </a:lvl1pPr>
            <a:lvl2pPr lvl="1" rtl="0">
              <a:spcBef>
                <a:spcPts val="0"/>
              </a:spcBef>
              <a:spcAft>
                <a:spcPts val="0"/>
              </a:spcAft>
              <a:buSzPts val="1200"/>
              <a:buNone/>
              <a:defRPr sz="1764"/>
            </a:lvl2pPr>
            <a:lvl3pPr lvl="2" rtl="0">
              <a:spcBef>
                <a:spcPts val="0"/>
              </a:spcBef>
              <a:spcAft>
                <a:spcPts val="0"/>
              </a:spcAft>
              <a:buSzPts val="1200"/>
              <a:buNone/>
              <a:defRPr sz="1764"/>
            </a:lvl3pPr>
            <a:lvl4pPr lvl="3" rtl="0">
              <a:spcBef>
                <a:spcPts val="0"/>
              </a:spcBef>
              <a:spcAft>
                <a:spcPts val="0"/>
              </a:spcAft>
              <a:buSzPts val="1200"/>
              <a:buNone/>
              <a:defRPr sz="1764"/>
            </a:lvl4pPr>
            <a:lvl5pPr lvl="4" rtl="0">
              <a:spcBef>
                <a:spcPts val="0"/>
              </a:spcBef>
              <a:spcAft>
                <a:spcPts val="0"/>
              </a:spcAft>
              <a:buSzPts val="1200"/>
              <a:buNone/>
              <a:defRPr sz="1764"/>
            </a:lvl5pPr>
            <a:lvl6pPr lvl="5" rtl="0">
              <a:spcBef>
                <a:spcPts val="0"/>
              </a:spcBef>
              <a:spcAft>
                <a:spcPts val="0"/>
              </a:spcAft>
              <a:buSzPts val="1200"/>
              <a:buNone/>
              <a:defRPr sz="1764"/>
            </a:lvl6pPr>
            <a:lvl7pPr lvl="6" rtl="0">
              <a:spcBef>
                <a:spcPts val="0"/>
              </a:spcBef>
              <a:spcAft>
                <a:spcPts val="0"/>
              </a:spcAft>
              <a:buSzPts val="1200"/>
              <a:buNone/>
              <a:defRPr sz="1764"/>
            </a:lvl7pPr>
            <a:lvl8pPr lvl="7" rtl="0">
              <a:spcBef>
                <a:spcPts val="0"/>
              </a:spcBef>
              <a:spcAft>
                <a:spcPts val="0"/>
              </a:spcAft>
              <a:buSzPts val="1200"/>
              <a:buNone/>
              <a:defRPr sz="1764"/>
            </a:lvl8pPr>
            <a:lvl9pPr lvl="8" rtl="0">
              <a:spcBef>
                <a:spcPts val="0"/>
              </a:spcBef>
              <a:spcAft>
                <a:spcPts val="0"/>
              </a:spcAft>
              <a:buSzPts val="1200"/>
              <a:buNone/>
              <a:defRPr sz="1764"/>
            </a:lvl9pPr>
          </a:lstStyle>
          <a:p>
            <a:endParaRPr/>
          </a:p>
        </p:txBody>
      </p:sp>
      <p:sp>
        <p:nvSpPr>
          <p:cNvPr id="16" name="Google Shape;16;p3"/>
          <p:cNvSpPr txBox="1">
            <a:spLocks noGrp="1"/>
          </p:cNvSpPr>
          <p:nvPr>
            <p:ph type="subTitle" idx="4"/>
          </p:nvPr>
        </p:nvSpPr>
        <p:spPr>
          <a:xfrm>
            <a:off x="5034417" y="2408718"/>
            <a:ext cx="2905337" cy="841287"/>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SzPts val="1000"/>
              <a:buNone/>
              <a:defRPr sz="1470"/>
            </a:lvl1pPr>
            <a:lvl2pPr lvl="1" rtl="0">
              <a:lnSpc>
                <a:spcPct val="100000"/>
              </a:lnSpc>
              <a:spcBef>
                <a:spcPts val="0"/>
              </a:spcBef>
              <a:spcAft>
                <a:spcPts val="0"/>
              </a:spcAft>
              <a:buSzPts val="1000"/>
              <a:buNone/>
              <a:defRPr sz="1470"/>
            </a:lvl2pPr>
            <a:lvl3pPr lvl="2" rtl="0">
              <a:lnSpc>
                <a:spcPct val="100000"/>
              </a:lnSpc>
              <a:spcBef>
                <a:spcPts val="0"/>
              </a:spcBef>
              <a:spcAft>
                <a:spcPts val="0"/>
              </a:spcAft>
              <a:buSzPts val="1000"/>
              <a:buNone/>
              <a:defRPr sz="1470"/>
            </a:lvl3pPr>
            <a:lvl4pPr lvl="3" rtl="0">
              <a:lnSpc>
                <a:spcPct val="100000"/>
              </a:lnSpc>
              <a:spcBef>
                <a:spcPts val="0"/>
              </a:spcBef>
              <a:spcAft>
                <a:spcPts val="0"/>
              </a:spcAft>
              <a:buSzPts val="1000"/>
              <a:buNone/>
              <a:defRPr sz="1470"/>
            </a:lvl4pPr>
            <a:lvl5pPr lvl="4" rtl="0">
              <a:lnSpc>
                <a:spcPct val="100000"/>
              </a:lnSpc>
              <a:spcBef>
                <a:spcPts val="0"/>
              </a:spcBef>
              <a:spcAft>
                <a:spcPts val="0"/>
              </a:spcAft>
              <a:buSzPts val="1000"/>
              <a:buNone/>
              <a:defRPr sz="1470"/>
            </a:lvl5pPr>
            <a:lvl6pPr lvl="5" rtl="0">
              <a:lnSpc>
                <a:spcPct val="100000"/>
              </a:lnSpc>
              <a:spcBef>
                <a:spcPts val="0"/>
              </a:spcBef>
              <a:spcAft>
                <a:spcPts val="0"/>
              </a:spcAft>
              <a:buSzPts val="1000"/>
              <a:buNone/>
              <a:defRPr sz="1470"/>
            </a:lvl6pPr>
            <a:lvl7pPr lvl="6" rtl="0">
              <a:lnSpc>
                <a:spcPct val="100000"/>
              </a:lnSpc>
              <a:spcBef>
                <a:spcPts val="0"/>
              </a:spcBef>
              <a:spcAft>
                <a:spcPts val="0"/>
              </a:spcAft>
              <a:buSzPts val="1000"/>
              <a:buNone/>
              <a:defRPr sz="1470"/>
            </a:lvl7pPr>
            <a:lvl8pPr lvl="7" rtl="0">
              <a:lnSpc>
                <a:spcPct val="100000"/>
              </a:lnSpc>
              <a:spcBef>
                <a:spcPts val="0"/>
              </a:spcBef>
              <a:spcAft>
                <a:spcPts val="0"/>
              </a:spcAft>
              <a:buSzPts val="1000"/>
              <a:buNone/>
              <a:defRPr sz="1470"/>
            </a:lvl8pPr>
            <a:lvl9pPr lvl="8" rtl="0">
              <a:lnSpc>
                <a:spcPct val="100000"/>
              </a:lnSpc>
              <a:spcBef>
                <a:spcPts val="0"/>
              </a:spcBef>
              <a:spcAft>
                <a:spcPts val="0"/>
              </a:spcAft>
              <a:buSzPts val="1000"/>
              <a:buNone/>
              <a:defRPr sz="1470"/>
            </a:lvl9pPr>
          </a:lstStyle>
          <a:p>
            <a:endParaRPr/>
          </a:p>
        </p:txBody>
      </p:sp>
      <p:sp>
        <p:nvSpPr>
          <p:cNvPr id="17" name="Google Shape;17;p3"/>
          <p:cNvSpPr txBox="1">
            <a:spLocks noGrp="1"/>
          </p:cNvSpPr>
          <p:nvPr>
            <p:ph type="title" idx="5" hasCustomPrompt="1"/>
          </p:nvPr>
        </p:nvSpPr>
        <p:spPr>
          <a:xfrm>
            <a:off x="2973399" y="2188151"/>
            <a:ext cx="2374008" cy="849223"/>
          </a:xfrm>
          <a:prstGeom prst="rect">
            <a:avLst/>
          </a:prstGeom>
        </p:spPr>
        <p:txBody>
          <a:bodyPr spcFirstLastPara="1" wrap="square" lIns="91425" tIns="91425" rIns="91425" bIns="91425" anchor="ctr" anchorCtr="0">
            <a:noAutofit/>
          </a:bodyPr>
          <a:lstStyle>
            <a:lvl1pPr lvl="0" rtl="0">
              <a:spcBef>
                <a:spcPts val="0"/>
              </a:spcBef>
              <a:spcAft>
                <a:spcPts val="0"/>
              </a:spcAft>
              <a:buSzPts val="4800"/>
              <a:buNone/>
              <a:defRPr sz="7055"/>
            </a:lvl1pPr>
            <a:lvl2pPr lvl="1" rtl="0">
              <a:spcBef>
                <a:spcPts val="0"/>
              </a:spcBef>
              <a:spcAft>
                <a:spcPts val="0"/>
              </a:spcAft>
              <a:buSzPts val="4800"/>
              <a:buFont typeface="Fira Sans Extra Condensed Medium"/>
              <a:buNone/>
              <a:defRPr sz="7055">
                <a:latin typeface="Fira Sans Extra Condensed Medium"/>
                <a:ea typeface="Fira Sans Extra Condensed Medium"/>
                <a:cs typeface="Fira Sans Extra Condensed Medium"/>
                <a:sym typeface="Fira Sans Extra Condensed Medium"/>
              </a:defRPr>
            </a:lvl2pPr>
            <a:lvl3pPr lvl="2" rtl="0">
              <a:spcBef>
                <a:spcPts val="0"/>
              </a:spcBef>
              <a:spcAft>
                <a:spcPts val="0"/>
              </a:spcAft>
              <a:buSzPts val="4800"/>
              <a:buFont typeface="Fira Sans Extra Condensed Medium"/>
              <a:buNone/>
              <a:defRPr sz="7055">
                <a:latin typeface="Fira Sans Extra Condensed Medium"/>
                <a:ea typeface="Fira Sans Extra Condensed Medium"/>
                <a:cs typeface="Fira Sans Extra Condensed Medium"/>
                <a:sym typeface="Fira Sans Extra Condensed Medium"/>
              </a:defRPr>
            </a:lvl3pPr>
            <a:lvl4pPr lvl="3" rtl="0">
              <a:spcBef>
                <a:spcPts val="0"/>
              </a:spcBef>
              <a:spcAft>
                <a:spcPts val="0"/>
              </a:spcAft>
              <a:buSzPts val="4800"/>
              <a:buFont typeface="Fira Sans Extra Condensed Medium"/>
              <a:buNone/>
              <a:defRPr sz="7055">
                <a:latin typeface="Fira Sans Extra Condensed Medium"/>
                <a:ea typeface="Fira Sans Extra Condensed Medium"/>
                <a:cs typeface="Fira Sans Extra Condensed Medium"/>
                <a:sym typeface="Fira Sans Extra Condensed Medium"/>
              </a:defRPr>
            </a:lvl4pPr>
            <a:lvl5pPr lvl="4" rtl="0">
              <a:spcBef>
                <a:spcPts val="0"/>
              </a:spcBef>
              <a:spcAft>
                <a:spcPts val="0"/>
              </a:spcAft>
              <a:buSzPts val="4800"/>
              <a:buFont typeface="Fira Sans Extra Condensed Medium"/>
              <a:buNone/>
              <a:defRPr sz="7055">
                <a:latin typeface="Fira Sans Extra Condensed Medium"/>
                <a:ea typeface="Fira Sans Extra Condensed Medium"/>
                <a:cs typeface="Fira Sans Extra Condensed Medium"/>
                <a:sym typeface="Fira Sans Extra Condensed Medium"/>
              </a:defRPr>
            </a:lvl5pPr>
            <a:lvl6pPr lvl="5" rtl="0">
              <a:spcBef>
                <a:spcPts val="0"/>
              </a:spcBef>
              <a:spcAft>
                <a:spcPts val="0"/>
              </a:spcAft>
              <a:buSzPts val="4800"/>
              <a:buFont typeface="Fira Sans Extra Condensed Medium"/>
              <a:buNone/>
              <a:defRPr sz="7055">
                <a:latin typeface="Fira Sans Extra Condensed Medium"/>
                <a:ea typeface="Fira Sans Extra Condensed Medium"/>
                <a:cs typeface="Fira Sans Extra Condensed Medium"/>
                <a:sym typeface="Fira Sans Extra Condensed Medium"/>
              </a:defRPr>
            </a:lvl6pPr>
            <a:lvl7pPr lvl="6" rtl="0">
              <a:spcBef>
                <a:spcPts val="0"/>
              </a:spcBef>
              <a:spcAft>
                <a:spcPts val="0"/>
              </a:spcAft>
              <a:buSzPts val="4800"/>
              <a:buFont typeface="Fira Sans Extra Condensed Medium"/>
              <a:buNone/>
              <a:defRPr sz="7055">
                <a:latin typeface="Fira Sans Extra Condensed Medium"/>
                <a:ea typeface="Fira Sans Extra Condensed Medium"/>
                <a:cs typeface="Fira Sans Extra Condensed Medium"/>
                <a:sym typeface="Fira Sans Extra Condensed Medium"/>
              </a:defRPr>
            </a:lvl7pPr>
            <a:lvl8pPr lvl="7" rtl="0">
              <a:spcBef>
                <a:spcPts val="0"/>
              </a:spcBef>
              <a:spcAft>
                <a:spcPts val="0"/>
              </a:spcAft>
              <a:buSzPts val="4800"/>
              <a:buFont typeface="Fira Sans Extra Condensed Medium"/>
              <a:buNone/>
              <a:defRPr sz="7055">
                <a:latin typeface="Fira Sans Extra Condensed Medium"/>
                <a:ea typeface="Fira Sans Extra Condensed Medium"/>
                <a:cs typeface="Fira Sans Extra Condensed Medium"/>
                <a:sym typeface="Fira Sans Extra Condensed Medium"/>
              </a:defRPr>
            </a:lvl8pPr>
            <a:lvl9pPr lvl="8" rtl="0">
              <a:spcBef>
                <a:spcPts val="0"/>
              </a:spcBef>
              <a:spcAft>
                <a:spcPts val="0"/>
              </a:spcAft>
              <a:buSzPts val="4800"/>
              <a:buFont typeface="Fira Sans Extra Condensed Medium"/>
              <a:buNone/>
              <a:defRPr sz="7055">
                <a:latin typeface="Fira Sans Extra Condensed Medium"/>
                <a:ea typeface="Fira Sans Extra Condensed Medium"/>
                <a:cs typeface="Fira Sans Extra Condensed Medium"/>
                <a:sym typeface="Fira Sans Extra Condensed Medium"/>
              </a:defRPr>
            </a:lvl9pPr>
          </a:lstStyle>
          <a:p>
            <a:r>
              <a:t>xx%</a:t>
            </a:r>
          </a:p>
        </p:txBody>
      </p:sp>
      <p:sp>
        <p:nvSpPr>
          <p:cNvPr id="18" name="Google Shape;18;p3"/>
          <p:cNvSpPr txBox="1">
            <a:spLocks noGrp="1"/>
          </p:cNvSpPr>
          <p:nvPr>
            <p:ph type="ctrTitle" idx="6"/>
          </p:nvPr>
        </p:nvSpPr>
        <p:spPr>
          <a:xfrm>
            <a:off x="5038444" y="3029305"/>
            <a:ext cx="3309677" cy="849223"/>
          </a:xfrm>
          <a:prstGeom prst="rect">
            <a:avLst/>
          </a:prstGeom>
        </p:spPr>
        <p:txBody>
          <a:bodyPr spcFirstLastPara="1" wrap="square" lIns="91425" tIns="91425" rIns="91425" bIns="91425" anchor="b" anchorCtr="0">
            <a:noAutofit/>
          </a:bodyPr>
          <a:lstStyle>
            <a:lvl1pPr lvl="0" rtl="0">
              <a:spcBef>
                <a:spcPts val="0"/>
              </a:spcBef>
              <a:spcAft>
                <a:spcPts val="0"/>
              </a:spcAft>
              <a:buSzPts val="1200"/>
              <a:buNone/>
              <a:defRPr sz="1764"/>
            </a:lvl1pPr>
            <a:lvl2pPr lvl="1" rtl="0">
              <a:spcBef>
                <a:spcPts val="0"/>
              </a:spcBef>
              <a:spcAft>
                <a:spcPts val="0"/>
              </a:spcAft>
              <a:buSzPts val="1200"/>
              <a:buNone/>
              <a:defRPr sz="1764"/>
            </a:lvl2pPr>
            <a:lvl3pPr lvl="2" rtl="0">
              <a:spcBef>
                <a:spcPts val="0"/>
              </a:spcBef>
              <a:spcAft>
                <a:spcPts val="0"/>
              </a:spcAft>
              <a:buSzPts val="1200"/>
              <a:buNone/>
              <a:defRPr sz="1764"/>
            </a:lvl3pPr>
            <a:lvl4pPr lvl="3" rtl="0">
              <a:spcBef>
                <a:spcPts val="0"/>
              </a:spcBef>
              <a:spcAft>
                <a:spcPts val="0"/>
              </a:spcAft>
              <a:buSzPts val="1200"/>
              <a:buNone/>
              <a:defRPr sz="1764"/>
            </a:lvl4pPr>
            <a:lvl5pPr lvl="4" rtl="0">
              <a:spcBef>
                <a:spcPts val="0"/>
              </a:spcBef>
              <a:spcAft>
                <a:spcPts val="0"/>
              </a:spcAft>
              <a:buSzPts val="1200"/>
              <a:buNone/>
              <a:defRPr sz="1764"/>
            </a:lvl5pPr>
            <a:lvl6pPr lvl="5" rtl="0">
              <a:spcBef>
                <a:spcPts val="0"/>
              </a:spcBef>
              <a:spcAft>
                <a:spcPts val="0"/>
              </a:spcAft>
              <a:buSzPts val="1200"/>
              <a:buNone/>
              <a:defRPr sz="1764"/>
            </a:lvl6pPr>
            <a:lvl7pPr lvl="6" rtl="0">
              <a:spcBef>
                <a:spcPts val="0"/>
              </a:spcBef>
              <a:spcAft>
                <a:spcPts val="0"/>
              </a:spcAft>
              <a:buSzPts val="1200"/>
              <a:buNone/>
              <a:defRPr sz="1764"/>
            </a:lvl7pPr>
            <a:lvl8pPr lvl="7" rtl="0">
              <a:spcBef>
                <a:spcPts val="0"/>
              </a:spcBef>
              <a:spcAft>
                <a:spcPts val="0"/>
              </a:spcAft>
              <a:buSzPts val="1200"/>
              <a:buNone/>
              <a:defRPr sz="1764"/>
            </a:lvl8pPr>
            <a:lvl9pPr lvl="8" rtl="0">
              <a:spcBef>
                <a:spcPts val="0"/>
              </a:spcBef>
              <a:spcAft>
                <a:spcPts val="0"/>
              </a:spcAft>
              <a:buSzPts val="1200"/>
              <a:buNone/>
              <a:defRPr sz="1764"/>
            </a:lvl9pPr>
          </a:lstStyle>
          <a:p>
            <a:endParaRPr/>
          </a:p>
        </p:txBody>
      </p:sp>
      <p:sp>
        <p:nvSpPr>
          <p:cNvPr id="19" name="Google Shape;19;p3"/>
          <p:cNvSpPr txBox="1">
            <a:spLocks noGrp="1"/>
          </p:cNvSpPr>
          <p:nvPr>
            <p:ph type="subTitle" idx="7"/>
          </p:nvPr>
        </p:nvSpPr>
        <p:spPr>
          <a:xfrm>
            <a:off x="5038441" y="3637928"/>
            <a:ext cx="2802158" cy="841287"/>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SzPts val="1000"/>
              <a:buNone/>
              <a:defRPr sz="1470"/>
            </a:lvl1pPr>
            <a:lvl2pPr lvl="1" rtl="0">
              <a:lnSpc>
                <a:spcPct val="100000"/>
              </a:lnSpc>
              <a:spcBef>
                <a:spcPts val="0"/>
              </a:spcBef>
              <a:spcAft>
                <a:spcPts val="0"/>
              </a:spcAft>
              <a:buSzPts val="1000"/>
              <a:buNone/>
              <a:defRPr sz="1470"/>
            </a:lvl2pPr>
            <a:lvl3pPr lvl="2" rtl="0">
              <a:lnSpc>
                <a:spcPct val="100000"/>
              </a:lnSpc>
              <a:spcBef>
                <a:spcPts val="0"/>
              </a:spcBef>
              <a:spcAft>
                <a:spcPts val="0"/>
              </a:spcAft>
              <a:buSzPts val="1000"/>
              <a:buNone/>
              <a:defRPr sz="1470"/>
            </a:lvl3pPr>
            <a:lvl4pPr lvl="3" rtl="0">
              <a:lnSpc>
                <a:spcPct val="100000"/>
              </a:lnSpc>
              <a:spcBef>
                <a:spcPts val="0"/>
              </a:spcBef>
              <a:spcAft>
                <a:spcPts val="0"/>
              </a:spcAft>
              <a:buSzPts val="1000"/>
              <a:buNone/>
              <a:defRPr sz="1470"/>
            </a:lvl4pPr>
            <a:lvl5pPr lvl="4" rtl="0">
              <a:lnSpc>
                <a:spcPct val="100000"/>
              </a:lnSpc>
              <a:spcBef>
                <a:spcPts val="0"/>
              </a:spcBef>
              <a:spcAft>
                <a:spcPts val="0"/>
              </a:spcAft>
              <a:buSzPts val="1000"/>
              <a:buNone/>
              <a:defRPr sz="1470"/>
            </a:lvl5pPr>
            <a:lvl6pPr lvl="5" rtl="0">
              <a:lnSpc>
                <a:spcPct val="100000"/>
              </a:lnSpc>
              <a:spcBef>
                <a:spcPts val="0"/>
              </a:spcBef>
              <a:spcAft>
                <a:spcPts val="0"/>
              </a:spcAft>
              <a:buSzPts val="1000"/>
              <a:buNone/>
              <a:defRPr sz="1470"/>
            </a:lvl6pPr>
            <a:lvl7pPr lvl="6" rtl="0">
              <a:lnSpc>
                <a:spcPct val="100000"/>
              </a:lnSpc>
              <a:spcBef>
                <a:spcPts val="0"/>
              </a:spcBef>
              <a:spcAft>
                <a:spcPts val="0"/>
              </a:spcAft>
              <a:buSzPts val="1000"/>
              <a:buNone/>
              <a:defRPr sz="1470"/>
            </a:lvl7pPr>
            <a:lvl8pPr lvl="7" rtl="0">
              <a:lnSpc>
                <a:spcPct val="100000"/>
              </a:lnSpc>
              <a:spcBef>
                <a:spcPts val="0"/>
              </a:spcBef>
              <a:spcAft>
                <a:spcPts val="0"/>
              </a:spcAft>
              <a:buSzPts val="1000"/>
              <a:buNone/>
              <a:defRPr sz="1470"/>
            </a:lvl8pPr>
            <a:lvl9pPr lvl="8" rtl="0">
              <a:lnSpc>
                <a:spcPct val="100000"/>
              </a:lnSpc>
              <a:spcBef>
                <a:spcPts val="0"/>
              </a:spcBef>
              <a:spcAft>
                <a:spcPts val="0"/>
              </a:spcAft>
              <a:buSzPts val="1000"/>
              <a:buNone/>
              <a:defRPr sz="1470"/>
            </a:lvl9pPr>
          </a:lstStyle>
          <a:p>
            <a:endParaRPr/>
          </a:p>
        </p:txBody>
      </p:sp>
      <p:sp>
        <p:nvSpPr>
          <p:cNvPr id="20" name="Google Shape;20;p3"/>
          <p:cNvSpPr txBox="1">
            <a:spLocks noGrp="1"/>
          </p:cNvSpPr>
          <p:nvPr>
            <p:ph type="title" idx="8" hasCustomPrompt="1"/>
          </p:nvPr>
        </p:nvSpPr>
        <p:spPr>
          <a:xfrm>
            <a:off x="2973399" y="3414917"/>
            <a:ext cx="2312717" cy="849223"/>
          </a:xfrm>
          <a:prstGeom prst="rect">
            <a:avLst/>
          </a:prstGeom>
        </p:spPr>
        <p:txBody>
          <a:bodyPr spcFirstLastPara="1" wrap="square" lIns="91425" tIns="91425" rIns="91425" bIns="91425" anchor="ctr" anchorCtr="0">
            <a:noAutofit/>
          </a:bodyPr>
          <a:lstStyle>
            <a:lvl1pPr lvl="0" rtl="0">
              <a:spcBef>
                <a:spcPts val="0"/>
              </a:spcBef>
              <a:spcAft>
                <a:spcPts val="0"/>
              </a:spcAft>
              <a:buSzPts val="4800"/>
              <a:buNone/>
              <a:defRPr sz="7055"/>
            </a:lvl1pPr>
            <a:lvl2pPr lvl="1" rtl="0">
              <a:spcBef>
                <a:spcPts val="0"/>
              </a:spcBef>
              <a:spcAft>
                <a:spcPts val="0"/>
              </a:spcAft>
              <a:buSzPts val="4800"/>
              <a:buFont typeface="Fira Sans Extra Condensed Medium"/>
              <a:buNone/>
              <a:defRPr sz="7055">
                <a:latin typeface="Fira Sans Extra Condensed Medium"/>
                <a:ea typeface="Fira Sans Extra Condensed Medium"/>
                <a:cs typeface="Fira Sans Extra Condensed Medium"/>
                <a:sym typeface="Fira Sans Extra Condensed Medium"/>
              </a:defRPr>
            </a:lvl2pPr>
            <a:lvl3pPr lvl="2" rtl="0">
              <a:spcBef>
                <a:spcPts val="0"/>
              </a:spcBef>
              <a:spcAft>
                <a:spcPts val="0"/>
              </a:spcAft>
              <a:buSzPts val="4800"/>
              <a:buFont typeface="Fira Sans Extra Condensed Medium"/>
              <a:buNone/>
              <a:defRPr sz="7055">
                <a:latin typeface="Fira Sans Extra Condensed Medium"/>
                <a:ea typeface="Fira Sans Extra Condensed Medium"/>
                <a:cs typeface="Fira Sans Extra Condensed Medium"/>
                <a:sym typeface="Fira Sans Extra Condensed Medium"/>
              </a:defRPr>
            </a:lvl3pPr>
            <a:lvl4pPr lvl="3" rtl="0">
              <a:spcBef>
                <a:spcPts val="0"/>
              </a:spcBef>
              <a:spcAft>
                <a:spcPts val="0"/>
              </a:spcAft>
              <a:buSzPts val="4800"/>
              <a:buFont typeface="Fira Sans Extra Condensed Medium"/>
              <a:buNone/>
              <a:defRPr sz="7055">
                <a:latin typeface="Fira Sans Extra Condensed Medium"/>
                <a:ea typeface="Fira Sans Extra Condensed Medium"/>
                <a:cs typeface="Fira Sans Extra Condensed Medium"/>
                <a:sym typeface="Fira Sans Extra Condensed Medium"/>
              </a:defRPr>
            </a:lvl4pPr>
            <a:lvl5pPr lvl="4" rtl="0">
              <a:spcBef>
                <a:spcPts val="0"/>
              </a:spcBef>
              <a:spcAft>
                <a:spcPts val="0"/>
              </a:spcAft>
              <a:buSzPts val="4800"/>
              <a:buFont typeface="Fira Sans Extra Condensed Medium"/>
              <a:buNone/>
              <a:defRPr sz="7055">
                <a:latin typeface="Fira Sans Extra Condensed Medium"/>
                <a:ea typeface="Fira Sans Extra Condensed Medium"/>
                <a:cs typeface="Fira Sans Extra Condensed Medium"/>
                <a:sym typeface="Fira Sans Extra Condensed Medium"/>
              </a:defRPr>
            </a:lvl5pPr>
            <a:lvl6pPr lvl="5" rtl="0">
              <a:spcBef>
                <a:spcPts val="0"/>
              </a:spcBef>
              <a:spcAft>
                <a:spcPts val="0"/>
              </a:spcAft>
              <a:buSzPts val="4800"/>
              <a:buFont typeface="Fira Sans Extra Condensed Medium"/>
              <a:buNone/>
              <a:defRPr sz="7055">
                <a:latin typeface="Fira Sans Extra Condensed Medium"/>
                <a:ea typeface="Fira Sans Extra Condensed Medium"/>
                <a:cs typeface="Fira Sans Extra Condensed Medium"/>
                <a:sym typeface="Fira Sans Extra Condensed Medium"/>
              </a:defRPr>
            </a:lvl6pPr>
            <a:lvl7pPr lvl="6" rtl="0">
              <a:spcBef>
                <a:spcPts val="0"/>
              </a:spcBef>
              <a:spcAft>
                <a:spcPts val="0"/>
              </a:spcAft>
              <a:buSzPts val="4800"/>
              <a:buFont typeface="Fira Sans Extra Condensed Medium"/>
              <a:buNone/>
              <a:defRPr sz="7055">
                <a:latin typeface="Fira Sans Extra Condensed Medium"/>
                <a:ea typeface="Fira Sans Extra Condensed Medium"/>
                <a:cs typeface="Fira Sans Extra Condensed Medium"/>
                <a:sym typeface="Fira Sans Extra Condensed Medium"/>
              </a:defRPr>
            </a:lvl7pPr>
            <a:lvl8pPr lvl="7" rtl="0">
              <a:spcBef>
                <a:spcPts val="0"/>
              </a:spcBef>
              <a:spcAft>
                <a:spcPts val="0"/>
              </a:spcAft>
              <a:buSzPts val="4800"/>
              <a:buFont typeface="Fira Sans Extra Condensed Medium"/>
              <a:buNone/>
              <a:defRPr sz="7055">
                <a:latin typeface="Fira Sans Extra Condensed Medium"/>
                <a:ea typeface="Fira Sans Extra Condensed Medium"/>
                <a:cs typeface="Fira Sans Extra Condensed Medium"/>
                <a:sym typeface="Fira Sans Extra Condensed Medium"/>
              </a:defRPr>
            </a:lvl8pPr>
            <a:lvl9pPr lvl="8" rtl="0">
              <a:spcBef>
                <a:spcPts val="0"/>
              </a:spcBef>
              <a:spcAft>
                <a:spcPts val="0"/>
              </a:spcAft>
              <a:buSzPts val="4800"/>
              <a:buFont typeface="Fira Sans Extra Condensed Medium"/>
              <a:buNone/>
              <a:defRPr sz="7055">
                <a:latin typeface="Fira Sans Extra Condensed Medium"/>
                <a:ea typeface="Fira Sans Extra Condensed Medium"/>
                <a:cs typeface="Fira Sans Extra Condensed Medium"/>
                <a:sym typeface="Fira Sans Extra Condensed Medium"/>
              </a:defRPr>
            </a:lvl9pPr>
          </a:lstStyle>
          <a:p>
            <a:r>
              <a:t>xx%</a:t>
            </a:r>
          </a:p>
        </p:txBody>
      </p:sp>
      <p:sp>
        <p:nvSpPr>
          <p:cNvPr id="21" name="Google Shape;21;p3"/>
          <p:cNvSpPr txBox="1">
            <a:spLocks noGrp="1"/>
          </p:cNvSpPr>
          <p:nvPr>
            <p:ph type="ctrTitle" idx="9"/>
          </p:nvPr>
        </p:nvSpPr>
        <p:spPr>
          <a:xfrm rot="5400000">
            <a:off x="9703075" y="2419601"/>
            <a:ext cx="4281832" cy="716523"/>
          </a:xfrm>
          <a:prstGeom prst="rect">
            <a:avLst/>
          </a:prstGeom>
        </p:spPr>
        <p:txBody>
          <a:bodyPr spcFirstLastPara="1" wrap="square" lIns="91425" tIns="91425" rIns="91425" bIns="91425" anchor="ctr" anchorCtr="0">
            <a:noAutofit/>
          </a:bodyPr>
          <a:lstStyle>
            <a:lvl1pPr lvl="0" rtl="0">
              <a:spcBef>
                <a:spcPts val="0"/>
              </a:spcBef>
              <a:spcAft>
                <a:spcPts val="0"/>
              </a:spcAft>
              <a:buSzPts val="3000"/>
              <a:buNone/>
              <a:defRPr sz="4409"/>
            </a:lvl1pPr>
            <a:lvl2pPr lvl="1" rtl="0">
              <a:spcBef>
                <a:spcPts val="0"/>
              </a:spcBef>
              <a:spcAft>
                <a:spcPts val="0"/>
              </a:spcAft>
              <a:buSzPts val="3000"/>
              <a:buNone/>
              <a:defRPr sz="4409"/>
            </a:lvl2pPr>
            <a:lvl3pPr lvl="2" rtl="0">
              <a:spcBef>
                <a:spcPts val="0"/>
              </a:spcBef>
              <a:spcAft>
                <a:spcPts val="0"/>
              </a:spcAft>
              <a:buSzPts val="3000"/>
              <a:buNone/>
              <a:defRPr sz="4409"/>
            </a:lvl3pPr>
            <a:lvl4pPr lvl="3" rtl="0">
              <a:spcBef>
                <a:spcPts val="0"/>
              </a:spcBef>
              <a:spcAft>
                <a:spcPts val="0"/>
              </a:spcAft>
              <a:buSzPts val="3000"/>
              <a:buNone/>
              <a:defRPr sz="4409"/>
            </a:lvl4pPr>
            <a:lvl5pPr lvl="4" rtl="0">
              <a:spcBef>
                <a:spcPts val="0"/>
              </a:spcBef>
              <a:spcAft>
                <a:spcPts val="0"/>
              </a:spcAft>
              <a:buSzPts val="3000"/>
              <a:buNone/>
              <a:defRPr sz="4409"/>
            </a:lvl5pPr>
            <a:lvl6pPr lvl="5" rtl="0">
              <a:spcBef>
                <a:spcPts val="0"/>
              </a:spcBef>
              <a:spcAft>
                <a:spcPts val="0"/>
              </a:spcAft>
              <a:buSzPts val="3000"/>
              <a:buNone/>
              <a:defRPr sz="4409"/>
            </a:lvl6pPr>
            <a:lvl7pPr lvl="6" rtl="0">
              <a:spcBef>
                <a:spcPts val="0"/>
              </a:spcBef>
              <a:spcAft>
                <a:spcPts val="0"/>
              </a:spcAft>
              <a:buSzPts val="3000"/>
              <a:buNone/>
              <a:defRPr sz="4409"/>
            </a:lvl7pPr>
            <a:lvl8pPr lvl="7" rtl="0">
              <a:spcBef>
                <a:spcPts val="0"/>
              </a:spcBef>
              <a:spcAft>
                <a:spcPts val="0"/>
              </a:spcAft>
              <a:buSzPts val="3000"/>
              <a:buNone/>
              <a:defRPr sz="4409"/>
            </a:lvl8pPr>
            <a:lvl9pPr lvl="8" rtl="0">
              <a:spcBef>
                <a:spcPts val="0"/>
              </a:spcBef>
              <a:spcAft>
                <a:spcPts val="0"/>
              </a:spcAft>
              <a:buSzPts val="3000"/>
              <a:buNone/>
              <a:defRPr sz="4409"/>
            </a:lvl9pPr>
          </a:lstStyle>
          <a:p>
            <a:endParaRPr/>
          </a:p>
        </p:txBody>
      </p:sp>
      <p:sp>
        <p:nvSpPr>
          <p:cNvPr id="22" name="Google Shape;22;p3"/>
          <p:cNvSpPr txBox="1">
            <a:spLocks noGrp="1"/>
          </p:cNvSpPr>
          <p:nvPr>
            <p:ph type="ctrTitle" idx="13"/>
          </p:nvPr>
        </p:nvSpPr>
        <p:spPr>
          <a:xfrm>
            <a:off x="5038444" y="4259214"/>
            <a:ext cx="3309677" cy="849223"/>
          </a:xfrm>
          <a:prstGeom prst="rect">
            <a:avLst/>
          </a:prstGeom>
        </p:spPr>
        <p:txBody>
          <a:bodyPr spcFirstLastPara="1" wrap="square" lIns="91425" tIns="91425" rIns="91425" bIns="91425" anchor="b" anchorCtr="0">
            <a:noAutofit/>
          </a:bodyPr>
          <a:lstStyle>
            <a:lvl1pPr lvl="0" rtl="0">
              <a:spcBef>
                <a:spcPts val="0"/>
              </a:spcBef>
              <a:spcAft>
                <a:spcPts val="0"/>
              </a:spcAft>
              <a:buSzPts val="1200"/>
              <a:buNone/>
              <a:defRPr sz="1764"/>
            </a:lvl1pPr>
            <a:lvl2pPr lvl="1" rtl="0">
              <a:spcBef>
                <a:spcPts val="0"/>
              </a:spcBef>
              <a:spcAft>
                <a:spcPts val="0"/>
              </a:spcAft>
              <a:buSzPts val="1200"/>
              <a:buNone/>
              <a:defRPr sz="1764"/>
            </a:lvl2pPr>
            <a:lvl3pPr lvl="2" rtl="0">
              <a:spcBef>
                <a:spcPts val="0"/>
              </a:spcBef>
              <a:spcAft>
                <a:spcPts val="0"/>
              </a:spcAft>
              <a:buSzPts val="1200"/>
              <a:buNone/>
              <a:defRPr sz="1764"/>
            </a:lvl3pPr>
            <a:lvl4pPr lvl="3" rtl="0">
              <a:spcBef>
                <a:spcPts val="0"/>
              </a:spcBef>
              <a:spcAft>
                <a:spcPts val="0"/>
              </a:spcAft>
              <a:buSzPts val="1200"/>
              <a:buNone/>
              <a:defRPr sz="1764"/>
            </a:lvl4pPr>
            <a:lvl5pPr lvl="4" rtl="0">
              <a:spcBef>
                <a:spcPts val="0"/>
              </a:spcBef>
              <a:spcAft>
                <a:spcPts val="0"/>
              </a:spcAft>
              <a:buSzPts val="1200"/>
              <a:buNone/>
              <a:defRPr sz="1764"/>
            </a:lvl5pPr>
            <a:lvl6pPr lvl="5" rtl="0">
              <a:spcBef>
                <a:spcPts val="0"/>
              </a:spcBef>
              <a:spcAft>
                <a:spcPts val="0"/>
              </a:spcAft>
              <a:buSzPts val="1200"/>
              <a:buNone/>
              <a:defRPr sz="1764"/>
            </a:lvl6pPr>
            <a:lvl7pPr lvl="6" rtl="0">
              <a:spcBef>
                <a:spcPts val="0"/>
              </a:spcBef>
              <a:spcAft>
                <a:spcPts val="0"/>
              </a:spcAft>
              <a:buSzPts val="1200"/>
              <a:buNone/>
              <a:defRPr sz="1764"/>
            </a:lvl7pPr>
            <a:lvl8pPr lvl="7" rtl="0">
              <a:spcBef>
                <a:spcPts val="0"/>
              </a:spcBef>
              <a:spcAft>
                <a:spcPts val="0"/>
              </a:spcAft>
              <a:buSzPts val="1200"/>
              <a:buNone/>
              <a:defRPr sz="1764"/>
            </a:lvl8pPr>
            <a:lvl9pPr lvl="8" rtl="0">
              <a:spcBef>
                <a:spcPts val="0"/>
              </a:spcBef>
              <a:spcAft>
                <a:spcPts val="0"/>
              </a:spcAft>
              <a:buSzPts val="1200"/>
              <a:buNone/>
              <a:defRPr sz="1764"/>
            </a:lvl9pPr>
          </a:lstStyle>
          <a:p>
            <a:endParaRPr/>
          </a:p>
        </p:txBody>
      </p:sp>
      <p:sp>
        <p:nvSpPr>
          <p:cNvPr id="23" name="Google Shape;23;p3"/>
          <p:cNvSpPr txBox="1">
            <a:spLocks noGrp="1"/>
          </p:cNvSpPr>
          <p:nvPr>
            <p:ph type="subTitle" idx="14"/>
          </p:nvPr>
        </p:nvSpPr>
        <p:spPr>
          <a:xfrm>
            <a:off x="5038441" y="4867137"/>
            <a:ext cx="2802158" cy="841287"/>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SzPts val="1000"/>
              <a:buNone/>
              <a:defRPr sz="1470"/>
            </a:lvl1pPr>
            <a:lvl2pPr lvl="1" rtl="0">
              <a:lnSpc>
                <a:spcPct val="100000"/>
              </a:lnSpc>
              <a:spcBef>
                <a:spcPts val="0"/>
              </a:spcBef>
              <a:spcAft>
                <a:spcPts val="0"/>
              </a:spcAft>
              <a:buSzPts val="1000"/>
              <a:buNone/>
              <a:defRPr sz="1470"/>
            </a:lvl2pPr>
            <a:lvl3pPr lvl="2" rtl="0">
              <a:lnSpc>
                <a:spcPct val="100000"/>
              </a:lnSpc>
              <a:spcBef>
                <a:spcPts val="0"/>
              </a:spcBef>
              <a:spcAft>
                <a:spcPts val="0"/>
              </a:spcAft>
              <a:buSzPts val="1000"/>
              <a:buNone/>
              <a:defRPr sz="1470"/>
            </a:lvl3pPr>
            <a:lvl4pPr lvl="3" rtl="0">
              <a:lnSpc>
                <a:spcPct val="100000"/>
              </a:lnSpc>
              <a:spcBef>
                <a:spcPts val="0"/>
              </a:spcBef>
              <a:spcAft>
                <a:spcPts val="0"/>
              </a:spcAft>
              <a:buSzPts val="1000"/>
              <a:buNone/>
              <a:defRPr sz="1470"/>
            </a:lvl4pPr>
            <a:lvl5pPr lvl="4" rtl="0">
              <a:lnSpc>
                <a:spcPct val="100000"/>
              </a:lnSpc>
              <a:spcBef>
                <a:spcPts val="0"/>
              </a:spcBef>
              <a:spcAft>
                <a:spcPts val="0"/>
              </a:spcAft>
              <a:buSzPts val="1000"/>
              <a:buNone/>
              <a:defRPr sz="1470"/>
            </a:lvl5pPr>
            <a:lvl6pPr lvl="5" rtl="0">
              <a:lnSpc>
                <a:spcPct val="100000"/>
              </a:lnSpc>
              <a:spcBef>
                <a:spcPts val="0"/>
              </a:spcBef>
              <a:spcAft>
                <a:spcPts val="0"/>
              </a:spcAft>
              <a:buSzPts val="1000"/>
              <a:buNone/>
              <a:defRPr sz="1470"/>
            </a:lvl6pPr>
            <a:lvl7pPr lvl="6" rtl="0">
              <a:lnSpc>
                <a:spcPct val="100000"/>
              </a:lnSpc>
              <a:spcBef>
                <a:spcPts val="0"/>
              </a:spcBef>
              <a:spcAft>
                <a:spcPts val="0"/>
              </a:spcAft>
              <a:buSzPts val="1000"/>
              <a:buNone/>
              <a:defRPr sz="1470"/>
            </a:lvl7pPr>
            <a:lvl8pPr lvl="7" rtl="0">
              <a:lnSpc>
                <a:spcPct val="100000"/>
              </a:lnSpc>
              <a:spcBef>
                <a:spcPts val="0"/>
              </a:spcBef>
              <a:spcAft>
                <a:spcPts val="0"/>
              </a:spcAft>
              <a:buSzPts val="1000"/>
              <a:buNone/>
              <a:defRPr sz="1470"/>
            </a:lvl8pPr>
            <a:lvl9pPr lvl="8" rtl="0">
              <a:lnSpc>
                <a:spcPct val="100000"/>
              </a:lnSpc>
              <a:spcBef>
                <a:spcPts val="0"/>
              </a:spcBef>
              <a:spcAft>
                <a:spcPts val="0"/>
              </a:spcAft>
              <a:buSzPts val="1000"/>
              <a:buNone/>
              <a:defRPr sz="1470"/>
            </a:lvl9pPr>
          </a:lstStyle>
          <a:p>
            <a:endParaRPr/>
          </a:p>
        </p:txBody>
      </p:sp>
      <p:sp>
        <p:nvSpPr>
          <p:cNvPr id="24" name="Google Shape;24;p3"/>
          <p:cNvSpPr txBox="1">
            <a:spLocks noGrp="1"/>
          </p:cNvSpPr>
          <p:nvPr>
            <p:ph type="title" idx="15" hasCustomPrompt="1"/>
          </p:nvPr>
        </p:nvSpPr>
        <p:spPr>
          <a:xfrm>
            <a:off x="2973399" y="4641683"/>
            <a:ext cx="2312717" cy="849223"/>
          </a:xfrm>
          <a:prstGeom prst="rect">
            <a:avLst/>
          </a:prstGeom>
        </p:spPr>
        <p:txBody>
          <a:bodyPr spcFirstLastPara="1" wrap="square" lIns="91425" tIns="91425" rIns="91425" bIns="91425" anchor="ctr" anchorCtr="0">
            <a:noAutofit/>
          </a:bodyPr>
          <a:lstStyle>
            <a:lvl1pPr lvl="0" rtl="0">
              <a:spcBef>
                <a:spcPts val="0"/>
              </a:spcBef>
              <a:spcAft>
                <a:spcPts val="0"/>
              </a:spcAft>
              <a:buSzPts val="4800"/>
              <a:buNone/>
              <a:defRPr sz="7055"/>
            </a:lvl1pPr>
            <a:lvl2pPr lvl="1" rtl="0">
              <a:spcBef>
                <a:spcPts val="0"/>
              </a:spcBef>
              <a:spcAft>
                <a:spcPts val="0"/>
              </a:spcAft>
              <a:buSzPts val="4800"/>
              <a:buFont typeface="Fira Sans Extra Condensed Medium"/>
              <a:buNone/>
              <a:defRPr sz="7055">
                <a:latin typeface="Fira Sans Extra Condensed Medium"/>
                <a:ea typeface="Fira Sans Extra Condensed Medium"/>
                <a:cs typeface="Fira Sans Extra Condensed Medium"/>
                <a:sym typeface="Fira Sans Extra Condensed Medium"/>
              </a:defRPr>
            </a:lvl2pPr>
            <a:lvl3pPr lvl="2" rtl="0">
              <a:spcBef>
                <a:spcPts val="0"/>
              </a:spcBef>
              <a:spcAft>
                <a:spcPts val="0"/>
              </a:spcAft>
              <a:buSzPts val="4800"/>
              <a:buFont typeface="Fira Sans Extra Condensed Medium"/>
              <a:buNone/>
              <a:defRPr sz="7055">
                <a:latin typeface="Fira Sans Extra Condensed Medium"/>
                <a:ea typeface="Fira Sans Extra Condensed Medium"/>
                <a:cs typeface="Fira Sans Extra Condensed Medium"/>
                <a:sym typeface="Fira Sans Extra Condensed Medium"/>
              </a:defRPr>
            </a:lvl3pPr>
            <a:lvl4pPr lvl="3" rtl="0">
              <a:spcBef>
                <a:spcPts val="0"/>
              </a:spcBef>
              <a:spcAft>
                <a:spcPts val="0"/>
              </a:spcAft>
              <a:buSzPts val="4800"/>
              <a:buFont typeface="Fira Sans Extra Condensed Medium"/>
              <a:buNone/>
              <a:defRPr sz="7055">
                <a:latin typeface="Fira Sans Extra Condensed Medium"/>
                <a:ea typeface="Fira Sans Extra Condensed Medium"/>
                <a:cs typeface="Fira Sans Extra Condensed Medium"/>
                <a:sym typeface="Fira Sans Extra Condensed Medium"/>
              </a:defRPr>
            </a:lvl4pPr>
            <a:lvl5pPr lvl="4" rtl="0">
              <a:spcBef>
                <a:spcPts val="0"/>
              </a:spcBef>
              <a:spcAft>
                <a:spcPts val="0"/>
              </a:spcAft>
              <a:buSzPts val="4800"/>
              <a:buFont typeface="Fira Sans Extra Condensed Medium"/>
              <a:buNone/>
              <a:defRPr sz="7055">
                <a:latin typeface="Fira Sans Extra Condensed Medium"/>
                <a:ea typeface="Fira Sans Extra Condensed Medium"/>
                <a:cs typeface="Fira Sans Extra Condensed Medium"/>
                <a:sym typeface="Fira Sans Extra Condensed Medium"/>
              </a:defRPr>
            </a:lvl5pPr>
            <a:lvl6pPr lvl="5" rtl="0">
              <a:spcBef>
                <a:spcPts val="0"/>
              </a:spcBef>
              <a:spcAft>
                <a:spcPts val="0"/>
              </a:spcAft>
              <a:buSzPts val="4800"/>
              <a:buFont typeface="Fira Sans Extra Condensed Medium"/>
              <a:buNone/>
              <a:defRPr sz="7055">
                <a:latin typeface="Fira Sans Extra Condensed Medium"/>
                <a:ea typeface="Fira Sans Extra Condensed Medium"/>
                <a:cs typeface="Fira Sans Extra Condensed Medium"/>
                <a:sym typeface="Fira Sans Extra Condensed Medium"/>
              </a:defRPr>
            </a:lvl6pPr>
            <a:lvl7pPr lvl="6" rtl="0">
              <a:spcBef>
                <a:spcPts val="0"/>
              </a:spcBef>
              <a:spcAft>
                <a:spcPts val="0"/>
              </a:spcAft>
              <a:buSzPts val="4800"/>
              <a:buFont typeface="Fira Sans Extra Condensed Medium"/>
              <a:buNone/>
              <a:defRPr sz="7055">
                <a:latin typeface="Fira Sans Extra Condensed Medium"/>
                <a:ea typeface="Fira Sans Extra Condensed Medium"/>
                <a:cs typeface="Fira Sans Extra Condensed Medium"/>
                <a:sym typeface="Fira Sans Extra Condensed Medium"/>
              </a:defRPr>
            </a:lvl7pPr>
            <a:lvl8pPr lvl="7" rtl="0">
              <a:spcBef>
                <a:spcPts val="0"/>
              </a:spcBef>
              <a:spcAft>
                <a:spcPts val="0"/>
              </a:spcAft>
              <a:buSzPts val="4800"/>
              <a:buFont typeface="Fira Sans Extra Condensed Medium"/>
              <a:buNone/>
              <a:defRPr sz="7055">
                <a:latin typeface="Fira Sans Extra Condensed Medium"/>
                <a:ea typeface="Fira Sans Extra Condensed Medium"/>
                <a:cs typeface="Fira Sans Extra Condensed Medium"/>
                <a:sym typeface="Fira Sans Extra Condensed Medium"/>
              </a:defRPr>
            </a:lvl8pPr>
            <a:lvl9pPr lvl="8" rtl="0">
              <a:spcBef>
                <a:spcPts val="0"/>
              </a:spcBef>
              <a:spcAft>
                <a:spcPts val="0"/>
              </a:spcAft>
              <a:buSzPts val="4800"/>
              <a:buFont typeface="Fira Sans Extra Condensed Medium"/>
              <a:buNone/>
              <a:defRPr sz="7055">
                <a:latin typeface="Fira Sans Extra Condensed Medium"/>
                <a:ea typeface="Fira Sans Extra Condensed Medium"/>
                <a:cs typeface="Fira Sans Extra Condensed Medium"/>
                <a:sym typeface="Fira Sans Extra Condensed Medium"/>
              </a:defRPr>
            </a:lvl9pPr>
          </a:lstStyle>
          <a:p>
            <a:r>
              <a:t>xx%</a:t>
            </a:r>
          </a:p>
        </p:txBody>
      </p:sp>
      <p:sp>
        <p:nvSpPr>
          <p:cNvPr id="25" name="Google Shape;25;p3"/>
          <p:cNvSpPr txBox="1">
            <a:spLocks noGrp="1"/>
          </p:cNvSpPr>
          <p:nvPr>
            <p:ph type="ctrTitle" idx="16"/>
          </p:nvPr>
        </p:nvSpPr>
        <p:spPr>
          <a:xfrm>
            <a:off x="5038444" y="5489121"/>
            <a:ext cx="3309677" cy="849223"/>
          </a:xfrm>
          <a:prstGeom prst="rect">
            <a:avLst/>
          </a:prstGeom>
        </p:spPr>
        <p:txBody>
          <a:bodyPr spcFirstLastPara="1" wrap="square" lIns="91425" tIns="91425" rIns="91425" bIns="91425" anchor="b" anchorCtr="0">
            <a:noAutofit/>
          </a:bodyPr>
          <a:lstStyle>
            <a:lvl1pPr lvl="0" rtl="0">
              <a:spcBef>
                <a:spcPts val="0"/>
              </a:spcBef>
              <a:spcAft>
                <a:spcPts val="0"/>
              </a:spcAft>
              <a:buSzPts val="1200"/>
              <a:buNone/>
              <a:defRPr sz="1764"/>
            </a:lvl1pPr>
            <a:lvl2pPr lvl="1" rtl="0">
              <a:spcBef>
                <a:spcPts val="0"/>
              </a:spcBef>
              <a:spcAft>
                <a:spcPts val="0"/>
              </a:spcAft>
              <a:buSzPts val="1200"/>
              <a:buNone/>
              <a:defRPr sz="1764"/>
            </a:lvl2pPr>
            <a:lvl3pPr lvl="2" rtl="0">
              <a:spcBef>
                <a:spcPts val="0"/>
              </a:spcBef>
              <a:spcAft>
                <a:spcPts val="0"/>
              </a:spcAft>
              <a:buSzPts val="1200"/>
              <a:buNone/>
              <a:defRPr sz="1764"/>
            </a:lvl3pPr>
            <a:lvl4pPr lvl="3" rtl="0">
              <a:spcBef>
                <a:spcPts val="0"/>
              </a:spcBef>
              <a:spcAft>
                <a:spcPts val="0"/>
              </a:spcAft>
              <a:buSzPts val="1200"/>
              <a:buNone/>
              <a:defRPr sz="1764"/>
            </a:lvl4pPr>
            <a:lvl5pPr lvl="4" rtl="0">
              <a:spcBef>
                <a:spcPts val="0"/>
              </a:spcBef>
              <a:spcAft>
                <a:spcPts val="0"/>
              </a:spcAft>
              <a:buSzPts val="1200"/>
              <a:buNone/>
              <a:defRPr sz="1764"/>
            </a:lvl5pPr>
            <a:lvl6pPr lvl="5" rtl="0">
              <a:spcBef>
                <a:spcPts val="0"/>
              </a:spcBef>
              <a:spcAft>
                <a:spcPts val="0"/>
              </a:spcAft>
              <a:buSzPts val="1200"/>
              <a:buNone/>
              <a:defRPr sz="1764"/>
            </a:lvl6pPr>
            <a:lvl7pPr lvl="6" rtl="0">
              <a:spcBef>
                <a:spcPts val="0"/>
              </a:spcBef>
              <a:spcAft>
                <a:spcPts val="0"/>
              </a:spcAft>
              <a:buSzPts val="1200"/>
              <a:buNone/>
              <a:defRPr sz="1764"/>
            </a:lvl7pPr>
            <a:lvl8pPr lvl="7" rtl="0">
              <a:spcBef>
                <a:spcPts val="0"/>
              </a:spcBef>
              <a:spcAft>
                <a:spcPts val="0"/>
              </a:spcAft>
              <a:buSzPts val="1200"/>
              <a:buNone/>
              <a:defRPr sz="1764"/>
            </a:lvl8pPr>
            <a:lvl9pPr lvl="8" rtl="0">
              <a:spcBef>
                <a:spcPts val="0"/>
              </a:spcBef>
              <a:spcAft>
                <a:spcPts val="0"/>
              </a:spcAft>
              <a:buSzPts val="1200"/>
              <a:buNone/>
              <a:defRPr sz="1764"/>
            </a:lvl9pPr>
          </a:lstStyle>
          <a:p>
            <a:endParaRPr/>
          </a:p>
        </p:txBody>
      </p:sp>
      <p:sp>
        <p:nvSpPr>
          <p:cNvPr id="26" name="Google Shape;26;p3"/>
          <p:cNvSpPr txBox="1">
            <a:spLocks noGrp="1"/>
          </p:cNvSpPr>
          <p:nvPr>
            <p:ph type="subTitle" idx="17"/>
          </p:nvPr>
        </p:nvSpPr>
        <p:spPr>
          <a:xfrm>
            <a:off x="5038441" y="6096348"/>
            <a:ext cx="2802158" cy="841287"/>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SzPts val="1000"/>
              <a:buNone/>
              <a:defRPr sz="1470"/>
            </a:lvl1pPr>
            <a:lvl2pPr lvl="1" rtl="0">
              <a:lnSpc>
                <a:spcPct val="100000"/>
              </a:lnSpc>
              <a:spcBef>
                <a:spcPts val="0"/>
              </a:spcBef>
              <a:spcAft>
                <a:spcPts val="0"/>
              </a:spcAft>
              <a:buSzPts val="1000"/>
              <a:buNone/>
              <a:defRPr sz="1470"/>
            </a:lvl2pPr>
            <a:lvl3pPr lvl="2" rtl="0">
              <a:lnSpc>
                <a:spcPct val="100000"/>
              </a:lnSpc>
              <a:spcBef>
                <a:spcPts val="0"/>
              </a:spcBef>
              <a:spcAft>
                <a:spcPts val="0"/>
              </a:spcAft>
              <a:buSzPts val="1000"/>
              <a:buNone/>
              <a:defRPr sz="1470"/>
            </a:lvl3pPr>
            <a:lvl4pPr lvl="3" rtl="0">
              <a:lnSpc>
                <a:spcPct val="100000"/>
              </a:lnSpc>
              <a:spcBef>
                <a:spcPts val="0"/>
              </a:spcBef>
              <a:spcAft>
                <a:spcPts val="0"/>
              </a:spcAft>
              <a:buSzPts val="1000"/>
              <a:buNone/>
              <a:defRPr sz="1470"/>
            </a:lvl4pPr>
            <a:lvl5pPr lvl="4" rtl="0">
              <a:lnSpc>
                <a:spcPct val="100000"/>
              </a:lnSpc>
              <a:spcBef>
                <a:spcPts val="0"/>
              </a:spcBef>
              <a:spcAft>
                <a:spcPts val="0"/>
              </a:spcAft>
              <a:buSzPts val="1000"/>
              <a:buNone/>
              <a:defRPr sz="1470"/>
            </a:lvl5pPr>
            <a:lvl6pPr lvl="5" rtl="0">
              <a:lnSpc>
                <a:spcPct val="100000"/>
              </a:lnSpc>
              <a:spcBef>
                <a:spcPts val="0"/>
              </a:spcBef>
              <a:spcAft>
                <a:spcPts val="0"/>
              </a:spcAft>
              <a:buSzPts val="1000"/>
              <a:buNone/>
              <a:defRPr sz="1470"/>
            </a:lvl6pPr>
            <a:lvl7pPr lvl="6" rtl="0">
              <a:lnSpc>
                <a:spcPct val="100000"/>
              </a:lnSpc>
              <a:spcBef>
                <a:spcPts val="0"/>
              </a:spcBef>
              <a:spcAft>
                <a:spcPts val="0"/>
              </a:spcAft>
              <a:buSzPts val="1000"/>
              <a:buNone/>
              <a:defRPr sz="1470"/>
            </a:lvl7pPr>
            <a:lvl8pPr lvl="7" rtl="0">
              <a:lnSpc>
                <a:spcPct val="100000"/>
              </a:lnSpc>
              <a:spcBef>
                <a:spcPts val="0"/>
              </a:spcBef>
              <a:spcAft>
                <a:spcPts val="0"/>
              </a:spcAft>
              <a:buSzPts val="1000"/>
              <a:buNone/>
              <a:defRPr sz="1470"/>
            </a:lvl8pPr>
            <a:lvl9pPr lvl="8" rtl="0">
              <a:lnSpc>
                <a:spcPct val="100000"/>
              </a:lnSpc>
              <a:spcBef>
                <a:spcPts val="0"/>
              </a:spcBef>
              <a:spcAft>
                <a:spcPts val="0"/>
              </a:spcAft>
              <a:buSzPts val="1000"/>
              <a:buNone/>
              <a:defRPr sz="1470"/>
            </a:lvl9pPr>
          </a:lstStyle>
          <a:p>
            <a:endParaRPr/>
          </a:p>
        </p:txBody>
      </p:sp>
      <p:sp>
        <p:nvSpPr>
          <p:cNvPr id="27" name="Google Shape;27;p3"/>
          <p:cNvSpPr txBox="1">
            <a:spLocks noGrp="1"/>
          </p:cNvSpPr>
          <p:nvPr>
            <p:ph type="title" idx="18" hasCustomPrompt="1"/>
          </p:nvPr>
        </p:nvSpPr>
        <p:spPr>
          <a:xfrm>
            <a:off x="2973399" y="5868449"/>
            <a:ext cx="2312717" cy="849223"/>
          </a:xfrm>
          <a:prstGeom prst="rect">
            <a:avLst/>
          </a:prstGeom>
        </p:spPr>
        <p:txBody>
          <a:bodyPr spcFirstLastPara="1" wrap="square" lIns="91425" tIns="91425" rIns="91425" bIns="91425" anchor="ctr" anchorCtr="0">
            <a:noAutofit/>
          </a:bodyPr>
          <a:lstStyle>
            <a:lvl1pPr lvl="0" rtl="0">
              <a:spcBef>
                <a:spcPts val="0"/>
              </a:spcBef>
              <a:spcAft>
                <a:spcPts val="0"/>
              </a:spcAft>
              <a:buSzPts val="4800"/>
              <a:buNone/>
              <a:defRPr sz="7055"/>
            </a:lvl1pPr>
            <a:lvl2pPr lvl="1" rtl="0">
              <a:spcBef>
                <a:spcPts val="0"/>
              </a:spcBef>
              <a:spcAft>
                <a:spcPts val="0"/>
              </a:spcAft>
              <a:buSzPts val="4800"/>
              <a:buFont typeface="Fira Sans Extra Condensed Medium"/>
              <a:buNone/>
              <a:defRPr sz="7055">
                <a:latin typeface="Fira Sans Extra Condensed Medium"/>
                <a:ea typeface="Fira Sans Extra Condensed Medium"/>
                <a:cs typeface="Fira Sans Extra Condensed Medium"/>
                <a:sym typeface="Fira Sans Extra Condensed Medium"/>
              </a:defRPr>
            </a:lvl2pPr>
            <a:lvl3pPr lvl="2" rtl="0">
              <a:spcBef>
                <a:spcPts val="0"/>
              </a:spcBef>
              <a:spcAft>
                <a:spcPts val="0"/>
              </a:spcAft>
              <a:buSzPts val="4800"/>
              <a:buFont typeface="Fira Sans Extra Condensed Medium"/>
              <a:buNone/>
              <a:defRPr sz="7055">
                <a:latin typeface="Fira Sans Extra Condensed Medium"/>
                <a:ea typeface="Fira Sans Extra Condensed Medium"/>
                <a:cs typeface="Fira Sans Extra Condensed Medium"/>
                <a:sym typeface="Fira Sans Extra Condensed Medium"/>
              </a:defRPr>
            </a:lvl3pPr>
            <a:lvl4pPr lvl="3" rtl="0">
              <a:spcBef>
                <a:spcPts val="0"/>
              </a:spcBef>
              <a:spcAft>
                <a:spcPts val="0"/>
              </a:spcAft>
              <a:buSzPts val="4800"/>
              <a:buFont typeface="Fira Sans Extra Condensed Medium"/>
              <a:buNone/>
              <a:defRPr sz="7055">
                <a:latin typeface="Fira Sans Extra Condensed Medium"/>
                <a:ea typeface="Fira Sans Extra Condensed Medium"/>
                <a:cs typeface="Fira Sans Extra Condensed Medium"/>
                <a:sym typeface="Fira Sans Extra Condensed Medium"/>
              </a:defRPr>
            </a:lvl4pPr>
            <a:lvl5pPr lvl="4" rtl="0">
              <a:spcBef>
                <a:spcPts val="0"/>
              </a:spcBef>
              <a:spcAft>
                <a:spcPts val="0"/>
              </a:spcAft>
              <a:buSzPts val="4800"/>
              <a:buFont typeface="Fira Sans Extra Condensed Medium"/>
              <a:buNone/>
              <a:defRPr sz="7055">
                <a:latin typeface="Fira Sans Extra Condensed Medium"/>
                <a:ea typeface="Fira Sans Extra Condensed Medium"/>
                <a:cs typeface="Fira Sans Extra Condensed Medium"/>
                <a:sym typeface="Fira Sans Extra Condensed Medium"/>
              </a:defRPr>
            </a:lvl5pPr>
            <a:lvl6pPr lvl="5" rtl="0">
              <a:spcBef>
                <a:spcPts val="0"/>
              </a:spcBef>
              <a:spcAft>
                <a:spcPts val="0"/>
              </a:spcAft>
              <a:buSzPts val="4800"/>
              <a:buFont typeface="Fira Sans Extra Condensed Medium"/>
              <a:buNone/>
              <a:defRPr sz="7055">
                <a:latin typeface="Fira Sans Extra Condensed Medium"/>
                <a:ea typeface="Fira Sans Extra Condensed Medium"/>
                <a:cs typeface="Fira Sans Extra Condensed Medium"/>
                <a:sym typeface="Fira Sans Extra Condensed Medium"/>
              </a:defRPr>
            </a:lvl6pPr>
            <a:lvl7pPr lvl="6" rtl="0">
              <a:spcBef>
                <a:spcPts val="0"/>
              </a:spcBef>
              <a:spcAft>
                <a:spcPts val="0"/>
              </a:spcAft>
              <a:buSzPts val="4800"/>
              <a:buFont typeface="Fira Sans Extra Condensed Medium"/>
              <a:buNone/>
              <a:defRPr sz="7055">
                <a:latin typeface="Fira Sans Extra Condensed Medium"/>
                <a:ea typeface="Fira Sans Extra Condensed Medium"/>
                <a:cs typeface="Fira Sans Extra Condensed Medium"/>
                <a:sym typeface="Fira Sans Extra Condensed Medium"/>
              </a:defRPr>
            </a:lvl7pPr>
            <a:lvl8pPr lvl="7" rtl="0">
              <a:spcBef>
                <a:spcPts val="0"/>
              </a:spcBef>
              <a:spcAft>
                <a:spcPts val="0"/>
              </a:spcAft>
              <a:buSzPts val="4800"/>
              <a:buFont typeface="Fira Sans Extra Condensed Medium"/>
              <a:buNone/>
              <a:defRPr sz="7055">
                <a:latin typeface="Fira Sans Extra Condensed Medium"/>
                <a:ea typeface="Fira Sans Extra Condensed Medium"/>
                <a:cs typeface="Fira Sans Extra Condensed Medium"/>
                <a:sym typeface="Fira Sans Extra Condensed Medium"/>
              </a:defRPr>
            </a:lvl8pPr>
            <a:lvl9pPr lvl="8" rtl="0">
              <a:spcBef>
                <a:spcPts val="0"/>
              </a:spcBef>
              <a:spcAft>
                <a:spcPts val="0"/>
              </a:spcAft>
              <a:buSzPts val="4800"/>
              <a:buFont typeface="Fira Sans Extra Condensed Medium"/>
              <a:buNone/>
              <a:defRPr sz="7055">
                <a:latin typeface="Fira Sans Extra Condensed Medium"/>
                <a:ea typeface="Fira Sans Extra Condensed Medium"/>
                <a:cs typeface="Fira Sans Extra Condensed Medium"/>
                <a:sym typeface="Fira Sans Extra Condensed Medium"/>
              </a:defRPr>
            </a:lvl9pPr>
          </a:lstStyle>
          <a:p>
            <a:r>
              <a:t>xx%</a:t>
            </a:r>
          </a:p>
        </p:txBody>
      </p:sp>
    </p:spTree>
    <p:extLst>
      <p:ext uri="{BB962C8B-B14F-4D97-AF65-F5344CB8AC3E}">
        <p14:creationId xmlns:p14="http://schemas.microsoft.com/office/powerpoint/2010/main" val="218753934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0_Summary2">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FABDB841-0C59-E647-32CD-05B58D7913FD}"/>
              </a:ext>
            </a:extLst>
          </p:cNvPr>
          <p:cNvSpPr>
            <a:spLocks noGrp="1"/>
          </p:cNvSpPr>
          <p:nvPr>
            <p:ph type="title" hasCustomPrompt="1"/>
          </p:nvPr>
        </p:nvSpPr>
        <p:spPr>
          <a:xfrm>
            <a:off x="923985" y="658261"/>
            <a:ext cx="5753387" cy="2224149"/>
          </a:xfrm>
          <a:prstGeom prst="rect">
            <a:avLst/>
          </a:prstGeom>
        </p:spPr>
        <p:txBody>
          <a:bodyPr/>
          <a:lstStyle>
            <a:lvl1pPr>
              <a:defRPr baseline="0"/>
            </a:lvl1pPr>
          </a:lstStyle>
          <a:p>
            <a:r>
              <a:rPr lang="en-US"/>
              <a:t>CLICK TO add TITLE</a:t>
            </a:r>
          </a:p>
        </p:txBody>
      </p:sp>
      <p:sp>
        <p:nvSpPr>
          <p:cNvPr id="7" name="Text Placeholder 7">
            <a:extLst>
              <a:ext uri="{FF2B5EF4-FFF2-40B4-BE49-F238E27FC236}">
                <a16:creationId xmlns:a16="http://schemas.microsoft.com/office/drawing/2014/main" id="{43BCB702-835A-35CF-DCFA-C55FD2DA73AA}"/>
              </a:ext>
            </a:extLst>
          </p:cNvPr>
          <p:cNvSpPr>
            <a:spLocks noGrp="1"/>
          </p:cNvSpPr>
          <p:nvPr>
            <p:ph type="body" sz="quarter" idx="13" hasCustomPrompt="1"/>
          </p:nvPr>
        </p:nvSpPr>
        <p:spPr>
          <a:xfrm>
            <a:off x="923986" y="3003302"/>
            <a:ext cx="5762182" cy="3165396"/>
          </a:xfrm>
          <a:prstGeom prst="rect">
            <a:avLst/>
          </a:prstGeom>
        </p:spPr>
        <p:txBody>
          <a:bodyPr>
            <a:normAutofit/>
          </a:bodyPr>
          <a:lstStyle>
            <a:lvl1pPr marL="0" indent="0">
              <a:lnSpc>
                <a:spcPts val="2649"/>
              </a:lnSpc>
              <a:buNone/>
              <a:defRPr sz="1547"/>
            </a:lvl1pPr>
            <a:lvl2pPr marL="504031" indent="0">
              <a:lnSpc>
                <a:spcPts val="2649"/>
              </a:lnSpc>
              <a:buNone/>
              <a:defRPr sz="1547"/>
            </a:lvl2pPr>
            <a:lvl3pPr marL="1008063" indent="0">
              <a:lnSpc>
                <a:spcPts val="2649"/>
              </a:lnSpc>
              <a:buNone/>
              <a:defRPr sz="1547"/>
            </a:lvl3pPr>
            <a:lvl4pPr marL="1512094" indent="0">
              <a:lnSpc>
                <a:spcPts val="2649"/>
              </a:lnSpc>
              <a:buNone/>
              <a:defRPr sz="1547"/>
            </a:lvl4pPr>
            <a:lvl5pPr marL="2016127" indent="0">
              <a:lnSpc>
                <a:spcPts val="2649"/>
              </a:lnSpc>
              <a:buNone/>
              <a:defRPr sz="1547"/>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EDAC16E-5725-4AC1-AB85-871F25D26688}"/>
              </a:ext>
            </a:extLst>
          </p:cNvPr>
          <p:cNvSpPr>
            <a:spLocks noGrp="1"/>
          </p:cNvSpPr>
          <p:nvPr>
            <p:ph type="dt" sz="half" idx="10"/>
          </p:nvPr>
        </p:nvSpPr>
        <p:spPr>
          <a:xfrm>
            <a:off x="923988" y="7006701"/>
            <a:ext cx="3023949" cy="402484"/>
          </a:xfrm>
          <a:prstGeom prst="rect">
            <a:avLst/>
          </a:prstGeom>
        </p:spPr>
        <p:txBody>
          <a:bodyPr/>
          <a:lstStyle/>
          <a:p>
            <a:endParaRPr lang="en-US"/>
          </a:p>
        </p:txBody>
      </p:sp>
      <p:sp>
        <p:nvSpPr>
          <p:cNvPr id="5" name="Footer Placeholder 4">
            <a:extLst>
              <a:ext uri="{FF2B5EF4-FFF2-40B4-BE49-F238E27FC236}">
                <a16:creationId xmlns:a16="http://schemas.microsoft.com/office/drawing/2014/main" id="{FD10B5D8-71E9-48DC-A04C-559359603CB0}"/>
              </a:ext>
            </a:extLst>
          </p:cNvPr>
          <p:cNvSpPr>
            <a:spLocks noGrp="1"/>
          </p:cNvSpPr>
          <p:nvPr>
            <p:ph type="ftr" sz="quarter" idx="11"/>
          </p:nvPr>
        </p:nvSpPr>
        <p:spPr>
          <a:xfrm>
            <a:off x="4451927" y="7006701"/>
            <a:ext cx="4535925" cy="402484"/>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A0FDD81F-9379-48E6-9B14-83486F920A39}"/>
              </a:ext>
            </a:extLst>
          </p:cNvPr>
          <p:cNvSpPr>
            <a:spLocks noGrp="1"/>
          </p:cNvSpPr>
          <p:nvPr>
            <p:ph type="sldNum" sz="quarter" idx="12"/>
          </p:nvPr>
        </p:nvSpPr>
        <p:spPr>
          <a:xfrm>
            <a:off x="9491845" y="7006701"/>
            <a:ext cx="3023949" cy="402484"/>
          </a:xfrm>
          <a:prstGeom prst="rect">
            <a:avLst/>
          </a:prstGeom>
        </p:spPr>
        <p:txBody>
          <a:bodyPr/>
          <a:lstStyle/>
          <a:p>
            <a:fld id="{B5CEABB6-07DC-46E8-9B57-56EC44A396E5}" type="slidenum">
              <a:rPr lang="en-US" smtClean="0"/>
              <a:t>‹№›</a:t>
            </a:fld>
            <a:endParaRPr lang="en-US"/>
          </a:p>
        </p:txBody>
      </p:sp>
    </p:spTree>
    <p:extLst>
      <p:ext uri="{BB962C8B-B14F-4D97-AF65-F5344CB8AC3E}">
        <p14:creationId xmlns:p14="http://schemas.microsoft.com/office/powerpoint/2010/main" val="125283835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21_Summary2">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FABDB841-0C59-E647-32CD-05B58D7913FD}"/>
              </a:ext>
            </a:extLst>
          </p:cNvPr>
          <p:cNvSpPr>
            <a:spLocks noGrp="1"/>
          </p:cNvSpPr>
          <p:nvPr>
            <p:ph type="title" hasCustomPrompt="1"/>
          </p:nvPr>
        </p:nvSpPr>
        <p:spPr>
          <a:xfrm>
            <a:off x="0" y="2"/>
            <a:ext cx="3680307" cy="1344519"/>
          </a:xfrm>
          <a:prstGeom prst="rect">
            <a:avLst/>
          </a:prstGeom>
        </p:spPr>
        <p:txBody>
          <a:bodyPr/>
          <a:lstStyle>
            <a:lvl1pPr>
              <a:defRPr sz="2649" baseline="0"/>
            </a:lvl1pPr>
          </a:lstStyle>
          <a:p>
            <a:r>
              <a:rPr lang="en-US"/>
              <a:t>add TITLE</a:t>
            </a:r>
          </a:p>
        </p:txBody>
      </p:sp>
      <p:sp>
        <p:nvSpPr>
          <p:cNvPr id="7" name="Text Placeholder 7">
            <a:extLst>
              <a:ext uri="{FF2B5EF4-FFF2-40B4-BE49-F238E27FC236}">
                <a16:creationId xmlns:a16="http://schemas.microsoft.com/office/drawing/2014/main" id="{43BCB702-835A-35CF-DCFA-C55FD2DA73AA}"/>
              </a:ext>
            </a:extLst>
          </p:cNvPr>
          <p:cNvSpPr>
            <a:spLocks noGrp="1"/>
          </p:cNvSpPr>
          <p:nvPr>
            <p:ph type="body" sz="quarter" idx="13" hasCustomPrompt="1"/>
          </p:nvPr>
        </p:nvSpPr>
        <p:spPr>
          <a:xfrm>
            <a:off x="3680311" y="1396091"/>
            <a:ext cx="4278073" cy="3215908"/>
          </a:xfrm>
          <a:prstGeom prst="rect">
            <a:avLst/>
          </a:prstGeom>
        </p:spPr>
        <p:txBody>
          <a:bodyPr>
            <a:normAutofit/>
          </a:bodyPr>
          <a:lstStyle>
            <a:lvl1pPr marL="0" indent="0">
              <a:lnSpc>
                <a:spcPts val="2649"/>
              </a:lnSpc>
              <a:buNone/>
              <a:defRPr sz="1547"/>
            </a:lvl1pPr>
            <a:lvl2pPr marL="504031" indent="0">
              <a:lnSpc>
                <a:spcPts val="2649"/>
              </a:lnSpc>
              <a:buNone/>
              <a:defRPr sz="1547"/>
            </a:lvl2pPr>
            <a:lvl3pPr marL="1008063" indent="0">
              <a:lnSpc>
                <a:spcPts val="2649"/>
              </a:lnSpc>
              <a:buNone/>
              <a:defRPr sz="1547"/>
            </a:lvl3pPr>
            <a:lvl4pPr marL="1512094" indent="0">
              <a:lnSpc>
                <a:spcPts val="2649"/>
              </a:lnSpc>
              <a:buNone/>
              <a:defRPr sz="1547"/>
            </a:lvl4pPr>
            <a:lvl5pPr marL="2016127" indent="0">
              <a:lnSpc>
                <a:spcPts val="2649"/>
              </a:lnSpc>
              <a:buNone/>
              <a:defRPr sz="1547"/>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8" name="Content Placeholder 6">
            <a:extLst>
              <a:ext uri="{FF2B5EF4-FFF2-40B4-BE49-F238E27FC236}">
                <a16:creationId xmlns:a16="http://schemas.microsoft.com/office/drawing/2014/main" id="{C7566F19-C362-1D4E-2188-0ACA8F9D5DCB}"/>
              </a:ext>
            </a:extLst>
          </p:cNvPr>
          <p:cNvSpPr>
            <a:spLocks noGrp="1"/>
          </p:cNvSpPr>
          <p:nvPr>
            <p:ph sz="quarter" idx="22" hasCustomPrompt="1"/>
          </p:nvPr>
        </p:nvSpPr>
        <p:spPr>
          <a:xfrm>
            <a:off x="0" y="1391405"/>
            <a:ext cx="3680307" cy="3249888"/>
          </a:xfrm>
          <a:prstGeom prst="rect">
            <a:avLst/>
          </a:prstGeom>
        </p:spPr>
        <p:txBody>
          <a:bodyPr>
            <a:normAutofit/>
          </a:bodyPr>
          <a:lstStyle>
            <a:lvl1pPr marL="0" indent="0" algn="ctr">
              <a:buNone/>
              <a:defRPr sz="1328"/>
            </a:lvl1pPr>
            <a:lvl2pPr marL="504031" indent="0">
              <a:buNone/>
              <a:defRPr sz="1763"/>
            </a:lvl2pPr>
            <a:lvl3pPr marL="1008063" indent="0">
              <a:buNone/>
              <a:defRPr sz="1763"/>
            </a:lvl3pPr>
            <a:lvl4pPr marL="1512094" indent="0">
              <a:buNone/>
              <a:defRPr sz="1763"/>
            </a:lvl4pPr>
            <a:lvl5pPr marL="2016127" indent="0">
              <a:buNone/>
              <a:defRPr sz="1763"/>
            </a:lvl5pPr>
          </a:lstStyle>
          <a:p>
            <a:pPr lvl="0"/>
            <a:r>
              <a:rPr lang="en-US"/>
              <a:t>Click to add content</a:t>
            </a:r>
          </a:p>
        </p:txBody>
      </p:sp>
      <p:sp>
        <p:nvSpPr>
          <p:cNvPr id="9" name="Text Placeholder 10">
            <a:extLst>
              <a:ext uri="{FF2B5EF4-FFF2-40B4-BE49-F238E27FC236}">
                <a16:creationId xmlns:a16="http://schemas.microsoft.com/office/drawing/2014/main" id="{9981B6DC-486D-DF10-4228-E1C3C7BDC055}"/>
              </a:ext>
            </a:extLst>
          </p:cNvPr>
          <p:cNvSpPr>
            <a:spLocks noGrp="1"/>
          </p:cNvSpPr>
          <p:nvPr>
            <p:ph type="body" sz="quarter" idx="23" hasCustomPrompt="1"/>
          </p:nvPr>
        </p:nvSpPr>
        <p:spPr>
          <a:xfrm>
            <a:off x="3680312" y="739746"/>
            <a:ext cx="4278070" cy="604774"/>
          </a:xfrm>
          <a:prstGeom prst="rect">
            <a:avLst/>
          </a:prstGeom>
        </p:spPr>
        <p:txBody>
          <a:bodyPr anchor="ctr" anchorCtr="0">
            <a:noAutofit/>
          </a:bodyPr>
          <a:lstStyle>
            <a:lvl1pPr marL="0" indent="0" algn="ctr">
              <a:buNone/>
              <a:defRPr sz="1989" cap="all" baseline="0">
                <a:solidFill>
                  <a:schemeClr val="bg1">
                    <a:lumMod val="50000"/>
                  </a:schemeClr>
                </a:solidFill>
                <a:latin typeface="+mj-lt"/>
              </a:defRPr>
            </a:lvl1pPr>
            <a:lvl2pPr marL="504031" indent="0">
              <a:buNone/>
              <a:defRPr sz="1989">
                <a:latin typeface="+mj-lt"/>
              </a:defRPr>
            </a:lvl2pPr>
            <a:lvl3pPr marL="1008063" indent="0">
              <a:buNone/>
              <a:defRPr sz="1989">
                <a:latin typeface="+mj-lt"/>
              </a:defRPr>
            </a:lvl3pPr>
            <a:lvl4pPr marL="1512094" indent="0">
              <a:buNone/>
              <a:defRPr sz="1989">
                <a:latin typeface="+mj-lt"/>
              </a:defRPr>
            </a:lvl4pPr>
            <a:lvl5pPr marL="2016127" indent="0">
              <a:buNone/>
              <a:defRPr sz="1989">
                <a:latin typeface="+mj-lt"/>
              </a:defRPr>
            </a:lvl5pPr>
          </a:lstStyle>
          <a:p>
            <a:pPr lvl="0"/>
            <a:r>
              <a:rPr lang="en-US"/>
              <a:t>CLICK TO add SUBTITLE</a:t>
            </a:r>
          </a:p>
        </p:txBody>
      </p:sp>
      <p:sp>
        <p:nvSpPr>
          <p:cNvPr id="10" name="Text Placeholder 10">
            <a:extLst>
              <a:ext uri="{FF2B5EF4-FFF2-40B4-BE49-F238E27FC236}">
                <a16:creationId xmlns:a16="http://schemas.microsoft.com/office/drawing/2014/main" id="{1F688A75-6247-0B89-A25C-56A5C87B20CA}"/>
              </a:ext>
            </a:extLst>
          </p:cNvPr>
          <p:cNvSpPr>
            <a:spLocks noGrp="1"/>
          </p:cNvSpPr>
          <p:nvPr>
            <p:ph type="body" sz="quarter" idx="24" hasCustomPrompt="1"/>
          </p:nvPr>
        </p:nvSpPr>
        <p:spPr>
          <a:xfrm>
            <a:off x="8524879" y="750303"/>
            <a:ext cx="4278070" cy="604774"/>
          </a:xfrm>
          <a:prstGeom prst="rect">
            <a:avLst/>
          </a:prstGeom>
        </p:spPr>
        <p:txBody>
          <a:bodyPr anchor="ctr" anchorCtr="0">
            <a:noAutofit/>
          </a:bodyPr>
          <a:lstStyle>
            <a:lvl1pPr marL="0" indent="0" algn="ctr">
              <a:buNone/>
              <a:defRPr sz="1989" cap="all" baseline="0">
                <a:solidFill>
                  <a:schemeClr val="bg1">
                    <a:lumMod val="50000"/>
                  </a:schemeClr>
                </a:solidFill>
                <a:latin typeface="+mj-lt"/>
              </a:defRPr>
            </a:lvl1pPr>
            <a:lvl2pPr marL="504031" indent="0">
              <a:buNone/>
              <a:defRPr sz="1989">
                <a:latin typeface="+mj-lt"/>
              </a:defRPr>
            </a:lvl2pPr>
            <a:lvl3pPr marL="1008063" indent="0">
              <a:buNone/>
              <a:defRPr sz="1989">
                <a:latin typeface="+mj-lt"/>
              </a:defRPr>
            </a:lvl3pPr>
            <a:lvl4pPr marL="1512094" indent="0">
              <a:buNone/>
              <a:defRPr sz="1989">
                <a:latin typeface="+mj-lt"/>
              </a:defRPr>
            </a:lvl4pPr>
            <a:lvl5pPr marL="2016127" indent="0">
              <a:buNone/>
              <a:defRPr sz="1989">
                <a:latin typeface="+mj-lt"/>
              </a:defRPr>
            </a:lvl5pPr>
          </a:lstStyle>
          <a:p>
            <a:pPr lvl="0"/>
            <a:r>
              <a:rPr lang="en-US"/>
              <a:t>CLICK TO add SUBTITLE</a:t>
            </a:r>
          </a:p>
        </p:txBody>
      </p:sp>
      <p:sp>
        <p:nvSpPr>
          <p:cNvPr id="11" name="Text Placeholder 7">
            <a:extLst>
              <a:ext uri="{FF2B5EF4-FFF2-40B4-BE49-F238E27FC236}">
                <a16:creationId xmlns:a16="http://schemas.microsoft.com/office/drawing/2014/main" id="{3FF541CE-DFF5-846E-E559-942F3628E337}"/>
              </a:ext>
            </a:extLst>
          </p:cNvPr>
          <p:cNvSpPr>
            <a:spLocks noGrp="1"/>
          </p:cNvSpPr>
          <p:nvPr>
            <p:ph type="body" sz="quarter" idx="25" hasCustomPrompt="1"/>
          </p:nvPr>
        </p:nvSpPr>
        <p:spPr>
          <a:xfrm>
            <a:off x="8524879" y="1396092"/>
            <a:ext cx="4278073" cy="3215908"/>
          </a:xfrm>
          <a:prstGeom prst="rect">
            <a:avLst/>
          </a:prstGeom>
        </p:spPr>
        <p:txBody>
          <a:bodyPr>
            <a:normAutofit/>
          </a:bodyPr>
          <a:lstStyle>
            <a:lvl1pPr marL="0" indent="0">
              <a:lnSpc>
                <a:spcPts val="2649"/>
              </a:lnSpc>
              <a:buNone/>
              <a:defRPr sz="1547"/>
            </a:lvl1pPr>
            <a:lvl2pPr marL="504031" indent="0">
              <a:lnSpc>
                <a:spcPts val="2649"/>
              </a:lnSpc>
              <a:buNone/>
              <a:defRPr sz="1547"/>
            </a:lvl2pPr>
            <a:lvl3pPr marL="1008063" indent="0">
              <a:lnSpc>
                <a:spcPts val="2649"/>
              </a:lnSpc>
              <a:buNone/>
              <a:defRPr sz="1547"/>
            </a:lvl3pPr>
            <a:lvl4pPr marL="1512094" indent="0">
              <a:lnSpc>
                <a:spcPts val="2649"/>
              </a:lnSpc>
              <a:buNone/>
              <a:defRPr sz="1547"/>
            </a:lvl4pPr>
            <a:lvl5pPr marL="2016127" indent="0">
              <a:lnSpc>
                <a:spcPts val="2649"/>
              </a:lnSpc>
              <a:buNone/>
              <a:defRPr sz="1547"/>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13079DF1-E414-71E5-2F9A-BA57AFBFB682}"/>
              </a:ext>
            </a:extLst>
          </p:cNvPr>
          <p:cNvSpPr>
            <a:spLocks noGrp="1"/>
          </p:cNvSpPr>
          <p:nvPr>
            <p:ph type="body" sz="quarter" idx="26" hasCustomPrompt="1"/>
          </p:nvPr>
        </p:nvSpPr>
        <p:spPr>
          <a:xfrm>
            <a:off x="3684209" y="5246067"/>
            <a:ext cx="9118740" cy="2306831"/>
          </a:xfrm>
          <a:prstGeom prst="rect">
            <a:avLst/>
          </a:prstGeom>
        </p:spPr>
        <p:txBody>
          <a:bodyPr>
            <a:normAutofit/>
          </a:bodyPr>
          <a:lstStyle>
            <a:lvl1pPr marL="0" indent="0">
              <a:lnSpc>
                <a:spcPts val="2649"/>
              </a:lnSpc>
              <a:buNone/>
              <a:defRPr sz="1547"/>
            </a:lvl1pPr>
            <a:lvl2pPr marL="504031" indent="0">
              <a:lnSpc>
                <a:spcPts val="2649"/>
              </a:lnSpc>
              <a:buNone/>
              <a:defRPr sz="1547"/>
            </a:lvl2pPr>
            <a:lvl3pPr marL="1008063" indent="0">
              <a:lnSpc>
                <a:spcPts val="2649"/>
              </a:lnSpc>
              <a:buNone/>
              <a:defRPr sz="1547"/>
            </a:lvl3pPr>
            <a:lvl4pPr marL="1512094" indent="0">
              <a:lnSpc>
                <a:spcPts val="2649"/>
              </a:lnSpc>
              <a:buNone/>
              <a:defRPr sz="1547"/>
            </a:lvl4pPr>
            <a:lvl5pPr marL="2016127" indent="0">
              <a:lnSpc>
                <a:spcPts val="2649"/>
              </a:lnSpc>
              <a:buNone/>
              <a:defRPr sz="1547"/>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13" name="Text Placeholder 10">
            <a:extLst>
              <a:ext uri="{FF2B5EF4-FFF2-40B4-BE49-F238E27FC236}">
                <a16:creationId xmlns:a16="http://schemas.microsoft.com/office/drawing/2014/main" id="{96944A72-0E12-F79B-4900-EDCADA61864D}"/>
              </a:ext>
            </a:extLst>
          </p:cNvPr>
          <p:cNvSpPr>
            <a:spLocks noGrp="1"/>
          </p:cNvSpPr>
          <p:nvPr>
            <p:ph type="body" sz="quarter" idx="27" hasCustomPrompt="1"/>
          </p:nvPr>
        </p:nvSpPr>
        <p:spPr>
          <a:xfrm>
            <a:off x="3684209" y="4641293"/>
            <a:ext cx="4278070" cy="604774"/>
          </a:xfrm>
          <a:prstGeom prst="rect">
            <a:avLst/>
          </a:prstGeom>
        </p:spPr>
        <p:txBody>
          <a:bodyPr anchor="ctr" anchorCtr="0">
            <a:noAutofit/>
          </a:bodyPr>
          <a:lstStyle>
            <a:lvl1pPr marL="0" indent="0" algn="ctr">
              <a:buNone/>
              <a:defRPr sz="1989" cap="all" baseline="0">
                <a:solidFill>
                  <a:schemeClr val="bg1">
                    <a:lumMod val="50000"/>
                  </a:schemeClr>
                </a:solidFill>
                <a:latin typeface="+mj-lt"/>
              </a:defRPr>
            </a:lvl1pPr>
            <a:lvl2pPr marL="504031" indent="0">
              <a:buNone/>
              <a:defRPr sz="1989">
                <a:latin typeface="+mj-lt"/>
              </a:defRPr>
            </a:lvl2pPr>
            <a:lvl3pPr marL="1008063" indent="0">
              <a:buNone/>
              <a:defRPr sz="1989">
                <a:latin typeface="+mj-lt"/>
              </a:defRPr>
            </a:lvl3pPr>
            <a:lvl4pPr marL="1512094" indent="0">
              <a:buNone/>
              <a:defRPr sz="1989">
                <a:latin typeface="+mj-lt"/>
              </a:defRPr>
            </a:lvl4pPr>
            <a:lvl5pPr marL="2016127" indent="0">
              <a:buNone/>
              <a:defRPr sz="1989">
                <a:latin typeface="+mj-lt"/>
              </a:defRPr>
            </a:lvl5pPr>
          </a:lstStyle>
          <a:p>
            <a:pPr lvl="0"/>
            <a:r>
              <a:rPr lang="en-US"/>
              <a:t>Roadmap</a:t>
            </a:r>
          </a:p>
        </p:txBody>
      </p:sp>
      <p:sp>
        <p:nvSpPr>
          <p:cNvPr id="14" name="Text Placeholder 10">
            <a:extLst>
              <a:ext uri="{FF2B5EF4-FFF2-40B4-BE49-F238E27FC236}">
                <a16:creationId xmlns:a16="http://schemas.microsoft.com/office/drawing/2014/main" id="{4EE5B9E8-4E15-1C31-64E0-2040035C298F}"/>
              </a:ext>
            </a:extLst>
          </p:cNvPr>
          <p:cNvSpPr>
            <a:spLocks noGrp="1"/>
          </p:cNvSpPr>
          <p:nvPr>
            <p:ph type="body" sz="quarter" idx="28" hasCustomPrompt="1"/>
          </p:nvPr>
        </p:nvSpPr>
        <p:spPr>
          <a:xfrm>
            <a:off x="3680312" y="63977"/>
            <a:ext cx="9759466" cy="604774"/>
          </a:xfrm>
          <a:prstGeom prst="rect">
            <a:avLst/>
          </a:prstGeom>
        </p:spPr>
        <p:txBody>
          <a:bodyPr anchor="ctr" anchorCtr="0">
            <a:noAutofit/>
          </a:bodyPr>
          <a:lstStyle>
            <a:lvl1pPr marL="0" indent="0" algn="ctr">
              <a:buNone/>
              <a:defRPr sz="1989" cap="all" baseline="0">
                <a:solidFill>
                  <a:schemeClr val="bg1">
                    <a:lumMod val="50000"/>
                  </a:schemeClr>
                </a:solidFill>
                <a:latin typeface="+mj-lt"/>
              </a:defRPr>
            </a:lvl1pPr>
            <a:lvl2pPr marL="504031" indent="0">
              <a:buNone/>
              <a:defRPr sz="1989">
                <a:latin typeface="+mj-lt"/>
              </a:defRPr>
            </a:lvl2pPr>
            <a:lvl3pPr marL="1008063" indent="0">
              <a:buNone/>
              <a:defRPr sz="1989">
                <a:latin typeface="+mj-lt"/>
              </a:defRPr>
            </a:lvl3pPr>
            <a:lvl4pPr marL="1512094" indent="0">
              <a:buNone/>
              <a:defRPr sz="1989">
                <a:latin typeface="+mj-lt"/>
              </a:defRPr>
            </a:lvl4pPr>
            <a:lvl5pPr marL="2016127" indent="0">
              <a:buNone/>
              <a:defRPr sz="1989">
                <a:latin typeface="+mj-lt"/>
              </a:defRPr>
            </a:lvl5pPr>
          </a:lstStyle>
          <a:p>
            <a:pPr lvl="0"/>
            <a:r>
              <a:rPr lang="en-US"/>
              <a:t>CLICK TO add SUBTITLE</a:t>
            </a:r>
          </a:p>
        </p:txBody>
      </p:sp>
      <p:sp>
        <p:nvSpPr>
          <p:cNvPr id="15" name="Text Placeholder 7">
            <a:extLst>
              <a:ext uri="{FF2B5EF4-FFF2-40B4-BE49-F238E27FC236}">
                <a16:creationId xmlns:a16="http://schemas.microsoft.com/office/drawing/2014/main" id="{D31F3331-03E3-9ED1-D761-A6126189348B}"/>
              </a:ext>
            </a:extLst>
          </p:cNvPr>
          <p:cNvSpPr>
            <a:spLocks noGrp="1"/>
          </p:cNvSpPr>
          <p:nvPr>
            <p:ph type="body" sz="quarter" idx="29" hasCustomPrompt="1"/>
          </p:nvPr>
        </p:nvSpPr>
        <p:spPr>
          <a:xfrm>
            <a:off x="4" y="4670586"/>
            <a:ext cx="3680307" cy="2882313"/>
          </a:xfrm>
          <a:prstGeom prst="rect">
            <a:avLst/>
          </a:prstGeom>
        </p:spPr>
        <p:txBody>
          <a:bodyPr>
            <a:normAutofit/>
          </a:bodyPr>
          <a:lstStyle>
            <a:lvl1pPr marL="0" indent="0">
              <a:lnSpc>
                <a:spcPts val="2649"/>
              </a:lnSpc>
              <a:buNone/>
              <a:defRPr sz="1547"/>
            </a:lvl1pPr>
            <a:lvl2pPr marL="504031" indent="0">
              <a:lnSpc>
                <a:spcPts val="2649"/>
              </a:lnSpc>
              <a:buNone/>
              <a:defRPr sz="1547"/>
            </a:lvl2pPr>
            <a:lvl3pPr marL="1008063" indent="0">
              <a:lnSpc>
                <a:spcPts val="2649"/>
              </a:lnSpc>
              <a:buNone/>
              <a:defRPr sz="1547"/>
            </a:lvl3pPr>
            <a:lvl4pPr marL="1512094" indent="0">
              <a:lnSpc>
                <a:spcPts val="2649"/>
              </a:lnSpc>
              <a:buNone/>
              <a:defRPr sz="1547"/>
            </a:lvl4pPr>
            <a:lvl5pPr marL="2016127" indent="0">
              <a:lnSpc>
                <a:spcPts val="2649"/>
              </a:lnSpc>
              <a:buNone/>
              <a:defRPr sz="1547"/>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343151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1_Thank You">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0A0FC8B-88E1-B5A8-0766-E5A1E97B2399}"/>
              </a:ext>
              <a:ext uri="{C183D7F6-B498-43B3-948B-1728B52AA6E4}">
                <adec:decorative xmlns:adec="http://schemas.microsoft.com/office/drawing/2017/decorative" val="1"/>
              </a:ext>
            </a:extLst>
          </p:cNvPr>
          <p:cNvSpPr/>
          <p:nvPr userDrawn="1"/>
        </p:nvSpPr>
        <p:spPr>
          <a:xfrm>
            <a:off x="3273546" y="1576289"/>
            <a:ext cx="9535937" cy="4615449"/>
          </a:xfrm>
          <a:prstGeom prst="rect">
            <a:avLst/>
          </a:prstGeom>
          <a:solidFill>
            <a:schemeClr val="bg1"/>
          </a:solidFill>
          <a:ln w="222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29"/>
              <a:t>6.53</a:t>
            </a:r>
          </a:p>
          <a:p>
            <a:pPr algn="ctr"/>
            <a:endParaRPr lang="en-US" sz="1429"/>
          </a:p>
        </p:txBody>
      </p:sp>
      <p:sp>
        <p:nvSpPr>
          <p:cNvPr id="7" name="Title 1">
            <a:extLst>
              <a:ext uri="{FF2B5EF4-FFF2-40B4-BE49-F238E27FC236}">
                <a16:creationId xmlns:a16="http://schemas.microsoft.com/office/drawing/2014/main" id="{B836E2EE-37F8-6AB6-586A-F79F7E3771B5}"/>
              </a:ext>
            </a:extLst>
          </p:cNvPr>
          <p:cNvSpPr>
            <a:spLocks noGrp="1"/>
          </p:cNvSpPr>
          <p:nvPr>
            <p:ph type="ctrTitle" hasCustomPrompt="1"/>
          </p:nvPr>
        </p:nvSpPr>
        <p:spPr>
          <a:xfrm>
            <a:off x="6561335" y="1844365"/>
            <a:ext cx="6263552" cy="1650163"/>
          </a:xfrm>
          <a:prstGeom prst="rect">
            <a:avLst/>
          </a:prstGeom>
        </p:spPr>
        <p:txBody>
          <a:bodyPr anchor="b">
            <a:noAutofit/>
          </a:bodyPr>
          <a:lstStyle>
            <a:lvl1pPr algn="l">
              <a:defRPr sz="4184" b="1" baseline="0"/>
            </a:lvl1pPr>
          </a:lstStyle>
          <a:p>
            <a:r>
              <a:rPr lang="en-US"/>
              <a:t>CLICK TO add TITLE</a:t>
            </a:r>
          </a:p>
        </p:txBody>
      </p:sp>
      <p:sp>
        <p:nvSpPr>
          <p:cNvPr id="14" name="Text Placeholder 13">
            <a:extLst>
              <a:ext uri="{FF2B5EF4-FFF2-40B4-BE49-F238E27FC236}">
                <a16:creationId xmlns:a16="http://schemas.microsoft.com/office/drawing/2014/main" id="{EDEB9A17-7C72-4874-B1A3-A5CDB434C7C7}"/>
              </a:ext>
            </a:extLst>
          </p:cNvPr>
          <p:cNvSpPr>
            <a:spLocks noGrp="1"/>
          </p:cNvSpPr>
          <p:nvPr>
            <p:ph type="body" sz="quarter" idx="13" hasCustomPrompt="1"/>
          </p:nvPr>
        </p:nvSpPr>
        <p:spPr>
          <a:xfrm>
            <a:off x="6559485" y="3517775"/>
            <a:ext cx="6249998" cy="1982666"/>
          </a:xfrm>
          <a:prstGeom prst="rect">
            <a:avLst/>
          </a:prstGeom>
        </p:spPr>
        <p:txBody>
          <a:bodyPr>
            <a:normAutofit/>
          </a:bodyPr>
          <a:lstStyle>
            <a:lvl1pPr marL="0" indent="0">
              <a:lnSpc>
                <a:spcPts val="3308"/>
              </a:lnSpc>
              <a:spcBef>
                <a:spcPts val="0"/>
              </a:spcBef>
              <a:buNone/>
              <a:defRPr sz="1989"/>
            </a:lvl1pPr>
            <a:lvl2pPr marL="504031" indent="0">
              <a:buNone/>
              <a:defRPr sz="2207"/>
            </a:lvl2pPr>
            <a:lvl3pPr marL="1008063" indent="0">
              <a:buNone/>
              <a:defRPr sz="2207"/>
            </a:lvl3pPr>
            <a:lvl4pPr marL="1512094" indent="0">
              <a:buNone/>
              <a:defRPr sz="2207"/>
            </a:lvl4pPr>
            <a:lvl5pPr marL="2016127" indent="0">
              <a:buNone/>
              <a:defRPr sz="2207"/>
            </a:lvl5pPr>
          </a:lstStyle>
          <a:p>
            <a:pPr lvl="0"/>
            <a:r>
              <a:rPr lang="en-US"/>
              <a:t>Click to add text</a:t>
            </a:r>
          </a:p>
        </p:txBody>
      </p:sp>
    </p:spTree>
    <p:extLst>
      <p:ext uri="{BB962C8B-B14F-4D97-AF65-F5344CB8AC3E}">
        <p14:creationId xmlns:p14="http://schemas.microsoft.com/office/powerpoint/2010/main" val="9832164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384" y="1789"/>
          <a:ext cx="2380" cy="1785"/>
        </p:xfrm>
        <a:graphic>
          <a:graphicData uri="http://schemas.openxmlformats.org/presentationml/2006/ole">
            <mc:AlternateContent xmlns:mc="http://schemas.openxmlformats.org/markup-compatibility/2006">
              <mc:Choice xmlns:v="urn:schemas-microsoft-com:vml" Requires="v">
                <p:oleObj name="Слайд think-cell" r:id="rId4" imgW="270" imgH="270" progId="TCLayout.ActiveDocument.1">
                  <p:embed/>
                </p:oleObj>
              </mc:Choice>
              <mc:Fallback>
                <p:oleObj name="Слайд think-cell" r:id="rId4" imgW="270" imgH="270" progId="TCLayout.ActiveDocument.1">
                  <p:embed/>
                  <p:pic>
                    <p:nvPicPr>
                      <p:cNvPr id="3" name="Object 2" hidden="1"/>
                      <p:cNvPicPr/>
                      <p:nvPr/>
                    </p:nvPicPr>
                    <p:blipFill>
                      <a:blip r:embed="rId5"/>
                      <a:stretch>
                        <a:fillRect/>
                      </a:stretch>
                    </p:blipFill>
                    <p:spPr>
                      <a:xfrm>
                        <a:off x="2384" y="1789"/>
                        <a:ext cx="2380" cy="1785"/>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D6561D5A-FCA1-4939-864F-E5A1FD9A3DE8}"/>
              </a:ext>
            </a:extLst>
          </p:cNvPr>
          <p:cNvSpPr/>
          <p:nvPr userDrawn="1">
            <p:custDataLst>
              <p:tags r:id="rId2"/>
            </p:custDataLst>
          </p:nvPr>
        </p:nvSpPr>
        <p:spPr>
          <a:xfrm>
            <a:off x="2" y="2"/>
            <a:ext cx="178554" cy="178547"/>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149" b="1" i="0" baseline="0" err="1">
              <a:solidFill>
                <a:schemeClr val="tx1"/>
              </a:solidFill>
              <a:latin typeface="Tahoma" panose="020B0604030504040204" pitchFamily="34" charset="0"/>
              <a:ea typeface="+mj-ea"/>
              <a:cs typeface="+mj-cs"/>
              <a:sym typeface="Tahoma" panose="020B0604030504040204" pitchFamily="34" charset="0"/>
            </a:endParaRPr>
          </a:p>
        </p:txBody>
      </p:sp>
      <p:pic>
        <p:nvPicPr>
          <p:cNvPr id="24" name="Picture 2">
            <a:extLst>
              <a:ext uri="{FF2B5EF4-FFF2-40B4-BE49-F238E27FC236}">
                <a16:creationId xmlns:a16="http://schemas.microsoft.com/office/drawing/2014/main" id="{DE3896AC-FE1A-4487-BA2A-62100F604EA1}"/>
              </a:ext>
            </a:extLst>
          </p:cNvPr>
          <p:cNvPicPr>
            <a:picLocks noChangeAspect="1" noChangeArrowheads="1"/>
          </p:cNvPicPr>
          <p:nvPr userDrawn="1"/>
        </p:nvPicPr>
        <p:blipFill>
          <a:blip r:embed="rId6" cstate="screen">
            <a:extLst>
              <a:ext uri="{28A0092B-C50C-407E-A947-70E740481C1C}">
                <a14:useLocalDpi xmlns:a14="http://schemas.microsoft.com/office/drawing/2010/main"/>
              </a:ext>
            </a:extLst>
          </a:blip>
          <a:stretch>
            <a:fillRect/>
          </a:stretch>
        </p:blipFill>
        <p:spPr bwMode="ltGray">
          <a:xfrm>
            <a:off x="3" y="0"/>
            <a:ext cx="13434536" cy="7559675"/>
          </a:xfrm>
          <a:prstGeom prst="rect">
            <a:avLst/>
          </a:prstGeom>
          <a:noFill/>
          <a:extLst>
            <a:ext uri="{909E8E84-426E-40DD-AFC4-6F175D3DCCD1}">
              <a14:hiddenFill xmlns:a14="http://schemas.microsoft.com/office/drawing/2010/main">
                <a:solidFill>
                  <a:srgbClr val="FFFFFF"/>
                </a:solidFill>
              </a14:hiddenFill>
            </a:ext>
          </a:extLst>
        </p:spPr>
      </p:pic>
      <p:sp>
        <p:nvSpPr>
          <p:cNvPr id="5" name="doc id" hidden="1"/>
          <p:cNvSpPr txBox="1">
            <a:spLocks noChangeArrowheads="1"/>
          </p:cNvSpPr>
          <p:nvPr userDrawn="1"/>
        </p:nvSpPr>
        <p:spPr bwMode="auto">
          <a:xfrm>
            <a:off x="12782675" y="41068"/>
            <a:ext cx="442834" cy="1374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0" hangingPunct="1">
              <a:defRPr/>
            </a:pPr>
            <a:endParaRPr lang="ru-RU" sz="1199" baseline="0" noProof="0">
              <a:solidFill>
                <a:srgbClr val="482A06"/>
              </a:solidFill>
              <a:latin typeface="+mn-lt"/>
            </a:endParaRPr>
          </a:p>
        </p:txBody>
      </p:sp>
      <p:sp>
        <p:nvSpPr>
          <p:cNvPr id="13314" name="Title"/>
          <p:cNvSpPr>
            <a:spLocks noGrp="1" noChangeArrowheads="1"/>
          </p:cNvSpPr>
          <p:nvPr userDrawn="1">
            <p:ph type="ctrTitle" hasCustomPrompt="1"/>
          </p:nvPr>
        </p:nvSpPr>
        <p:spPr bwMode="ltGray">
          <a:xfrm>
            <a:off x="364250" y="2317069"/>
            <a:ext cx="5324488" cy="537951"/>
          </a:xfrm>
          <a:prstGeom prst="rect">
            <a:avLst/>
          </a:prstGeom>
        </p:spPr>
        <p:txBody>
          <a:bodyPr wrap="square">
            <a:spAutoFit/>
          </a:bodyPr>
          <a:lstStyle>
            <a:lvl1pPr>
              <a:defRPr sz="3149" b="1" baseline="0">
                <a:solidFill>
                  <a:schemeClr val="tx2"/>
                </a:solidFill>
                <a:latin typeface="+mj-lt"/>
                <a:ea typeface="+mj-ea"/>
              </a:defRPr>
            </a:lvl1pPr>
          </a:lstStyle>
          <a:p>
            <a:pPr lvl="0" latinLnBrk="0"/>
            <a:r>
              <a:rPr lang="en-US" noProof="0"/>
              <a:t>Click to edit master title style</a:t>
            </a:r>
            <a:endParaRPr lang="ru-RU" noProof="0"/>
          </a:p>
        </p:txBody>
      </p:sp>
      <p:sp>
        <p:nvSpPr>
          <p:cNvPr id="13315" name="Subtitle"/>
          <p:cNvSpPr>
            <a:spLocks noGrp="1" noChangeArrowheads="1"/>
          </p:cNvSpPr>
          <p:nvPr userDrawn="1">
            <p:ph type="subTitle" idx="1" hasCustomPrompt="1"/>
          </p:nvPr>
        </p:nvSpPr>
        <p:spPr bwMode="ltGray">
          <a:xfrm>
            <a:off x="364250" y="4687114"/>
            <a:ext cx="5324488" cy="311542"/>
          </a:xfrm>
          <a:prstGeom prst="rect">
            <a:avLst/>
          </a:prstGeom>
        </p:spPr>
        <p:txBody>
          <a:bodyPr wrap="square">
            <a:noAutofit/>
          </a:bodyPr>
          <a:lstStyle>
            <a:lvl1pPr>
              <a:defRPr sz="2024" cap="all" baseline="0">
                <a:solidFill>
                  <a:schemeClr val="accent6"/>
                </a:solidFill>
                <a:latin typeface="+mn-lt"/>
                <a:ea typeface="+mn-ea"/>
              </a:defRPr>
            </a:lvl1pPr>
          </a:lstStyle>
          <a:p>
            <a:pPr lvl="0" latinLnBrk="0"/>
            <a:r>
              <a:rPr lang="en-US" noProof="0"/>
              <a:t>CLICK TO EDIT MASTER SUBTITLE STYLE</a:t>
            </a:r>
            <a:endParaRPr lang="ru-RU" noProof="0"/>
          </a:p>
        </p:txBody>
      </p:sp>
      <p:sp>
        <p:nvSpPr>
          <p:cNvPr id="57" name="Document type" hidden="1"/>
          <p:cNvSpPr txBox="1">
            <a:spLocks noChangeArrowheads="1"/>
          </p:cNvSpPr>
          <p:nvPr userDrawn="1"/>
        </p:nvSpPr>
        <p:spPr bwMode="gray">
          <a:xfrm>
            <a:off x="364250" y="5622359"/>
            <a:ext cx="5324488" cy="3115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o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ru-RU" sz="2024" baseline="0" noProof="0">
                <a:solidFill>
                  <a:schemeClr val="accent6"/>
                </a:solidFill>
                <a:latin typeface="+mn-lt"/>
              </a:rPr>
              <a:t>Тип документа | Дата</a:t>
            </a:r>
          </a:p>
        </p:txBody>
      </p:sp>
      <p:sp>
        <p:nvSpPr>
          <p:cNvPr id="26" name="Disclaimer-Russian (Russia)" hidden="1"/>
          <p:cNvSpPr>
            <a:spLocks noChangeArrowheads="1"/>
          </p:cNvSpPr>
          <p:nvPr userDrawn="1"/>
        </p:nvSpPr>
        <p:spPr bwMode="black">
          <a:xfrm>
            <a:off x="364250" y="6813973"/>
            <a:ext cx="4574559" cy="3891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spAutoFit/>
          </a:bodyPr>
          <a:lstStyle/>
          <a:p>
            <a:pPr defTabSz="1206938" eaLnBrk="0" hangingPunct="0"/>
            <a:r>
              <a:rPr lang="ru-RU" sz="843" baseline="0">
                <a:solidFill>
                  <a:schemeClr val="accent6"/>
                </a:solidFill>
                <a:latin typeface="+mn-lt"/>
              </a:rPr>
              <a:t>КОНФИДЕНЦИАЛЬНАЯ ИНФОРМАЦИЯ, СОБСТВЕННОСТЬ ООО "Мак-</a:t>
            </a:r>
            <a:r>
              <a:rPr lang="ru-RU" sz="843" baseline="0" err="1">
                <a:solidFill>
                  <a:schemeClr val="accent6"/>
                </a:solidFill>
                <a:latin typeface="+mn-lt"/>
              </a:rPr>
              <a:t>Кинзи</a:t>
            </a:r>
            <a:r>
              <a:rPr lang="ru-RU" sz="843" baseline="0">
                <a:solidFill>
                  <a:schemeClr val="accent6"/>
                </a:solidFill>
                <a:latin typeface="+mn-lt"/>
              </a:rPr>
              <a:t> и Компания </a:t>
            </a:r>
            <a:r>
              <a:rPr lang="ru-RU" sz="843" baseline="0" err="1">
                <a:solidFill>
                  <a:schemeClr val="accent6"/>
                </a:solidFill>
                <a:latin typeface="+mn-lt"/>
              </a:rPr>
              <a:t>СиАйЭс</a:t>
            </a:r>
            <a:r>
              <a:rPr lang="ru-RU" sz="843" baseline="0">
                <a:solidFill>
                  <a:schemeClr val="accent6"/>
                </a:solidFill>
                <a:latin typeface="+mn-lt"/>
              </a:rPr>
              <a:t>"</a:t>
            </a:r>
            <a:r>
              <a:rPr lang="en-US" sz="843" baseline="0">
                <a:solidFill>
                  <a:schemeClr val="accent6"/>
                </a:solidFill>
                <a:latin typeface="+mn-lt"/>
              </a:rPr>
              <a:t> </a:t>
            </a:r>
            <a:endParaRPr lang="ru-RU" sz="843" baseline="0">
              <a:solidFill>
                <a:schemeClr val="accent6"/>
              </a:solidFill>
              <a:latin typeface="+mn-lt"/>
            </a:endParaRPr>
          </a:p>
          <a:p>
            <a:pPr defTabSz="1206938" eaLnBrk="0" hangingPunct="0"/>
            <a:r>
              <a:rPr lang="ru-RU" sz="843" baseline="0">
                <a:solidFill>
                  <a:schemeClr val="accent6"/>
                </a:solidFill>
                <a:latin typeface="+mn-lt"/>
              </a:rPr>
              <a:t>Любое использование этого документа без специального разрешения ООО "Мак-</a:t>
            </a:r>
            <a:r>
              <a:rPr lang="ru-RU" sz="843" baseline="0" err="1">
                <a:solidFill>
                  <a:schemeClr val="accent6"/>
                </a:solidFill>
                <a:latin typeface="+mn-lt"/>
              </a:rPr>
              <a:t>Кинзи</a:t>
            </a:r>
            <a:r>
              <a:rPr lang="ru-RU" sz="843" baseline="0">
                <a:solidFill>
                  <a:schemeClr val="accent6"/>
                </a:solidFill>
                <a:latin typeface="+mn-lt"/>
              </a:rPr>
              <a:t> и Компания </a:t>
            </a:r>
            <a:r>
              <a:rPr lang="ru-RU" sz="843" baseline="0" err="1">
                <a:solidFill>
                  <a:schemeClr val="accent6"/>
                </a:solidFill>
                <a:latin typeface="+mn-lt"/>
              </a:rPr>
              <a:t>СиАйЭс</a:t>
            </a:r>
            <a:r>
              <a:rPr lang="ru-RU" sz="843" baseline="0">
                <a:solidFill>
                  <a:schemeClr val="accent6"/>
                </a:solidFill>
                <a:latin typeface="+mn-lt"/>
              </a:rPr>
              <a:t>" строго запрещено</a:t>
            </a:r>
          </a:p>
        </p:txBody>
      </p:sp>
      <p:pic>
        <p:nvPicPr>
          <p:cNvPr id="25" name="Рисунок 8">
            <a:extLst>
              <a:ext uri="{FF2B5EF4-FFF2-40B4-BE49-F238E27FC236}">
                <a16:creationId xmlns:a16="http://schemas.microsoft.com/office/drawing/2014/main" id="{05FDDD08-2ECD-42AA-AFC2-D94992985D3D}"/>
              </a:ext>
            </a:extLst>
          </p:cNvPr>
          <p:cNvPicPr>
            <a:picLocks noChangeAspect="1"/>
          </p:cNvPicPr>
          <p:nvPr userDrawn="1"/>
        </p:nvPicPr>
        <p:blipFill rotWithShape="1">
          <a:blip r:embed="rId7"/>
          <a:srcRect l="9052" t="17331" r="8263" b="12144"/>
          <a:stretch/>
        </p:blipFill>
        <p:spPr bwMode="ltGray">
          <a:xfrm>
            <a:off x="364251" y="362420"/>
            <a:ext cx="2251075" cy="879315"/>
          </a:xfrm>
          <a:prstGeom prst="rect">
            <a:avLst/>
          </a:prstGeom>
        </p:spPr>
      </p:pic>
      <p:sp>
        <p:nvSpPr>
          <p:cNvPr id="2" name="Working Draft Text" hidden="1">
            <a:extLst>
              <a:ext uri="{FF2B5EF4-FFF2-40B4-BE49-F238E27FC236}">
                <a16:creationId xmlns:a16="http://schemas.microsoft.com/office/drawing/2014/main" id="{1D3CFC5F-4B65-4FBC-A207-253DDF38922F}"/>
              </a:ext>
            </a:extLst>
          </p:cNvPr>
          <p:cNvSpPr txBox="1"/>
          <p:nvPr userDrawn="1"/>
        </p:nvSpPr>
        <p:spPr>
          <a:xfrm>
            <a:off x="9070555" y="6999038"/>
            <a:ext cx="1016625" cy="230704"/>
          </a:xfrm>
          <a:prstGeom prst="rect">
            <a:avLst/>
          </a:prstGeom>
          <a:noFill/>
        </p:spPr>
        <p:txBody>
          <a:bodyPr vert="horz" wrap="none" rtlCol="0">
            <a:spAutoFit/>
          </a:bodyPr>
          <a:lstStyle/>
          <a:p>
            <a:r>
              <a:rPr lang="en-US" sz="899" b="1">
                <a:solidFill>
                  <a:srgbClr val="FFFFFF"/>
                </a:solidFill>
              </a:rPr>
              <a:t>WORKING DRAFT</a:t>
            </a:r>
          </a:p>
        </p:txBody>
      </p:sp>
      <p:sp>
        <p:nvSpPr>
          <p:cNvPr id="4" name="Working Draft" hidden="1">
            <a:extLst>
              <a:ext uri="{FF2B5EF4-FFF2-40B4-BE49-F238E27FC236}">
                <a16:creationId xmlns:a16="http://schemas.microsoft.com/office/drawing/2014/main" id="{658B04F9-8E42-4EEC-B0D7-327FF2E7454A}"/>
              </a:ext>
            </a:extLst>
          </p:cNvPr>
          <p:cNvSpPr txBox="1"/>
          <p:nvPr userDrawn="1"/>
        </p:nvSpPr>
        <p:spPr>
          <a:xfrm>
            <a:off x="9070554" y="7141876"/>
            <a:ext cx="2903359" cy="230704"/>
          </a:xfrm>
          <a:prstGeom prst="rect">
            <a:avLst/>
          </a:prstGeom>
          <a:noFill/>
        </p:spPr>
        <p:txBody>
          <a:bodyPr vert="horz" wrap="none" rtlCol="0">
            <a:spAutoFit/>
          </a:bodyPr>
          <a:lstStyle/>
          <a:p>
            <a:r>
              <a:rPr lang="en-US" sz="899">
                <a:solidFill>
                  <a:srgbClr val="FFFFFF"/>
                </a:solidFill>
              </a:rPr>
              <a:t>Last Modified 01.08.2019 11:51 Russia TZ 2 Standard Time</a:t>
            </a:r>
          </a:p>
        </p:txBody>
      </p:sp>
      <p:sp>
        <p:nvSpPr>
          <p:cNvPr id="6" name="Printed" hidden="1">
            <a:extLst>
              <a:ext uri="{FF2B5EF4-FFF2-40B4-BE49-F238E27FC236}">
                <a16:creationId xmlns:a16="http://schemas.microsoft.com/office/drawing/2014/main" id="{6C83CF9C-EF6C-42CE-ACFF-131BB3D3ECEC}"/>
              </a:ext>
            </a:extLst>
          </p:cNvPr>
          <p:cNvSpPr txBox="1"/>
          <p:nvPr userDrawn="1"/>
        </p:nvSpPr>
        <p:spPr>
          <a:xfrm>
            <a:off x="9070555" y="7284713"/>
            <a:ext cx="2550698" cy="230704"/>
          </a:xfrm>
          <a:prstGeom prst="rect">
            <a:avLst/>
          </a:prstGeom>
          <a:noFill/>
        </p:spPr>
        <p:txBody>
          <a:bodyPr vert="horz" wrap="none" rtlCol="0">
            <a:spAutoFit/>
          </a:bodyPr>
          <a:lstStyle/>
          <a:p>
            <a:r>
              <a:rPr lang="en-US" sz="899">
                <a:solidFill>
                  <a:srgbClr val="FFFFFF"/>
                </a:solidFill>
              </a:rPr>
              <a:t>Printed 04.07.2019 9:27 Russia TZ 2 Standard Time</a:t>
            </a:r>
          </a:p>
        </p:txBody>
      </p:sp>
    </p:spTree>
    <p:extLst>
      <p:ext uri="{BB962C8B-B14F-4D97-AF65-F5344CB8AC3E}">
        <p14:creationId xmlns:p14="http://schemas.microsoft.com/office/powerpoint/2010/main" val="367907153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matchingName="Title + text 6">
  <p:cSld name="Title + text 6">
    <p:spTree>
      <p:nvGrpSpPr>
        <p:cNvPr id="1" name="Shape 105"/>
        <p:cNvGrpSpPr/>
        <p:nvPr/>
      </p:nvGrpSpPr>
      <p:grpSpPr>
        <a:xfrm>
          <a:off x="0" y="0"/>
          <a:ext cx="0" cy="0"/>
          <a:chOff x="0" y="0"/>
          <a:chExt cx="0" cy="0"/>
        </a:xfrm>
      </p:grpSpPr>
      <p:sp>
        <p:nvSpPr>
          <p:cNvPr id="106" name="Google Shape;106;p19"/>
          <p:cNvSpPr txBox="1">
            <a:spLocks noGrp="1"/>
          </p:cNvSpPr>
          <p:nvPr>
            <p:ph type="ctrTitle"/>
          </p:nvPr>
        </p:nvSpPr>
        <p:spPr>
          <a:xfrm>
            <a:off x="1221691" y="553359"/>
            <a:ext cx="5684125" cy="3019020"/>
          </a:xfrm>
          <a:prstGeom prst="rect">
            <a:avLst/>
          </a:prstGeom>
        </p:spPr>
        <p:txBody>
          <a:bodyPr spcFirstLastPara="1" wrap="square" lIns="91425" tIns="91425" rIns="91425" bIns="91425" anchor="b" anchorCtr="0">
            <a:noAutofit/>
          </a:bodyPr>
          <a:lstStyle>
            <a:lvl1pPr lvl="0" rtl="0">
              <a:spcBef>
                <a:spcPts val="0"/>
              </a:spcBef>
              <a:spcAft>
                <a:spcPts val="0"/>
              </a:spcAft>
              <a:buSzPts val="2800"/>
              <a:buNone/>
              <a:defRPr/>
            </a:lvl1pPr>
            <a:lvl2pPr lvl="1" rtl="0">
              <a:spcBef>
                <a:spcPts val="0"/>
              </a:spcBef>
              <a:spcAft>
                <a:spcPts val="0"/>
              </a:spcAft>
              <a:buClr>
                <a:schemeClr val="lt1"/>
              </a:buClr>
              <a:buSzPts val="1600"/>
              <a:buNone/>
              <a:defRPr sz="2352">
                <a:solidFill>
                  <a:schemeClr val="lt1"/>
                </a:solidFill>
              </a:defRPr>
            </a:lvl2pPr>
            <a:lvl3pPr lvl="2" rtl="0">
              <a:spcBef>
                <a:spcPts val="0"/>
              </a:spcBef>
              <a:spcAft>
                <a:spcPts val="0"/>
              </a:spcAft>
              <a:buClr>
                <a:schemeClr val="lt1"/>
              </a:buClr>
              <a:buSzPts val="1600"/>
              <a:buNone/>
              <a:defRPr sz="2352">
                <a:solidFill>
                  <a:schemeClr val="lt1"/>
                </a:solidFill>
              </a:defRPr>
            </a:lvl3pPr>
            <a:lvl4pPr lvl="3" rtl="0">
              <a:spcBef>
                <a:spcPts val="0"/>
              </a:spcBef>
              <a:spcAft>
                <a:spcPts val="0"/>
              </a:spcAft>
              <a:buClr>
                <a:schemeClr val="lt1"/>
              </a:buClr>
              <a:buSzPts val="1600"/>
              <a:buNone/>
              <a:defRPr sz="2352">
                <a:solidFill>
                  <a:schemeClr val="lt1"/>
                </a:solidFill>
              </a:defRPr>
            </a:lvl4pPr>
            <a:lvl5pPr lvl="4" rtl="0">
              <a:spcBef>
                <a:spcPts val="0"/>
              </a:spcBef>
              <a:spcAft>
                <a:spcPts val="0"/>
              </a:spcAft>
              <a:buClr>
                <a:schemeClr val="lt1"/>
              </a:buClr>
              <a:buSzPts val="1600"/>
              <a:buNone/>
              <a:defRPr sz="2352">
                <a:solidFill>
                  <a:schemeClr val="lt1"/>
                </a:solidFill>
              </a:defRPr>
            </a:lvl5pPr>
            <a:lvl6pPr lvl="5" rtl="0">
              <a:spcBef>
                <a:spcPts val="0"/>
              </a:spcBef>
              <a:spcAft>
                <a:spcPts val="0"/>
              </a:spcAft>
              <a:buClr>
                <a:schemeClr val="lt1"/>
              </a:buClr>
              <a:buSzPts val="1600"/>
              <a:buNone/>
              <a:defRPr sz="2352">
                <a:solidFill>
                  <a:schemeClr val="lt1"/>
                </a:solidFill>
              </a:defRPr>
            </a:lvl6pPr>
            <a:lvl7pPr lvl="6" rtl="0">
              <a:spcBef>
                <a:spcPts val="0"/>
              </a:spcBef>
              <a:spcAft>
                <a:spcPts val="0"/>
              </a:spcAft>
              <a:buClr>
                <a:schemeClr val="lt1"/>
              </a:buClr>
              <a:buSzPts val="1600"/>
              <a:buNone/>
              <a:defRPr sz="2352">
                <a:solidFill>
                  <a:schemeClr val="lt1"/>
                </a:solidFill>
              </a:defRPr>
            </a:lvl7pPr>
            <a:lvl8pPr lvl="7" rtl="0">
              <a:spcBef>
                <a:spcPts val="0"/>
              </a:spcBef>
              <a:spcAft>
                <a:spcPts val="0"/>
              </a:spcAft>
              <a:buClr>
                <a:schemeClr val="lt1"/>
              </a:buClr>
              <a:buSzPts val="1600"/>
              <a:buNone/>
              <a:defRPr sz="2352">
                <a:solidFill>
                  <a:schemeClr val="lt1"/>
                </a:solidFill>
              </a:defRPr>
            </a:lvl8pPr>
            <a:lvl9pPr lvl="8" rtl="0">
              <a:spcBef>
                <a:spcPts val="0"/>
              </a:spcBef>
              <a:spcAft>
                <a:spcPts val="0"/>
              </a:spcAft>
              <a:buClr>
                <a:schemeClr val="lt1"/>
              </a:buClr>
              <a:buSzPts val="1600"/>
              <a:buNone/>
              <a:defRPr sz="2352">
                <a:solidFill>
                  <a:schemeClr val="lt1"/>
                </a:solidFill>
              </a:defRPr>
            </a:lvl9pPr>
          </a:lstStyle>
          <a:p>
            <a:endParaRPr/>
          </a:p>
        </p:txBody>
      </p:sp>
      <p:sp>
        <p:nvSpPr>
          <p:cNvPr id="107" name="Google Shape;107;p19"/>
          <p:cNvSpPr txBox="1">
            <a:spLocks noGrp="1"/>
          </p:cNvSpPr>
          <p:nvPr>
            <p:ph type="subTitle" idx="1"/>
          </p:nvPr>
        </p:nvSpPr>
        <p:spPr>
          <a:xfrm>
            <a:off x="1221691" y="3401340"/>
            <a:ext cx="4529310" cy="2622627"/>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SzPts val="1200"/>
              <a:buNone/>
              <a:defRPr/>
            </a:lvl1pPr>
            <a:lvl2pPr lvl="1" rtl="0">
              <a:lnSpc>
                <a:spcPct val="100000"/>
              </a:lnSpc>
              <a:spcBef>
                <a:spcPts val="0"/>
              </a:spcBef>
              <a:spcAft>
                <a:spcPts val="0"/>
              </a:spcAft>
              <a:buClr>
                <a:schemeClr val="lt1"/>
              </a:buClr>
              <a:buSzPts val="1200"/>
              <a:buNone/>
              <a:defRPr>
                <a:solidFill>
                  <a:schemeClr val="lt1"/>
                </a:solidFill>
              </a:defRPr>
            </a:lvl2pPr>
            <a:lvl3pPr lvl="2" rtl="0">
              <a:lnSpc>
                <a:spcPct val="100000"/>
              </a:lnSpc>
              <a:spcBef>
                <a:spcPts val="0"/>
              </a:spcBef>
              <a:spcAft>
                <a:spcPts val="0"/>
              </a:spcAft>
              <a:buClr>
                <a:schemeClr val="lt1"/>
              </a:buClr>
              <a:buSzPts val="1200"/>
              <a:buNone/>
              <a:defRPr>
                <a:solidFill>
                  <a:schemeClr val="lt1"/>
                </a:solidFill>
              </a:defRPr>
            </a:lvl3pPr>
            <a:lvl4pPr lvl="3" rtl="0">
              <a:lnSpc>
                <a:spcPct val="100000"/>
              </a:lnSpc>
              <a:spcBef>
                <a:spcPts val="0"/>
              </a:spcBef>
              <a:spcAft>
                <a:spcPts val="0"/>
              </a:spcAft>
              <a:buClr>
                <a:schemeClr val="lt1"/>
              </a:buClr>
              <a:buSzPts val="1200"/>
              <a:buNone/>
              <a:defRPr>
                <a:solidFill>
                  <a:schemeClr val="lt1"/>
                </a:solidFill>
              </a:defRPr>
            </a:lvl4pPr>
            <a:lvl5pPr lvl="4" rtl="0">
              <a:lnSpc>
                <a:spcPct val="100000"/>
              </a:lnSpc>
              <a:spcBef>
                <a:spcPts val="0"/>
              </a:spcBef>
              <a:spcAft>
                <a:spcPts val="0"/>
              </a:spcAft>
              <a:buClr>
                <a:schemeClr val="lt1"/>
              </a:buClr>
              <a:buSzPts val="1200"/>
              <a:buNone/>
              <a:defRPr>
                <a:solidFill>
                  <a:schemeClr val="lt1"/>
                </a:solidFill>
              </a:defRPr>
            </a:lvl5pPr>
            <a:lvl6pPr lvl="5" rtl="0">
              <a:lnSpc>
                <a:spcPct val="100000"/>
              </a:lnSpc>
              <a:spcBef>
                <a:spcPts val="0"/>
              </a:spcBef>
              <a:spcAft>
                <a:spcPts val="0"/>
              </a:spcAft>
              <a:buClr>
                <a:schemeClr val="lt1"/>
              </a:buClr>
              <a:buSzPts val="1200"/>
              <a:buNone/>
              <a:defRPr>
                <a:solidFill>
                  <a:schemeClr val="lt1"/>
                </a:solidFill>
              </a:defRPr>
            </a:lvl6pPr>
            <a:lvl7pPr lvl="6" rtl="0">
              <a:lnSpc>
                <a:spcPct val="100000"/>
              </a:lnSpc>
              <a:spcBef>
                <a:spcPts val="0"/>
              </a:spcBef>
              <a:spcAft>
                <a:spcPts val="0"/>
              </a:spcAft>
              <a:buClr>
                <a:schemeClr val="lt1"/>
              </a:buClr>
              <a:buSzPts val="1200"/>
              <a:buNone/>
              <a:defRPr>
                <a:solidFill>
                  <a:schemeClr val="lt1"/>
                </a:solidFill>
              </a:defRPr>
            </a:lvl7pPr>
            <a:lvl8pPr lvl="7" rtl="0">
              <a:lnSpc>
                <a:spcPct val="100000"/>
              </a:lnSpc>
              <a:spcBef>
                <a:spcPts val="0"/>
              </a:spcBef>
              <a:spcAft>
                <a:spcPts val="0"/>
              </a:spcAft>
              <a:buClr>
                <a:schemeClr val="lt1"/>
              </a:buClr>
              <a:buSzPts val="1200"/>
              <a:buNone/>
              <a:defRPr>
                <a:solidFill>
                  <a:schemeClr val="lt1"/>
                </a:solidFill>
              </a:defRPr>
            </a:lvl8pPr>
            <a:lvl9pPr lvl="8" rtl="0">
              <a:lnSpc>
                <a:spcPct val="100000"/>
              </a:lnSpc>
              <a:spcBef>
                <a:spcPts val="0"/>
              </a:spcBef>
              <a:spcAft>
                <a:spcPts val="0"/>
              </a:spcAft>
              <a:buClr>
                <a:schemeClr val="lt1"/>
              </a:buClr>
              <a:buSzPts val="1200"/>
              <a:buNone/>
              <a:defRPr>
                <a:solidFill>
                  <a:schemeClr val="lt1"/>
                </a:solidFill>
              </a:defRPr>
            </a:lvl9pPr>
          </a:lstStyle>
          <a:p>
            <a:endParaRPr/>
          </a:p>
        </p:txBody>
      </p:sp>
      <p:sp>
        <p:nvSpPr>
          <p:cNvPr id="5" name="Google Shape;2389;p57">
            <a:extLst>
              <a:ext uri="{FF2B5EF4-FFF2-40B4-BE49-F238E27FC236}">
                <a16:creationId xmlns:a16="http://schemas.microsoft.com/office/drawing/2014/main" id="{926607BF-2864-28D5-6EF1-01021017BD3D}"/>
              </a:ext>
            </a:extLst>
          </p:cNvPr>
          <p:cNvSpPr/>
          <p:nvPr userDrawn="1"/>
        </p:nvSpPr>
        <p:spPr>
          <a:xfrm>
            <a:off x="5076825" y="895810"/>
            <a:ext cx="8220075" cy="5011059"/>
          </a:xfrm>
          <a:custGeom>
            <a:avLst/>
            <a:gdLst/>
            <a:ahLst/>
            <a:cxnLst/>
            <a:rect l="l" t="t" r="r" b="b"/>
            <a:pathLst>
              <a:path w="9501" h="5922" extrusionOk="0">
                <a:moveTo>
                  <a:pt x="5064" y="0"/>
                </a:moveTo>
                <a:lnTo>
                  <a:pt x="4960" y="84"/>
                </a:lnTo>
                <a:lnTo>
                  <a:pt x="5002" y="209"/>
                </a:lnTo>
                <a:lnTo>
                  <a:pt x="4855" y="230"/>
                </a:lnTo>
                <a:lnTo>
                  <a:pt x="4751" y="209"/>
                </a:lnTo>
                <a:lnTo>
                  <a:pt x="4730" y="209"/>
                </a:lnTo>
                <a:lnTo>
                  <a:pt x="4500" y="272"/>
                </a:lnTo>
                <a:lnTo>
                  <a:pt x="4332" y="293"/>
                </a:lnTo>
                <a:lnTo>
                  <a:pt x="4228" y="502"/>
                </a:lnTo>
                <a:lnTo>
                  <a:pt x="4228" y="712"/>
                </a:lnTo>
                <a:lnTo>
                  <a:pt x="4102" y="712"/>
                </a:lnTo>
                <a:lnTo>
                  <a:pt x="3997" y="628"/>
                </a:lnTo>
                <a:lnTo>
                  <a:pt x="3851" y="691"/>
                </a:lnTo>
                <a:lnTo>
                  <a:pt x="3746" y="607"/>
                </a:lnTo>
                <a:lnTo>
                  <a:pt x="3642" y="628"/>
                </a:lnTo>
                <a:lnTo>
                  <a:pt x="3537" y="753"/>
                </a:lnTo>
                <a:lnTo>
                  <a:pt x="3432" y="732"/>
                </a:lnTo>
                <a:lnTo>
                  <a:pt x="3391" y="607"/>
                </a:lnTo>
                <a:lnTo>
                  <a:pt x="3244" y="607"/>
                </a:lnTo>
                <a:lnTo>
                  <a:pt x="3056" y="712"/>
                </a:lnTo>
                <a:lnTo>
                  <a:pt x="2972" y="649"/>
                </a:lnTo>
                <a:lnTo>
                  <a:pt x="2805" y="628"/>
                </a:lnTo>
                <a:lnTo>
                  <a:pt x="2763" y="691"/>
                </a:lnTo>
                <a:lnTo>
                  <a:pt x="2700" y="691"/>
                </a:lnTo>
                <a:lnTo>
                  <a:pt x="2595" y="607"/>
                </a:lnTo>
                <a:lnTo>
                  <a:pt x="2386" y="691"/>
                </a:lnTo>
                <a:lnTo>
                  <a:pt x="2344" y="628"/>
                </a:lnTo>
                <a:lnTo>
                  <a:pt x="2219" y="544"/>
                </a:lnTo>
                <a:lnTo>
                  <a:pt x="1884" y="502"/>
                </a:lnTo>
                <a:lnTo>
                  <a:pt x="1759" y="419"/>
                </a:lnTo>
                <a:lnTo>
                  <a:pt x="1675" y="419"/>
                </a:lnTo>
                <a:lnTo>
                  <a:pt x="1570" y="523"/>
                </a:lnTo>
                <a:lnTo>
                  <a:pt x="1382" y="523"/>
                </a:lnTo>
                <a:lnTo>
                  <a:pt x="963" y="586"/>
                </a:lnTo>
                <a:lnTo>
                  <a:pt x="859" y="628"/>
                </a:lnTo>
                <a:lnTo>
                  <a:pt x="671" y="544"/>
                </a:lnTo>
                <a:lnTo>
                  <a:pt x="608" y="544"/>
                </a:lnTo>
                <a:lnTo>
                  <a:pt x="566" y="649"/>
                </a:lnTo>
                <a:lnTo>
                  <a:pt x="608" y="921"/>
                </a:lnTo>
                <a:lnTo>
                  <a:pt x="650" y="1004"/>
                </a:lnTo>
                <a:lnTo>
                  <a:pt x="733" y="1151"/>
                </a:lnTo>
                <a:lnTo>
                  <a:pt x="859" y="1235"/>
                </a:lnTo>
                <a:lnTo>
                  <a:pt x="817" y="1318"/>
                </a:lnTo>
                <a:lnTo>
                  <a:pt x="838" y="1381"/>
                </a:lnTo>
                <a:lnTo>
                  <a:pt x="880" y="1465"/>
                </a:lnTo>
                <a:lnTo>
                  <a:pt x="838" y="1653"/>
                </a:lnTo>
                <a:lnTo>
                  <a:pt x="754" y="1653"/>
                </a:lnTo>
                <a:lnTo>
                  <a:pt x="650" y="1737"/>
                </a:lnTo>
                <a:lnTo>
                  <a:pt x="629" y="1904"/>
                </a:lnTo>
                <a:lnTo>
                  <a:pt x="252" y="2302"/>
                </a:lnTo>
                <a:lnTo>
                  <a:pt x="294" y="2469"/>
                </a:lnTo>
                <a:lnTo>
                  <a:pt x="294" y="2637"/>
                </a:lnTo>
                <a:lnTo>
                  <a:pt x="147" y="2616"/>
                </a:lnTo>
                <a:lnTo>
                  <a:pt x="43" y="2888"/>
                </a:lnTo>
                <a:lnTo>
                  <a:pt x="22" y="3097"/>
                </a:lnTo>
                <a:lnTo>
                  <a:pt x="1" y="3097"/>
                </a:lnTo>
                <a:lnTo>
                  <a:pt x="126" y="3222"/>
                </a:lnTo>
                <a:lnTo>
                  <a:pt x="294" y="3327"/>
                </a:lnTo>
                <a:lnTo>
                  <a:pt x="315" y="3432"/>
                </a:lnTo>
                <a:lnTo>
                  <a:pt x="440" y="3432"/>
                </a:lnTo>
                <a:lnTo>
                  <a:pt x="524" y="3348"/>
                </a:lnTo>
                <a:lnTo>
                  <a:pt x="629" y="3348"/>
                </a:lnTo>
                <a:lnTo>
                  <a:pt x="838" y="3453"/>
                </a:lnTo>
                <a:lnTo>
                  <a:pt x="984" y="3473"/>
                </a:lnTo>
                <a:lnTo>
                  <a:pt x="1152" y="3536"/>
                </a:lnTo>
                <a:lnTo>
                  <a:pt x="1194" y="3641"/>
                </a:lnTo>
                <a:lnTo>
                  <a:pt x="1340" y="3683"/>
                </a:lnTo>
                <a:lnTo>
                  <a:pt x="1487" y="3641"/>
                </a:lnTo>
                <a:lnTo>
                  <a:pt x="1612" y="3641"/>
                </a:lnTo>
                <a:lnTo>
                  <a:pt x="1717" y="3515"/>
                </a:lnTo>
                <a:lnTo>
                  <a:pt x="2114" y="3453"/>
                </a:lnTo>
                <a:lnTo>
                  <a:pt x="2240" y="3369"/>
                </a:lnTo>
                <a:lnTo>
                  <a:pt x="2386" y="3348"/>
                </a:lnTo>
                <a:lnTo>
                  <a:pt x="2344" y="3201"/>
                </a:lnTo>
                <a:lnTo>
                  <a:pt x="2386" y="3139"/>
                </a:lnTo>
                <a:lnTo>
                  <a:pt x="2344" y="2992"/>
                </a:lnTo>
                <a:lnTo>
                  <a:pt x="2428" y="3013"/>
                </a:lnTo>
                <a:lnTo>
                  <a:pt x="2449" y="2992"/>
                </a:lnTo>
                <a:lnTo>
                  <a:pt x="2554" y="3034"/>
                </a:lnTo>
                <a:lnTo>
                  <a:pt x="2616" y="2992"/>
                </a:lnTo>
                <a:lnTo>
                  <a:pt x="2742" y="2992"/>
                </a:lnTo>
                <a:lnTo>
                  <a:pt x="2763" y="2929"/>
                </a:lnTo>
                <a:lnTo>
                  <a:pt x="2867" y="3055"/>
                </a:lnTo>
                <a:lnTo>
                  <a:pt x="3014" y="3055"/>
                </a:lnTo>
                <a:lnTo>
                  <a:pt x="3181" y="3243"/>
                </a:lnTo>
                <a:lnTo>
                  <a:pt x="3370" y="3243"/>
                </a:lnTo>
                <a:lnTo>
                  <a:pt x="3391" y="3201"/>
                </a:lnTo>
                <a:lnTo>
                  <a:pt x="3453" y="3201"/>
                </a:lnTo>
                <a:lnTo>
                  <a:pt x="3642" y="3369"/>
                </a:lnTo>
                <a:lnTo>
                  <a:pt x="3788" y="3453"/>
                </a:lnTo>
                <a:lnTo>
                  <a:pt x="3809" y="3641"/>
                </a:lnTo>
                <a:lnTo>
                  <a:pt x="3809" y="3787"/>
                </a:lnTo>
                <a:lnTo>
                  <a:pt x="3956" y="3850"/>
                </a:lnTo>
                <a:lnTo>
                  <a:pt x="3956" y="3892"/>
                </a:lnTo>
                <a:lnTo>
                  <a:pt x="4102" y="4038"/>
                </a:lnTo>
                <a:lnTo>
                  <a:pt x="4269" y="4143"/>
                </a:lnTo>
                <a:lnTo>
                  <a:pt x="4290" y="4248"/>
                </a:lnTo>
                <a:lnTo>
                  <a:pt x="4269" y="4352"/>
                </a:lnTo>
                <a:lnTo>
                  <a:pt x="4332" y="4457"/>
                </a:lnTo>
                <a:lnTo>
                  <a:pt x="4311" y="4499"/>
                </a:lnTo>
                <a:lnTo>
                  <a:pt x="4123" y="4499"/>
                </a:lnTo>
                <a:lnTo>
                  <a:pt x="4060" y="4415"/>
                </a:lnTo>
                <a:lnTo>
                  <a:pt x="3893" y="4478"/>
                </a:lnTo>
                <a:lnTo>
                  <a:pt x="3788" y="4478"/>
                </a:lnTo>
                <a:lnTo>
                  <a:pt x="3767" y="4687"/>
                </a:lnTo>
                <a:lnTo>
                  <a:pt x="3767" y="4834"/>
                </a:lnTo>
                <a:lnTo>
                  <a:pt x="3704" y="4813"/>
                </a:lnTo>
                <a:lnTo>
                  <a:pt x="3600" y="5022"/>
                </a:lnTo>
                <a:lnTo>
                  <a:pt x="3600" y="5126"/>
                </a:lnTo>
                <a:lnTo>
                  <a:pt x="3495" y="5106"/>
                </a:lnTo>
                <a:lnTo>
                  <a:pt x="3432" y="5147"/>
                </a:lnTo>
                <a:lnTo>
                  <a:pt x="3537" y="5315"/>
                </a:lnTo>
                <a:lnTo>
                  <a:pt x="3684" y="5357"/>
                </a:lnTo>
                <a:lnTo>
                  <a:pt x="3893" y="5357"/>
                </a:lnTo>
                <a:lnTo>
                  <a:pt x="3976" y="5294"/>
                </a:lnTo>
                <a:lnTo>
                  <a:pt x="4165" y="5294"/>
                </a:lnTo>
                <a:lnTo>
                  <a:pt x="4269" y="5357"/>
                </a:lnTo>
                <a:lnTo>
                  <a:pt x="4290" y="5252"/>
                </a:lnTo>
                <a:lnTo>
                  <a:pt x="4228" y="5189"/>
                </a:lnTo>
                <a:lnTo>
                  <a:pt x="4228" y="5106"/>
                </a:lnTo>
                <a:lnTo>
                  <a:pt x="4228" y="5022"/>
                </a:lnTo>
                <a:lnTo>
                  <a:pt x="4290" y="5106"/>
                </a:lnTo>
                <a:lnTo>
                  <a:pt x="4374" y="5106"/>
                </a:lnTo>
                <a:lnTo>
                  <a:pt x="4583" y="4834"/>
                </a:lnTo>
                <a:lnTo>
                  <a:pt x="4541" y="4771"/>
                </a:lnTo>
                <a:lnTo>
                  <a:pt x="4604" y="4771"/>
                </a:lnTo>
                <a:lnTo>
                  <a:pt x="4730" y="4603"/>
                </a:lnTo>
                <a:lnTo>
                  <a:pt x="4730" y="4478"/>
                </a:lnTo>
                <a:lnTo>
                  <a:pt x="4813" y="4394"/>
                </a:lnTo>
                <a:lnTo>
                  <a:pt x="4939" y="4394"/>
                </a:lnTo>
                <a:lnTo>
                  <a:pt x="5064" y="4269"/>
                </a:lnTo>
                <a:lnTo>
                  <a:pt x="5127" y="4310"/>
                </a:lnTo>
                <a:lnTo>
                  <a:pt x="5127" y="4352"/>
                </a:lnTo>
                <a:lnTo>
                  <a:pt x="5232" y="4352"/>
                </a:lnTo>
                <a:lnTo>
                  <a:pt x="5274" y="4289"/>
                </a:lnTo>
                <a:lnTo>
                  <a:pt x="5336" y="4206"/>
                </a:lnTo>
                <a:lnTo>
                  <a:pt x="5357" y="4269"/>
                </a:lnTo>
                <a:lnTo>
                  <a:pt x="5441" y="4310"/>
                </a:lnTo>
                <a:lnTo>
                  <a:pt x="5525" y="4352"/>
                </a:lnTo>
                <a:lnTo>
                  <a:pt x="5692" y="4310"/>
                </a:lnTo>
                <a:lnTo>
                  <a:pt x="5567" y="4373"/>
                </a:lnTo>
                <a:lnTo>
                  <a:pt x="5483" y="4415"/>
                </a:lnTo>
                <a:lnTo>
                  <a:pt x="5378" y="4394"/>
                </a:lnTo>
                <a:lnTo>
                  <a:pt x="5211" y="4415"/>
                </a:lnTo>
                <a:lnTo>
                  <a:pt x="5064" y="4415"/>
                </a:lnTo>
                <a:lnTo>
                  <a:pt x="5127" y="4478"/>
                </a:lnTo>
                <a:lnTo>
                  <a:pt x="5336" y="4478"/>
                </a:lnTo>
                <a:lnTo>
                  <a:pt x="5483" y="4561"/>
                </a:lnTo>
                <a:lnTo>
                  <a:pt x="5462" y="4582"/>
                </a:lnTo>
                <a:lnTo>
                  <a:pt x="5420" y="4624"/>
                </a:lnTo>
                <a:lnTo>
                  <a:pt x="5483" y="4708"/>
                </a:lnTo>
                <a:lnTo>
                  <a:pt x="5567" y="4708"/>
                </a:lnTo>
                <a:lnTo>
                  <a:pt x="5671" y="4771"/>
                </a:lnTo>
                <a:lnTo>
                  <a:pt x="5797" y="4708"/>
                </a:lnTo>
                <a:lnTo>
                  <a:pt x="5943" y="4687"/>
                </a:lnTo>
                <a:lnTo>
                  <a:pt x="6069" y="4729"/>
                </a:lnTo>
                <a:lnTo>
                  <a:pt x="6173" y="4792"/>
                </a:lnTo>
                <a:lnTo>
                  <a:pt x="6194" y="4708"/>
                </a:lnTo>
                <a:lnTo>
                  <a:pt x="6257" y="4729"/>
                </a:lnTo>
                <a:lnTo>
                  <a:pt x="6278" y="4875"/>
                </a:lnTo>
                <a:lnTo>
                  <a:pt x="6362" y="4938"/>
                </a:lnTo>
                <a:lnTo>
                  <a:pt x="6299" y="4980"/>
                </a:lnTo>
                <a:lnTo>
                  <a:pt x="6111" y="5022"/>
                </a:lnTo>
                <a:lnTo>
                  <a:pt x="5943" y="5126"/>
                </a:lnTo>
                <a:lnTo>
                  <a:pt x="5797" y="5315"/>
                </a:lnTo>
                <a:lnTo>
                  <a:pt x="5901" y="5357"/>
                </a:lnTo>
                <a:lnTo>
                  <a:pt x="5985" y="5294"/>
                </a:lnTo>
                <a:lnTo>
                  <a:pt x="6111" y="5357"/>
                </a:lnTo>
                <a:lnTo>
                  <a:pt x="6173" y="5336"/>
                </a:lnTo>
                <a:lnTo>
                  <a:pt x="6362" y="5503"/>
                </a:lnTo>
                <a:lnTo>
                  <a:pt x="6383" y="5566"/>
                </a:lnTo>
                <a:lnTo>
                  <a:pt x="6299" y="5775"/>
                </a:lnTo>
                <a:lnTo>
                  <a:pt x="6278" y="5838"/>
                </a:lnTo>
                <a:lnTo>
                  <a:pt x="6383" y="5922"/>
                </a:lnTo>
                <a:lnTo>
                  <a:pt x="6592" y="5922"/>
                </a:lnTo>
                <a:lnTo>
                  <a:pt x="6780" y="5817"/>
                </a:lnTo>
                <a:lnTo>
                  <a:pt x="7031" y="5629"/>
                </a:lnTo>
                <a:lnTo>
                  <a:pt x="7220" y="5629"/>
                </a:lnTo>
                <a:lnTo>
                  <a:pt x="7324" y="5503"/>
                </a:lnTo>
                <a:lnTo>
                  <a:pt x="7450" y="5419"/>
                </a:lnTo>
                <a:lnTo>
                  <a:pt x="7680" y="5440"/>
                </a:lnTo>
                <a:lnTo>
                  <a:pt x="7889" y="5440"/>
                </a:lnTo>
                <a:lnTo>
                  <a:pt x="7952" y="5336"/>
                </a:lnTo>
                <a:lnTo>
                  <a:pt x="7889" y="5231"/>
                </a:lnTo>
                <a:lnTo>
                  <a:pt x="7952" y="5210"/>
                </a:lnTo>
                <a:lnTo>
                  <a:pt x="7994" y="5126"/>
                </a:lnTo>
                <a:lnTo>
                  <a:pt x="7847" y="5106"/>
                </a:lnTo>
                <a:lnTo>
                  <a:pt x="7659" y="5126"/>
                </a:lnTo>
                <a:lnTo>
                  <a:pt x="7638" y="5252"/>
                </a:lnTo>
                <a:lnTo>
                  <a:pt x="7513" y="5189"/>
                </a:lnTo>
                <a:lnTo>
                  <a:pt x="7450" y="5189"/>
                </a:lnTo>
                <a:lnTo>
                  <a:pt x="7345" y="5294"/>
                </a:lnTo>
                <a:lnTo>
                  <a:pt x="7303" y="5252"/>
                </a:lnTo>
                <a:lnTo>
                  <a:pt x="7010" y="4938"/>
                </a:lnTo>
                <a:lnTo>
                  <a:pt x="6948" y="4813"/>
                </a:lnTo>
                <a:lnTo>
                  <a:pt x="6885" y="4687"/>
                </a:lnTo>
                <a:lnTo>
                  <a:pt x="6822" y="4708"/>
                </a:lnTo>
                <a:lnTo>
                  <a:pt x="6885" y="4875"/>
                </a:lnTo>
                <a:lnTo>
                  <a:pt x="7094" y="5106"/>
                </a:lnTo>
                <a:lnTo>
                  <a:pt x="7261" y="5294"/>
                </a:lnTo>
                <a:lnTo>
                  <a:pt x="7220" y="5315"/>
                </a:lnTo>
                <a:lnTo>
                  <a:pt x="7094" y="5294"/>
                </a:lnTo>
                <a:lnTo>
                  <a:pt x="7031" y="5210"/>
                </a:lnTo>
                <a:lnTo>
                  <a:pt x="7010" y="5085"/>
                </a:lnTo>
                <a:lnTo>
                  <a:pt x="6927" y="5043"/>
                </a:lnTo>
                <a:lnTo>
                  <a:pt x="6885" y="5106"/>
                </a:lnTo>
                <a:lnTo>
                  <a:pt x="6885" y="5022"/>
                </a:lnTo>
                <a:lnTo>
                  <a:pt x="6822" y="5022"/>
                </a:lnTo>
                <a:lnTo>
                  <a:pt x="6780" y="5043"/>
                </a:lnTo>
                <a:lnTo>
                  <a:pt x="6780" y="5001"/>
                </a:lnTo>
                <a:lnTo>
                  <a:pt x="6822" y="4917"/>
                </a:lnTo>
                <a:lnTo>
                  <a:pt x="6801" y="4875"/>
                </a:lnTo>
                <a:lnTo>
                  <a:pt x="6717" y="4896"/>
                </a:lnTo>
                <a:lnTo>
                  <a:pt x="6676" y="4834"/>
                </a:lnTo>
                <a:lnTo>
                  <a:pt x="6592" y="4771"/>
                </a:lnTo>
                <a:lnTo>
                  <a:pt x="6404" y="4792"/>
                </a:lnTo>
                <a:lnTo>
                  <a:pt x="6320" y="4729"/>
                </a:lnTo>
                <a:lnTo>
                  <a:pt x="6362" y="4687"/>
                </a:lnTo>
                <a:lnTo>
                  <a:pt x="6487" y="4708"/>
                </a:lnTo>
                <a:lnTo>
                  <a:pt x="6529" y="4624"/>
                </a:lnTo>
                <a:lnTo>
                  <a:pt x="6634" y="4708"/>
                </a:lnTo>
                <a:lnTo>
                  <a:pt x="6738" y="4708"/>
                </a:lnTo>
                <a:lnTo>
                  <a:pt x="6780" y="4624"/>
                </a:lnTo>
                <a:lnTo>
                  <a:pt x="6885" y="4603"/>
                </a:lnTo>
                <a:lnTo>
                  <a:pt x="7052" y="4415"/>
                </a:lnTo>
                <a:lnTo>
                  <a:pt x="7052" y="4373"/>
                </a:lnTo>
                <a:lnTo>
                  <a:pt x="7136" y="4394"/>
                </a:lnTo>
                <a:lnTo>
                  <a:pt x="7136" y="4457"/>
                </a:lnTo>
                <a:lnTo>
                  <a:pt x="7031" y="4582"/>
                </a:lnTo>
                <a:lnTo>
                  <a:pt x="6989" y="4603"/>
                </a:lnTo>
                <a:lnTo>
                  <a:pt x="7010" y="4666"/>
                </a:lnTo>
                <a:lnTo>
                  <a:pt x="7094" y="4624"/>
                </a:lnTo>
                <a:lnTo>
                  <a:pt x="7220" y="4457"/>
                </a:lnTo>
                <a:lnTo>
                  <a:pt x="7241" y="4373"/>
                </a:lnTo>
                <a:lnTo>
                  <a:pt x="7157" y="4289"/>
                </a:lnTo>
                <a:lnTo>
                  <a:pt x="7136" y="4248"/>
                </a:lnTo>
                <a:lnTo>
                  <a:pt x="7199" y="4206"/>
                </a:lnTo>
                <a:lnTo>
                  <a:pt x="7261" y="4352"/>
                </a:lnTo>
                <a:lnTo>
                  <a:pt x="7345" y="4373"/>
                </a:lnTo>
                <a:lnTo>
                  <a:pt x="7450" y="4289"/>
                </a:lnTo>
                <a:lnTo>
                  <a:pt x="7617" y="4310"/>
                </a:lnTo>
                <a:lnTo>
                  <a:pt x="7722" y="4248"/>
                </a:lnTo>
                <a:lnTo>
                  <a:pt x="7868" y="4248"/>
                </a:lnTo>
                <a:lnTo>
                  <a:pt x="7973" y="4101"/>
                </a:lnTo>
                <a:lnTo>
                  <a:pt x="8057" y="4038"/>
                </a:lnTo>
                <a:lnTo>
                  <a:pt x="8182" y="4038"/>
                </a:lnTo>
                <a:lnTo>
                  <a:pt x="8203" y="3934"/>
                </a:lnTo>
                <a:lnTo>
                  <a:pt x="8287" y="3871"/>
                </a:lnTo>
                <a:lnTo>
                  <a:pt x="8454" y="3871"/>
                </a:lnTo>
                <a:lnTo>
                  <a:pt x="8580" y="3829"/>
                </a:lnTo>
                <a:lnTo>
                  <a:pt x="8663" y="3829"/>
                </a:lnTo>
                <a:lnTo>
                  <a:pt x="8663" y="3892"/>
                </a:lnTo>
                <a:lnTo>
                  <a:pt x="8768" y="3850"/>
                </a:lnTo>
                <a:lnTo>
                  <a:pt x="8789" y="3578"/>
                </a:lnTo>
                <a:lnTo>
                  <a:pt x="8873" y="3557"/>
                </a:lnTo>
                <a:lnTo>
                  <a:pt x="8998" y="3348"/>
                </a:lnTo>
                <a:lnTo>
                  <a:pt x="9291" y="3327"/>
                </a:lnTo>
                <a:lnTo>
                  <a:pt x="9396" y="3243"/>
                </a:lnTo>
                <a:lnTo>
                  <a:pt x="9354" y="3118"/>
                </a:lnTo>
                <a:lnTo>
                  <a:pt x="9438" y="2909"/>
                </a:lnTo>
                <a:lnTo>
                  <a:pt x="9417" y="2720"/>
                </a:lnTo>
                <a:lnTo>
                  <a:pt x="9228" y="2616"/>
                </a:lnTo>
                <a:lnTo>
                  <a:pt x="9291" y="2365"/>
                </a:lnTo>
                <a:lnTo>
                  <a:pt x="9396" y="2323"/>
                </a:lnTo>
                <a:lnTo>
                  <a:pt x="9500" y="2197"/>
                </a:lnTo>
                <a:lnTo>
                  <a:pt x="9500" y="2072"/>
                </a:lnTo>
                <a:lnTo>
                  <a:pt x="9417" y="2009"/>
                </a:lnTo>
                <a:lnTo>
                  <a:pt x="9354" y="1883"/>
                </a:lnTo>
                <a:lnTo>
                  <a:pt x="9291" y="1967"/>
                </a:lnTo>
                <a:lnTo>
                  <a:pt x="9103" y="1946"/>
                </a:lnTo>
                <a:lnTo>
                  <a:pt x="8935" y="1841"/>
                </a:lnTo>
                <a:lnTo>
                  <a:pt x="8810" y="1862"/>
                </a:lnTo>
                <a:lnTo>
                  <a:pt x="8705" y="1800"/>
                </a:lnTo>
                <a:lnTo>
                  <a:pt x="8559" y="1779"/>
                </a:lnTo>
                <a:lnTo>
                  <a:pt x="8349" y="1758"/>
                </a:lnTo>
                <a:lnTo>
                  <a:pt x="8266" y="1841"/>
                </a:lnTo>
                <a:lnTo>
                  <a:pt x="8203" y="1695"/>
                </a:lnTo>
                <a:lnTo>
                  <a:pt x="8057" y="1590"/>
                </a:lnTo>
                <a:lnTo>
                  <a:pt x="7931" y="1318"/>
                </a:lnTo>
                <a:lnTo>
                  <a:pt x="7826" y="1339"/>
                </a:lnTo>
                <a:lnTo>
                  <a:pt x="7638" y="1465"/>
                </a:lnTo>
                <a:lnTo>
                  <a:pt x="7513" y="1444"/>
                </a:lnTo>
                <a:lnTo>
                  <a:pt x="7366" y="1486"/>
                </a:lnTo>
                <a:lnTo>
                  <a:pt x="7220" y="1423"/>
                </a:lnTo>
                <a:lnTo>
                  <a:pt x="7115" y="1528"/>
                </a:lnTo>
                <a:lnTo>
                  <a:pt x="6843" y="1256"/>
                </a:lnTo>
                <a:lnTo>
                  <a:pt x="6780" y="1067"/>
                </a:lnTo>
                <a:lnTo>
                  <a:pt x="6780" y="921"/>
                </a:lnTo>
                <a:lnTo>
                  <a:pt x="6676" y="921"/>
                </a:lnTo>
                <a:lnTo>
                  <a:pt x="6676" y="795"/>
                </a:lnTo>
                <a:lnTo>
                  <a:pt x="6529" y="691"/>
                </a:lnTo>
                <a:lnTo>
                  <a:pt x="6215" y="732"/>
                </a:lnTo>
                <a:lnTo>
                  <a:pt x="6069" y="523"/>
                </a:lnTo>
                <a:lnTo>
                  <a:pt x="6111" y="398"/>
                </a:lnTo>
                <a:lnTo>
                  <a:pt x="6006" y="293"/>
                </a:lnTo>
                <a:lnTo>
                  <a:pt x="5901" y="21"/>
                </a:lnTo>
                <a:lnTo>
                  <a:pt x="5776" y="21"/>
                </a:lnTo>
                <a:lnTo>
                  <a:pt x="5650" y="105"/>
                </a:lnTo>
                <a:lnTo>
                  <a:pt x="5357" y="105"/>
                </a:lnTo>
                <a:lnTo>
                  <a:pt x="5064" y="0"/>
                </a:lnTo>
                <a:close/>
              </a:path>
            </a:pathLst>
          </a:custGeom>
          <a:solidFill>
            <a:srgbClr val="D9D9D9">
              <a:alpha val="60000"/>
            </a:srgbClr>
          </a:solidFill>
          <a:ln>
            <a:noFill/>
          </a:ln>
        </p:spPr>
        <p:txBody>
          <a:bodyPr spcFirstLastPara="1" wrap="square" lIns="134372" tIns="134372" rIns="134372" bIns="134372" anchor="ctr" anchorCtr="0">
            <a:noAutofit/>
          </a:bodyPr>
          <a:lstStyle/>
          <a:p>
            <a:pPr defTabSz="1343985">
              <a:buClr>
                <a:srgbClr val="000000"/>
              </a:buClr>
            </a:pPr>
            <a:endParaRPr sz="2058" kern="0">
              <a:solidFill>
                <a:srgbClr val="000000"/>
              </a:solidFill>
              <a:cs typeface="Arial"/>
              <a:sym typeface="Arial"/>
            </a:endParaRPr>
          </a:p>
        </p:txBody>
      </p:sp>
      <p:sp>
        <p:nvSpPr>
          <p:cNvPr id="4" name="Прямоугольник 3">
            <a:extLst>
              <a:ext uri="{FF2B5EF4-FFF2-40B4-BE49-F238E27FC236}">
                <a16:creationId xmlns:a16="http://schemas.microsoft.com/office/drawing/2014/main" id="{EF1E504E-06C7-EE76-291C-D2E23BE67DDE}"/>
              </a:ext>
            </a:extLst>
          </p:cNvPr>
          <p:cNvSpPr/>
          <p:nvPr userDrawn="1"/>
        </p:nvSpPr>
        <p:spPr>
          <a:xfrm>
            <a:off x="457200" y="0"/>
            <a:ext cx="755374" cy="4999383"/>
          </a:xfrm>
          <a:prstGeom prst="rect">
            <a:avLst/>
          </a:prstGeom>
          <a:solidFill>
            <a:srgbClr val="FEE5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376905754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4_Заголовок и объект">
    <p:spTree>
      <p:nvGrpSpPr>
        <p:cNvPr id="1" name=""/>
        <p:cNvGrpSpPr/>
        <p:nvPr/>
      </p:nvGrpSpPr>
      <p:grpSpPr>
        <a:xfrm>
          <a:off x="0" y="0"/>
          <a:ext cx="0" cy="0"/>
          <a:chOff x="0" y="0"/>
          <a:chExt cx="0" cy="0"/>
        </a:xfrm>
      </p:grpSpPr>
      <p:sp>
        <p:nvSpPr>
          <p:cNvPr id="4" name="Title 9"/>
          <p:cNvSpPr>
            <a:spLocks noGrp="1"/>
          </p:cNvSpPr>
          <p:nvPr>
            <p:ph type="title" hasCustomPrompt="1"/>
          </p:nvPr>
        </p:nvSpPr>
        <p:spPr>
          <a:xfrm>
            <a:off x="562553" y="441553"/>
            <a:ext cx="11053045" cy="415146"/>
          </a:xfrm>
          <a:prstGeom prst="rect">
            <a:avLst/>
          </a:prstGeom>
        </p:spPr>
        <p:txBody>
          <a:bodyPr>
            <a:noAutofit/>
          </a:bodyPr>
          <a:lstStyle>
            <a:lvl1pPr>
              <a:defRPr sz="2597" b="1" baseline="0">
                <a:solidFill>
                  <a:srgbClr val="000000"/>
                </a:solidFill>
                <a:latin typeface="+mj-lt"/>
              </a:defRPr>
            </a:lvl1pPr>
          </a:lstStyle>
          <a:p>
            <a:r>
              <a:rPr lang="uk-UA"/>
              <a:t>Заголовок слайда</a:t>
            </a:r>
            <a:endParaRPr lang="ru-RU"/>
          </a:p>
        </p:txBody>
      </p:sp>
      <p:sp>
        <p:nvSpPr>
          <p:cNvPr id="6" name="Содержимое 2"/>
          <p:cNvSpPr>
            <a:spLocks noGrp="1"/>
          </p:cNvSpPr>
          <p:nvPr>
            <p:ph idx="1"/>
          </p:nvPr>
        </p:nvSpPr>
        <p:spPr>
          <a:xfrm>
            <a:off x="552702" y="952186"/>
            <a:ext cx="12411865" cy="5830641"/>
          </a:xfrm>
          <a:prstGeom prst="rect">
            <a:avLst/>
          </a:prstGeom>
        </p:spPr>
        <p:txBody>
          <a:bodyPr/>
          <a:lstStyle>
            <a:lvl1pPr>
              <a:defRPr sz="2396">
                <a:solidFill>
                  <a:srgbClr val="000000"/>
                </a:solidFill>
                <a:latin typeface="+mn-lt"/>
              </a:defRPr>
            </a:lvl1pPr>
            <a:lvl2pPr>
              <a:defRPr sz="2004">
                <a:solidFill>
                  <a:srgbClr val="000000"/>
                </a:solidFill>
                <a:latin typeface="+mn-lt"/>
              </a:defRPr>
            </a:lvl2pPr>
            <a:lvl3pPr>
              <a:defRPr sz="1603">
                <a:solidFill>
                  <a:srgbClr val="000000"/>
                </a:solidFill>
                <a:latin typeface="+mn-lt"/>
              </a:defRPr>
            </a:lvl3pPr>
            <a:lvl4pPr>
              <a:defRPr sz="1403">
                <a:solidFill>
                  <a:srgbClr val="000000"/>
                </a:solidFill>
                <a:latin typeface="+mn-lt"/>
              </a:defRPr>
            </a:lvl4pPr>
            <a:lvl5pPr>
              <a:defRPr sz="1203">
                <a:solidFill>
                  <a:srgbClr val="000000"/>
                </a:solidFill>
                <a:latin typeface="+mn-lt"/>
              </a:defRPr>
            </a:lvl5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22333541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Заголовок и объект">
    <p:spTree>
      <p:nvGrpSpPr>
        <p:cNvPr id="1" name=""/>
        <p:cNvGrpSpPr/>
        <p:nvPr/>
      </p:nvGrpSpPr>
      <p:grpSpPr>
        <a:xfrm>
          <a:off x="0" y="0"/>
          <a:ext cx="0" cy="0"/>
          <a:chOff x="0" y="0"/>
          <a:chExt cx="0" cy="0"/>
        </a:xfrm>
      </p:grpSpPr>
      <p:sp>
        <p:nvSpPr>
          <p:cNvPr id="3" name="Содержимое 2"/>
          <p:cNvSpPr>
            <a:spLocks noGrp="1"/>
          </p:cNvSpPr>
          <p:nvPr>
            <p:ph idx="1"/>
          </p:nvPr>
        </p:nvSpPr>
        <p:spPr>
          <a:xfrm>
            <a:off x="898322" y="1557325"/>
            <a:ext cx="11869466" cy="5225504"/>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ru-RU"/>
          </a:p>
        </p:txBody>
      </p:sp>
      <p:sp>
        <p:nvSpPr>
          <p:cNvPr id="7" name="Title Placeholder 1"/>
          <p:cNvSpPr>
            <a:spLocks noGrp="1"/>
          </p:cNvSpPr>
          <p:nvPr>
            <p:ph type="title"/>
          </p:nvPr>
        </p:nvSpPr>
        <p:spPr>
          <a:xfrm>
            <a:off x="898870" y="45345"/>
            <a:ext cx="10901188" cy="816486"/>
          </a:xfrm>
          <a:prstGeom prst="rect">
            <a:avLst/>
          </a:prstGeom>
        </p:spPr>
        <p:txBody>
          <a:bodyPr vert="horz" lIns="91440" tIns="45720" rIns="91440" bIns="45720" rtlCol="0" anchor="ctr">
            <a:normAutofit/>
          </a:bodyPr>
          <a:lstStyle/>
          <a:p>
            <a:pPr lvl="0"/>
            <a:r>
              <a:rPr lang="en-US"/>
              <a:t>CLICK TO EDIT MASTER TITLE STYLE</a:t>
            </a:r>
            <a:endParaRPr lang="uk-UA"/>
          </a:p>
        </p:txBody>
      </p:sp>
      <p:sp>
        <p:nvSpPr>
          <p:cNvPr id="9" name="Slide Number Placeholder 2"/>
          <p:cNvSpPr>
            <a:spLocks noGrp="1"/>
          </p:cNvSpPr>
          <p:nvPr>
            <p:ph type="sldNum" sz="quarter" idx="4"/>
          </p:nvPr>
        </p:nvSpPr>
        <p:spPr>
          <a:xfrm>
            <a:off x="10232081" y="7060693"/>
            <a:ext cx="3135949" cy="402484"/>
          </a:xfrm>
          <a:prstGeom prst="rect">
            <a:avLst/>
          </a:prstGeom>
        </p:spPr>
        <p:txBody>
          <a:bodyPr/>
          <a:lstStyle>
            <a:lvl1pPr>
              <a:defRPr sz="2062"/>
            </a:lvl1pPr>
          </a:lstStyle>
          <a:p>
            <a:pPr algn="r"/>
            <a:fld id="{680CDED1-8D9D-45E0-8506-504F9114EB93}" type="slidenum">
              <a:rPr lang="uk-UA" smtClean="0"/>
              <a:pPr algn="r"/>
              <a:t>‹№›</a:t>
            </a:fld>
            <a:endParaRPr lang="uk-UA"/>
          </a:p>
        </p:txBody>
      </p:sp>
    </p:spTree>
    <p:extLst>
      <p:ext uri="{BB962C8B-B14F-4D97-AF65-F5344CB8AC3E}">
        <p14:creationId xmlns:p14="http://schemas.microsoft.com/office/powerpoint/2010/main" val="367880285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userDrawn="1">
  <p:cSld name="1_Пользовательский макет">
    <p:spTree>
      <p:nvGrpSpPr>
        <p:cNvPr id="1" name=""/>
        <p:cNvGrpSpPr/>
        <p:nvPr/>
      </p:nvGrpSpPr>
      <p:grpSpPr>
        <a:xfrm>
          <a:off x="0" y="0"/>
          <a:ext cx="0" cy="0"/>
          <a:chOff x="0" y="0"/>
          <a:chExt cx="0" cy="0"/>
        </a:xfrm>
      </p:grpSpPr>
      <p:sp>
        <p:nvSpPr>
          <p:cNvPr id="10" name="bk object 16"/>
          <p:cNvSpPr/>
          <p:nvPr userDrawn="1"/>
        </p:nvSpPr>
        <p:spPr>
          <a:xfrm>
            <a:off x="-236" y="-315"/>
            <a:ext cx="13440014" cy="7559991"/>
          </a:xfrm>
          <a:prstGeom prst="rect">
            <a:avLst/>
          </a:prstGeom>
          <a:blipFill>
            <a:blip r:embed="rId4" cstate="email">
              <a:extLst>
                <a:ext uri="{28A0092B-C50C-407E-A947-70E740481C1C}">
                  <a14:useLocalDpi xmlns:a14="http://schemas.microsoft.com/office/drawing/2010/main"/>
                </a:ext>
              </a:extLst>
            </a:blip>
            <a:stretch>
              <a:fillRect/>
            </a:stretch>
          </a:blipFill>
        </p:spPr>
        <p:txBody>
          <a:bodyPr wrap="square" lIns="0" tIns="0" rIns="0" bIns="0" rtlCol="0"/>
          <a:lstStyle/>
          <a:p>
            <a:endParaRPr sz="2464"/>
          </a:p>
        </p:txBody>
      </p:sp>
      <p:graphicFrame>
        <p:nvGraphicFramePr>
          <p:cNvPr id="3" name="Объект 2" hidden="1"/>
          <p:cNvGraphicFramePr>
            <a:graphicFrameLocks noChangeAspect="1"/>
          </p:cNvGraphicFramePr>
          <p:nvPr userDrawn="1">
            <p:custDataLst>
              <p:tags r:id="rId1"/>
            </p:custDataLst>
          </p:nvPr>
        </p:nvGraphicFramePr>
        <p:xfrm>
          <a:off x="1997" y="1593"/>
          <a:ext cx="1996" cy="1590"/>
        </p:xfrm>
        <a:graphic>
          <a:graphicData uri="http://schemas.openxmlformats.org/presentationml/2006/ole">
            <mc:AlternateContent xmlns:mc="http://schemas.openxmlformats.org/markup-compatibility/2006">
              <mc:Choice xmlns:v="urn:schemas-microsoft-com:vml" Requires="v">
                <p:oleObj name="Слайд think-cell" r:id="rId5" imgW="360" imgH="360" progId="TCLayout.ActiveDocument.1">
                  <p:embed/>
                </p:oleObj>
              </mc:Choice>
              <mc:Fallback>
                <p:oleObj name="Слайд think-cell" r:id="rId5" imgW="360" imgH="360" progId="TCLayout.ActiveDocument.1">
                  <p:embed/>
                  <p:pic>
                    <p:nvPicPr>
                      <p:cNvPr id="3" name="Объект 2" hidden="1"/>
                      <p:cNvPicPr/>
                      <p:nvPr/>
                    </p:nvPicPr>
                    <p:blipFill>
                      <a:blip r:embed="rId6"/>
                      <a:stretch>
                        <a:fillRect/>
                      </a:stretch>
                    </p:blipFill>
                    <p:spPr>
                      <a:xfrm>
                        <a:off x="1997" y="1593"/>
                        <a:ext cx="1996" cy="1590"/>
                      </a:xfrm>
                      <a:prstGeom prst="rect">
                        <a:avLst/>
                      </a:prstGeom>
                    </p:spPr>
                  </p:pic>
                </p:oleObj>
              </mc:Fallback>
            </mc:AlternateContent>
          </a:graphicData>
        </a:graphic>
      </p:graphicFrame>
      <p:sp>
        <p:nvSpPr>
          <p:cNvPr id="2" name="Прямоугольник 1" hidden="1"/>
          <p:cNvSpPr/>
          <p:nvPr userDrawn="1">
            <p:custDataLst>
              <p:tags r:id="rId2"/>
            </p:custDataLst>
          </p:nvPr>
        </p:nvSpPr>
        <p:spPr>
          <a:xfrm>
            <a:off x="2" y="4"/>
            <a:ext cx="19955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ru-RU" sz="4704" b="1" i="0" baseline="0">
              <a:latin typeface="Calibri" panose="020F0502020204030204" pitchFamily="34" charset="0"/>
              <a:ea typeface="+mj-ea"/>
              <a:cs typeface="+mj-cs"/>
              <a:sym typeface="Calibri" panose="020F0502020204030204" pitchFamily="34" charset="0"/>
            </a:endParaRPr>
          </a:p>
        </p:txBody>
      </p:sp>
      <p:sp>
        <p:nvSpPr>
          <p:cNvPr id="88" name="Прямоугольник 87"/>
          <p:cNvSpPr/>
          <p:nvPr userDrawn="1"/>
        </p:nvSpPr>
        <p:spPr>
          <a:xfrm>
            <a:off x="456860" y="5"/>
            <a:ext cx="757645" cy="5007428"/>
          </a:xfrm>
          <a:prstGeom prst="rect">
            <a:avLst/>
          </a:prstGeom>
          <a:solidFill>
            <a:srgbClr val="FED1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ru-RU" sz="1796"/>
          </a:p>
        </p:txBody>
      </p:sp>
      <p:sp>
        <p:nvSpPr>
          <p:cNvPr id="89" name="Заголовок 1"/>
          <p:cNvSpPr>
            <a:spLocks noGrp="1"/>
          </p:cNvSpPr>
          <p:nvPr>
            <p:ph type="title" hasCustomPrompt="1"/>
          </p:nvPr>
        </p:nvSpPr>
        <p:spPr>
          <a:xfrm>
            <a:off x="624752" y="2626581"/>
            <a:ext cx="7995377" cy="1230996"/>
          </a:xfrm>
          <a:prstGeom prst="rect">
            <a:avLst/>
          </a:prstGeom>
        </p:spPr>
        <p:txBody>
          <a:bodyPr anchor="ctr">
            <a:noAutofit/>
          </a:bodyPr>
          <a:lstStyle>
            <a:lvl1pPr algn="l">
              <a:defRPr sz="4804" b="1" baseline="0">
                <a:solidFill>
                  <a:srgbClr val="000000"/>
                </a:solidFill>
                <a:latin typeface="+mj-lt"/>
              </a:defRPr>
            </a:lvl1pPr>
          </a:lstStyle>
          <a:p>
            <a:r>
              <a:rPr lang="uk-UA"/>
              <a:t>Назва презентації</a:t>
            </a:r>
            <a:endParaRPr lang="ru-RU"/>
          </a:p>
        </p:txBody>
      </p:sp>
      <p:grpSp>
        <p:nvGrpSpPr>
          <p:cNvPr id="4" name="Группа 3"/>
          <p:cNvGrpSpPr/>
          <p:nvPr userDrawn="1"/>
        </p:nvGrpSpPr>
        <p:grpSpPr>
          <a:xfrm>
            <a:off x="722753" y="4410537"/>
            <a:ext cx="5511731" cy="449956"/>
            <a:chOff x="722748" y="4410534"/>
            <a:chExt cx="5511731" cy="449955"/>
          </a:xfrm>
        </p:grpSpPr>
        <p:grpSp>
          <p:nvGrpSpPr>
            <p:cNvPr id="38" name="Группа 37"/>
            <p:cNvGrpSpPr/>
            <p:nvPr userDrawn="1"/>
          </p:nvGrpSpPr>
          <p:grpSpPr>
            <a:xfrm>
              <a:off x="722748" y="4410740"/>
              <a:ext cx="4339906" cy="449749"/>
              <a:chOff x="722748" y="4410740"/>
              <a:chExt cx="4339906" cy="449749"/>
            </a:xfrm>
          </p:grpSpPr>
          <p:sp>
            <p:nvSpPr>
              <p:cNvPr id="39" name="bk object 21"/>
              <p:cNvSpPr/>
              <p:nvPr userDrawn="1"/>
            </p:nvSpPr>
            <p:spPr>
              <a:xfrm>
                <a:off x="5019471" y="4410740"/>
                <a:ext cx="43180" cy="60960"/>
              </a:xfrm>
              <a:custGeom>
                <a:avLst/>
                <a:gdLst/>
                <a:ahLst/>
                <a:cxnLst/>
                <a:rect l="l" t="t" r="r" b="b"/>
                <a:pathLst>
                  <a:path w="43179" h="60960">
                    <a:moveTo>
                      <a:pt x="42786" y="0"/>
                    </a:moveTo>
                    <a:lnTo>
                      <a:pt x="30251" y="0"/>
                    </a:lnTo>
                    <a:lnTo>
                      <a:pt x="18489" y="2377"/>
                    </a:lnTo>
                    <a:lnTo>
                      <a:pt x="8872" y="8859"/>
                    </a:lnTo>
                    <a:lnTo>
                      <a:pt x="2381" y="18468"/>
                    </a:lnTo>
                    <a:lnTo>
                      <a:pt x="0" y="30226"/>
                    </a:lnTo>
                    <a:lnTo>
                      <a:pt x="2381" y="41987"/>
                    </a:lnTo>
                    <a:lnTo>
                      <a:pt x="8872" y="51604"/>
                    </a:lnTo>
                    <a:lnTo>
                      <a:pt x="18489" y="58095"/>
                    </a:lnTo>
                    <a:lnTo>
                      <a:pt x="30251" y="60477"/>
                    </a:lnTo>
                    <a:lnTo>
                      <a:pt x="42786" y="60477"/>
                    </a:lnTo>
                    <a:lnTo>
                      <a:pt x="42786" y="49415"/>
                    </a:lnTo>
                    <a:lnTo>
                      <a:pt x="30251" y="49415"/>
                    </a:lnTo>
                    <a:lnTo>
                      <a:pt x="22789" y="47904"/>
                    </a:lnTo>
                    <a:lnTo>
                      <a:pt x="16689" y="43788"/>
                    </a:lnTo>
                    <a:lnTo>
                      <a:pt x="12572" y="37687"/>
                    </a:lnTo>
                    <a:lnTo>
                      <a:pt x="11061" y="30226"/>
                    </a:lnTo>
                    <a:lnTo>
                      <a:pt x="12572" y="22768"/>
                    </a:lnTo>
                    <a:lnTo>
                      <a:pt x="16689" y="16676"/>
                    </a:lnTo>
                    <a:lnTo>
                      <a:pt x="22789" y="12568"/>
                    </a:lnTo>
                    <a:lnTo>
                      <a:pt x="30251" y="11061"/>
                    </a:lnTo>
                    <a:lnTo>
                      <a:pt x="42786" y="11061"/>
                    </a:lnTo>
                    <a:lnTo>
                      <a:pt x="42786" y="0"/>
                    </a:lnTo>
                    <a:close/>
                  </a:path>
                </a:pathLst>
              </a:custGeom>
              <a:solidFill>
                <a:srgbClr val="919396"/>
              </a:solidFill>
            </p:spPr>
            <p:txBody>
              <a:bodyPr wrap="square" lIns="0" tIns="0" rIns="0" bIns="0" rtlCol="0"/>
              <a:lstStyle/>
              <a:p>
                <a:endParaRPr sz="1796"/>
              </a:p>
            </p:txBody>
          </p:sp>
          <p:sp>
            <p:nvSpPr>
              <p:cNvPr id="40" name="bk object 22"/>
              <p:cNvSpPr/>
              <p:nvPr userDrawn="1"/>
            </p:nvSpPr>
            <p:spPr>
              <a:xfrm>
                <a:off x="4628873" y="4410740"/>
                <a:ext cx="43180" cy="60960"/>
              </a:xfrm>
              <a:custGeom>
                <a:avLst/>
                <a:gdLst/>
                <a:ahLst/>
                <a:cxnLst/>
                <a:rect l="l" t="t" r="r" b="b"/>
                <a:pathLst>
                  <a:path w="43179" h="60960">
                    <a:moveTo>
                      <a:pt x="42786" y="0"/>
                    </a:moveTo>
                    <a:lnTo>
                      <a:pt x="30251" y="0"/>
                    </a:lnTo>
                    <a:lnTo>
                      <a:pt x="18479" y="2377"/>
                    </a:lnTo>
                    <a:lnTo>
                      <a:pt x="8863" y="8859"/>
                    </a:lnTo>
                    <a:lnTo>
                      <a:pt x="2378" y="18468"/>
                    </a:lnTo>
                    <a:lnTo>
                      <a:pt x="0" y="30226"/>
                    </a:lnTo>
                    <a:lnTo>
                      <a:pt x="2378" y="41987"/>
                    </a:lnTo>
                    <a:lnTo>
                      <a:pt x="8863" y="51604"/>
                    </a:lnTo>
                    <a:lnTo>
                      <a:pt x="18479" y="58095"/>
                    </a:lnTo>
                    <a:lnTo>
                      <a:pt x="30251" y="60477"/>
                    </a:lnTo>
                    <a:lnTo>
                      <a:pt x="42786" y="60477"/>
                    </a:lnTo>
                    <a:lnTo>
                      <a:pt x="42786" y="49415"/>
                    </a:lnTo>
                    <a:lnTo>
                      <a:pt x="30251" y="49415"/>
                    </a:lnTo>
                    <a:lnTo>
                      <a:pt x="22777" y="47904"/>
                    </a:lnTo>
                    <a:lnTo>
                      <a:pt x="16673" y="43788"/>
                    </a:lnTo>
                    <a:lnTo>
                      <a:pt x="12558" y="37687"/>
                    </a:lnTo>
                    <a:lnTo>
                      <a:pt x="11048" y="30226"/>
                    </a:lnTo>
                    <a:lnTo>
                      <a:pt x="12558" y="22768"/>
                    </a:lnTo>
                    <a:lnTo>
                      <a:pt x="16673" y="16676"/>
                    </a:lnTo>
                    <a:lnTo>
                      <a:pt x="22777" y="12568"/>
                    </a:lnTo>
                    <a:lnTo>
                      <a:pt x="30251" y="11061"/>
                    </a:lnTo>
                    <a:lnTo>
                      <a:pt x="42786" y="11061"/>
                    </a:lnTo>
                    <a:lnTo>
                      <a:pt x="42786" y="0"/>
                    </a:lnTo>
                    <a:close/>
                  </a:path>
                </a:pathLst>
              </a:custGeom>
              <a:solidFill>
                <a:srgbClr val="919396"/>
              </a:solidFill>
            </p:spPr>
            <p:txBody>
              <a:bodyPr wrap="square" lIns="0" tIns="0" rIns="0" bIns="0" rtlCol="0"/>
              <a:lstStyle/>
              <a:p>
                <a:endParaRPr sz="1796"/>
              </a:p>
            </p:txBody>
          </p:sp>
          <p:sp>
            <p:nvSpPr>
              <p:cNvPr id="41" name="bk object 23"/>
              <p:cNvSpPr/>
              <p:nvPr userDrawn="1"/>
            </p:nvSpPr>
            <p:spPr>
              <a:xfrm>
                <a:off x="4238241" y="4410740"/>
                <a:ext cx="43180" cy="60960"/>
              </a:xfrm>
              <a:custGeom>
                <a:avLst/>
                <a:gdLst/>
                <a:ahLst/>
                <a:cxnLst/>
                <a:rect l="l" t="t" r="r" b="b"/>
                <a:pathLst>
                  <a:path w="43179" h="60960">
                    <a:moveTo>
                      <a:pt x="42811" y="0"/>
                    </a:moveTo>
                    <a:lnTo>
                      <a:pt x="30276" y="0"/>
                    </a:lnTo>
                    <a:lnTo>
                      <a:pt x="18500" y="2377"/>
                    </a:lnTo>
                    <a:lnTo>
                      <a:pt x="8875" y="8859"/>
                    </a:lnTo>
                    <a:lnTo>
                      <a:pt x="2382" y="18468"/>
                    </a:lnTo>
                    <a:lnTo>
                      <a:pt x="0" y="30226"/>
                    </a:lnTo>
                    <a:lnTo>
                      <a:pt x="2382" y="41987"/>
                    </a:lnTo>
                    <a:lnTo>
                      <a:pt x="8875" y="51604"/>
                    </a:lnTo>
                    <a:lnTo>
                      <a:pt x="18500" y="58095"/>
                    </a:lnTo>
                    <a:lnTo>
                      <a:pt x="30276" y="60477"/>
                    </a:lnTo>
                    <a:lnTo>
                      <a:pt x="42811" y="60477"/>
                    </a:lnTo>
                    <a:lnTo>
                      <a:pt x="42811" y="49415"/>
                    </a:lnTo>
                    <a:lnTo>
                      <a:pt x="30276" y="49415"/>
                    </a:lnTo>
                    <a:lnTo>
                      <a:pt x="22802" y="47904"/>
                    </a:lnTo>
                    <a:lnTo>
                      <a:pt x="16698" y="43788"/>
                    </a:lnTo>
                    <a:lnTo>
                      <a:pt x="12583" y="37687"/>
                    </a:lnTo>
                    <a:lnTo>
                      <a:pt x="11074" y="30226"/>
                    </a:lnTo>
                    <a:lnTo>
                      <a:pt x="12583" y="22768"/>
                    </a:lnTo>
                    <a:lnTo>
                      <a:pt x="16698" y="16676"/>
                    </a:lnTo>
                    <a:lnTo>
                      <a:pt x="22802" y="12568"/>
                    </a:lnTo>
                    <a:lnTo>
                      <a:pt x="30276" y="11061"/>
                    </a:lnTo>
                    <a:lnTo>
                      <a:pt x="42811" y="11061"/>
                    </a:lnTo>
                    <a:lnTo>
                      <a:pt x="42811" y="0"/>
                    </a:lnTo>
                    <a:close/>
                  </a:path>
                </a:pathLst>
              </a:custGeom>
              <a:solidFill>
                <a:srgbClr val="919396"/>
              </a:solidFill>
            </p:spPr>
            <p:txBody>
              <a:bodyPr wrap="square" lIns="0" tIns="0" rIns="0" bIns="0" rtlCol="0"/>
              <a:lstStyle/>
              <a:p>
                <a:endParaRPr sz="1796"/>
              </a:p>
            </p:txBody>
          </p:sp>
          <p:sp>
            <p:nvSpPr>
              <p:cNvPr id="42" name="bk object 24"/>
              <p:cNvSpPr/>
              <p:nvPr userDrawn="1"/>
            </p:nvSpPr>
            <p:spPr>
              <a:xfrm>
                <a:off x="3847636" y="4410740"/>
                <a:ext cx="43180" cy="60960"/>
              </a:xfrm>
              <a:custGeom>
                <a:avLst/>
                <a:gdLst/>
                <a:ahLst/>
                <a:cxnLst/>
                <a:rect l="l" t="t" r="r" b="b"/>
                <a:pathLst>
                  <a:path w="43179" h="60960">
                    <a:moveTo>
                      <a:pt x="42811" y="0"/>
                    </a:moveTo>
                    <a:lnTo>
                      <a:pt x="30251" y="0"/>
                    </a:lnTo>
                    <a:lnTo>
                      <a:pt x="18489" y="2377"/>
                    </a:lnTo>
                    <a:lnTo>
                      <a:pt x="8872" y="8859"/>
                    </a:lnTo>
                    <a:lnTo>
                      <a:pt x="2381" y="18468"/>
                    </a:lnTo>
                    <a:lnTo>
                      <a:pt x="0" y="30226"/>
                    </a:lnTo>
                    <a:lnTo>
                      <a:pt x="2381" y="41987"/>
                    </a:lnTo>
                    <a:lnTo>
                      <a:pt x="8872" y="51604"/>
                    </a:lnTo>
                    <a:lnTo>
                      <a:pt x="18489" y="58095"/>
                    </a:lnTo>
                    <a:lnTo>
                      <a:pt x="30251" y="60477"/>
                    </a:lnTo>
                    <a:lnTo>
                      <a:pt x="42811" y="60477"/>
                    </a:lnTo>
                    <a:lnTo>
                      <a:pt x="42811" y="49415"/>
                    </a:lnTo>
                    <a:lnTo>
                      <a:pt x="30251" y="49415"/>
                    </a:lnTo>
                    <a:lnTo>
                      <a:pt x="22789" y="47904"/>
                    </a:lnTo>
                    <a:lnTo>
                      <a:pt x="16689" y="43788"/>
                    </a:lnTo>
                    <a:lnTo>
                      <a:pt x="12572" y="37687"/>
                    </a:lnTo>
                    <a:lnTo>
                      <a:pt x="11061" y="30226"/>
                    </a:lnTo>
                    <a:lnTo>
                      <a:pt x="12572" y="22768"/>
                    </a:lnTo>
                    <a:lnTo>
                      <a:pt x="16689" y="16676"/>
                    </a:lnTo>
                    <a:lnTo>
                      <a:pt x="22789" y="12568"/>
                    </a:lnTo>
                    <a:lnTo>
                      <a:pt x="30251" y="11061"/>
                    </a:lnTo>
                    <a:lnTo>
                      <a:pt x="42811" y="11061"/>
                    </a:lnTo>
                    <a:lnTo>
                      <a:pt x="42811" y="0"/>
                    </a:lnTo>
                    <a:close/>
                  </a:path>
                </a:pathLst>
              </a:custGeom>
              <a:solidFill>
                <a:srgbClr val="919396"/>
              </a:solidFill>
            </p:spPr>
            <p:txBody>
              <a:bodyPr wrap="square" lIns="0" tIns="0" rIns="0" bIns="0" rtlCol="0"/>
              <a:lstStyle/>
              <a:p>
                <a:endParaRPr sz="1796"/>
              </a:p>
            </p:txBody>
          </p:sp>
          <p:sp>
            <p:nvSpPr>
              <p:cNvPr id="68" name="bk object 25"/>
              <p:cNvSpPr/>
              <p:nvPr userDrawn="1"/>
            </p:nvSpPr>
            <p:spPr>
              <a:xfrm>
                <a:off x="3457023" y="4410740"/>
                <a:ext cx="43180" cy="60960"/>
              </a:xfrm>
              <a:custGeom>
                <a:avLst/>
                <a:gdLst/>
                <a:ahLst/>
                <a:cxnLst/>
                <a:rect l="l" t="t" r="r" b="b"/>
                <a:pathLst>
                  <a:path w="43179" h="60960">
                    <a:moveTo>
                      <a:pt x="42824" y="0"/>
                    </a:moveTo>
                    <a:lnTo>
                      <a:pt x="30264" y="0"/>
                    </a:lnTo>
                    <a:lnTo>
                      <a:pt x="18500" y="2377"/>
                    </a:lnTo>
                    <a:lnTo>
                      <a:pt x="8878" y="8859"/>
                    </a:lnTo>
                    <a:lnTo>
                      <a:pt x="2383" y="18468"/>
                    </a:lnTo>
                    <a:lnTo>
                      <a:pt x="0" y="30226"/>
                    </a:lnTo>
                    <a:lnTo>
                      <a:pt x="2383" y="41987"/>
                    </a:lnTo>
                    <a:lnTo>
                      <a:pt x="8878" y="51604"/>
                    </a:lnTo>
                    <a:lnTo>
                      <a:pt x="18500" y="58095"/>
                    </a:lnTo>
                    <a:lnTo>
                      <a:pt x="30264" y="60477"/>
                    </a:lnTo>
                    <a:lnTo>
                      <a:pt x="42824" y="60477"/>
                    </a:lnTo>
                    <a:lnTo>
                      <a:pt x="42824" y="49415"/>
                    </a:lnTo>
                    <a:lnTo>
                      <a:pt x="30264" y="49415"/>
                    </a:lnTo>
                    <a:lnTo>
                      <a:pt x="22802" y="47904"/>
                    </a:lnTo>
                    <a:lnTo>
                      <a:pt x="16702" y="43788"/>
                    </a:lnTo>
                    <a:lnTo>
                      <a:pt x="12585" y="37687"/>
                    </a:lnTo>
                    <a:lnTo>
                      <a:pt x="11074" y="30226"/>
                    </a:lnTo>
                    <a:lnTo>
                      <a:pt x="12585" y="22768"/>
                    </a:lnTo>
                    <a:lnTo>
                      <a:pt x="16702" y="16676"/>
                    </a:lnTo>
                    <a:lnTo>
                      <a:pt x="22802" y="12568"/>
                    </a:lnTo>
                    <a:lnTo>
                      <a:pt x="30264" y="11061"/>
                    </a:lnTo>
                    <a:lnTo>
                      <a:pt x="42824" y="11061"/>
                    </a:lnTo>
                    <a:lnTo>
                      <a:pt x="42824" y="0"/>
                    </a:lnTo>
                    <a:close/>
                  </a:path>
                </a:pathLst>
              </a:custGeom>
              <a:solidFill>
                <a:srgbClr val="919396"/>
              </a:solidFill>
            </p:spPr>
            <p:txBody>
              <a:bodyPr wrap="square" lIns="0" tIns="0" rIns="0" bIns="0" rtlCol="0"/>
              <a:lstStyle/>
              <a:p>
                <a:endParaRPr sz="1796"/>
              </a:p>
            </p:txBody>
          </p:sp>
          <p:sp>
            <p:nvSpPr>
              <p:cNvPr id="69" name="bk object 26"/>
              <p:cNvSpPr/>
              <p:nvPr userDrawn="1"/>
            </p:nvSpPr>
            <p:spPr>
              <a:xfrm>
                <a:off x="3066431" y="4410740"/>
                <a:ext cx="43180" cy="60960"/>
              </a:xfrm>
              <a:custGeom>
                <a:avLst/>
                <a:gdLst/>
                <a:ahLst/>
                <a:cxnLst/>
                <a:rect l="l" t="t" r="r" b="b"/>
                <a:pathLst>
                  <a:path w="43180" h="60960">
                    <a:moveTo>
                      <a:pt x="42786" y="0"/>
                    </a:moveTo>
                    <a:lnTo>
                      <a:pt x="30251" y="0"/>
                    </a:lnTo>
                    <a:lnTo>
                      <a:pt x="18489" y="2377"/>
                    </a:lnTo>
                    <a:lnTo>
                      <a:pt x="8872" y="8859"/>
                    </a:lnTo>
                    <a:lnTo>
                      <a:pt x="2381" y="18468"/>
                    </a:lnTo>
                    <a:lnTo>
                      <a:pt x="0" y="30226"/>
                    </a:lnTo>
                    <a:lnTo>
                      <a:pt x="2381" y="41987"/>
                    </a:lnTo>
                    <a:lnTo>
                      <a:pt x="8872" y="51604"/>
                    </a:lnTo>
                    <a:lnTo>
                      <a:pt x="18489" y="58095"/>
                    </a:lnTo>
                    <a:lnTo>
                      <a:pt x="30251" y="60477"/>
                    </a:lnTo>
                    <a:lnTo>
                      <a:pt x="42786" y="60477"/>
                    </a:lnTo>
                    <a:lnTo>
                      <a:pt x="42786" y="49415"/>
                    </a:lnTo>
                    <a:lnTo>
                      <a:pt x="30251" y="49415"/>
                    </a:lnTo>
                    <a:lnTo>
                      <a:pt x="22777" y="47904"/>
                    </a:lnTo>
                    <a:lnTo>
                      <a:pt x="16673" y="43788"/>
                    </a:lnTo>
                    <a:lnTo>
                      <a:pt x="12558" y="37687"/>
                    </a:lnTo>
                    <a:lnTo>
                      <a:pt x="11048" y="30226"/>
                    </a:lnTo>
                    <a:lnTo>
                      <a:pt x="12558" y="22768"/>
                    </a:lnTo>
                    <a:lnTo>
                      <a:pt x="16673" y="16676"/>
                    </a:lnTo>
                    <a:lnTo>
                      <a:pt x="22777" y="12568"/>
                    </a:lnTo>
                    <a:lnTo>
                      <a:pt x="30251" y="11061"/>
                    </a:lnTo>
                    <a:lnTo>
                      <a:pt x="42786" y="11061"/>
                    </a:lnTo>
                    <a:lnTo>
                      <a:pt x="42786" y="0"/>
                    </a:lnTo>
                    <a:close/>
                  </a:path>
                </a:pathLst>
              </a:custGeom>
              <a:solidFill>
                <a:srgbClr val="919396"/>
              </a:solidFill>
            </p:spPr>
            <p:txBody>
              <a:bodyPr wrap="square" lIns="0" tIns="0" rIns="0" bIns="0" rtlCol="0"/>
              <a:lstStyle/>
              <a:p>
                <a:endParaRPr sz="1796"/>
              </a:p>
            </p:txBody>
          </p:sp>
          <p:sp>
            <p:nvSpPr>
              <p:cNvPr id="70" name="bk object 27"/>
              <p:cNvSpPr/>
              <p:nvPr userDrawn="1"/>
            </p:nvSpPr>
            <p:spPr>
              <a:xfrm>
                <a:off x="2675826" y="4410740"/>
                <a:ext cx="43180" cy="60960"/>
              </a:xfrm>
              <a:custGeom>
                <a:avLst/>
                <a:gdLst/>
                <a:ahLst/>
                <a:cxnLst/>
                <a:rect l="l" t="t" r="r" b="b"/>
                <a:pathLst>
                  <a:path w="43180" h="60960">
                    <a:moveTo>
                      <a:pt x="42786" y="0"/>
                    </a:moveTo>
                    <a:lnTo>
                      <a:pt x="30251" y="0"/>
                    </a:lnTo>
                    <a:lnTo>
                      <a:pt x="18489" y="2377"/>
                    </a:lnTo>
                    <a:lnTo>
                      <a:pt x="8872" y="8859"/>
                    </a:lnTo>
                    <a:lnTo>
                      <a:pt x="2381" y="18468"/>
                    </a:lnTo>
                    <a:lnTo>
                      <a:pt x="0" y="30226"/>
                    </a:lnTo>
                    <a:lnTo>
                      <a:pt x="2381" y="41987"/>
                    </a:lnTo>
                    <a:lnTo>
                      <a:pt x="8872" y="51604"/>
                    </a:lnTo>
                    <a:lnTo>
                      <a:pt x="18489" y="58095"/>
                    </a:lnTo>
                    <a:lnTo>
                      <a:pt x="30251" y="60477"/>
                    </a:lnTo>
                    <a:lnTo>
                      <a:pt x="42786" y="60477"/>
                    </a:lnTo>
                    <a:lnTo>
                      <a:pt x="42786" y="49415"/>
                    </a:lnTo>
                    <a:lnTo>
                      <a:pt x="30251" y="49415"/>
                    </a:lnTo>
                    <a:lnTo>
                      <a:pt x="22777" y="47904"/>
                    </a:lnTo>
                    <a:lnTo>
                      <a:pt x="16673" y="43788"/>
                    </a:lnTo>
                    <a:lnTo>
                      <a:pt x="12558" y="37687"/>
                    </a:lnTo>
                    <a:lnTo>
                      <a:pt x="11048" y="30226"/>
                    </a:lnTo>
                    <a:lnTo>
                      <a:pt x="12558" y="22768"/>
                    </a:lnTo>
                    <a:lnTo>
                      <a:pt x="16673" y="16676"/>
                    </a:lnTo>
                    <a:lnTo>
                      <a:pt x="22777" y="12568"/>
                    </a:lnTo>
                    <a:lnTo>
                      <a:pt x="30251" y="11061"/>
                    </a:lnTo>
                    <a:lnTo>
                      <a:pt x="42786" y="11061"/>
                    </a:lnTo>
                    <a:lnTo>
                      <a:pt x="42786" y="0"/>
                    </a:lnTo>
                    <a:close/>
                  </a:path>
                </a:pathLst>
              </a:custGeom>
              <a:solidFill>
                <a:srgbClr val="919396"/>
              </a:solidFill>
            </p:spPr>
            <p:txBody>
              <a:bodyPr wrap="square" lIns="0" tIns="0" rIns="0" bIns="0" rtlCol="0"/>
              <a:lstStyle/>
              <a:p>
                <a:endParaRPr sz="1796"/>
              </a:p>
            </p:txBody>
          </p:sp>
          <p:sp>
            <p:nvSpPr>
              <p:cNvPr id="71" name="bk object 28"/>
              <p:cNvSpPr/>
              <p:nvPr userDrawn="1"/>
            </p:nvSpPr>
            <p:spPr>
              <a:xfrm>
                <a:off x="2285194" y="4410740"/>
                <a:ext cx="43180" cy="60960"/>
              </a:xfrm>
              <a:custGeom>
                <a:avLst/>
                <a:gdLst/>
                <a:ahLst/>
                <a:cxnLst/>
                <a:rect l="l" t="t" r="r" b="b"/>
                <a:pathLst>
                  <a:path w="43180" h="60960">
                    <a:moveTo>
                      <a:pt x="42811" y="0"/>
                    </a:moveTo>
                    <a:lnTo>
                      <a:pt x="30251" y="0"/>
                    </a:lnTo>
                    <a:lnTo>
                      <a:pt x="18489" y="2377"/>
                    </a:lnTo>
                    <a:lnTo>
                      <a:pt x="8872" y="8859"/>
                    </a:lnTo>
                    <a:lnTo>
                      <a:pt x="2381" y="18468"/>
                    </a:lnTo>
                    <a:lnTo>
                      <a:pt x="0" y="30226"/>
                    </a:lnTo>
                    <a:lnTo>
                      <a:pt x="2381" y="41987"/>
                    </a:lnTo>
                    <a:lnTo>
                      <a:pt x="8872" y="51604"/>
                    </a:lnTo>
                    <a:lnTo>
                      <a:pt x="18489" y="58095"/>
                    </a:lnTo>
                    <a:lnTo>
                      <a:pt x="30251" y="60477"/>
                    </a:lnTo>
                    <a:lnTo>
                      <a:pt x="42811" y="60477"/>
                    </a:lnTo>
                    <a:lnTo>
                      <a:pt x="42811" y="49415"/>
                    </a:lnTo>
                    <a:lnTo>
                      <a:pt x="30251" y="49415"/>
                    </a:lnTo>
                    <a:lnTo>
                      <a:pt x="22789" y="47904"/>
                    </a:lnTo>
                    <a:lnTo>
                      <a:pt x="16689" y="43788"/>
                    </a:lnTo>
                    <a:lnTo>
                      <a:pt x="12572" y="37687"/>
                    </a:lnTo>
                    <a:lnTo>
                      <a:pt x="11061" y="30226"/>
                    </a:lnTo>
                    <a:lnTo>
                      <a:pt x="12572" y="22768"/>
                    </a:lnTo>
                    <a:lnTo>
                      <a:pt x="16689" y="16676"/>
                    </a:lnTo>
                    <a:lnTo>
                      <a:pt x="22789" y="12568"/>
                    </a:lnTo>
                    <a:lnTo>
                      <a:pt x="30251" y="11061"/>
                    </a:lnTo>
                    <a:lnTo>
                      <a:pt x="42811" y="11061"/>
                    </a:lnTo>
                    <a:lnTo>
                      <a:pt x="42811" y="0"/>
                    </a:lnTo>
                    <a:close/>
                  </a:path>
                </a:pathLst>
              </a:custGeom>
              <a:solidFill>
                <a:srgbClr val="919396"/>
              </a:solidFill>
            </p:spPr>
            <p:txBody>
              <a:bodyPr wrap="square" lIns="0" tIns="0" rIns="0" bIns="0" rtlCol="0"/>
              <a:lstStyle/>
              <a:p>
                <a:endParaRPr sz="1796"/>
              </a:p>
            </p:txBody>
          </p:sp>
          <p:sp>
            <p:nvSpPr>
              <p:cNvPr id="72" name="bk object 29"/>
              <p:cNvSpPr/>
              <p:nvPr userDrawn="1"/>
            </p:nvSpPr>
            <p:spPr>
              <a:xfrm>
                <a:off x="1894589" y="4410740"/>
                <a:ext cx="43180" cy="60960"/>
              </a:xfrm>
              <a:custGeom>
                <a:avLst/>
                <a:gdLst/>
                <a:ahLst/>
                <a:cxnLst/>
                <a:rect l="l" t="t" r="r" b="b"/>
                <a:pathLst>
                  <a:path w="43180" h="60960">
                    <a:moveTo>
                      <a:pt x="42786" y="0"/>
                    </a:moveTo>
                    <a:lnTo>
                      <a:pt x="30251" y="0"/>
                    </a:lnTo>
                    <a:lnTo>
                      <a:pt x="18489" y="2377"/>
                    </a:lnTo>
                    <a:lnTo>
                      <a:pt x="8872" y="8859"/>
                    </a:lnTo>
                    <a:lnTo>
                      <a:pt x="2381" y="18468"/>
                    </a:lnTo>
                    <a:lnTo>
                      <a:pt x="0" y="30226"/>
                    </a:lnTo>
                    <a:lnTo>
                      <a:pt x="2381" y="41987"/>
                    </a:lnTo>
                    <a:lnTo>
                      <a:pt x="8872" y="51604"/>
                    </a:lnTo>
                    <a:lnTo>
                      <a:pt x="18489" y="58095"/>
                    </a:lnTo>
                    <a:lnTo>
                      <a:pt x="30251" y="60477"/>
                    </a:lnTo>
                    <a:lnTo>
                      <a:pt x="42786" y="60477"/>
                    </a:lnTo>
                    <a:lnTo>
                      <a:pt x="42786" y="49415"/>
                    </a:lnTo>
                    <a:lnTo>
                      <a:pt x="30251" y="49415"/>
                    </a:lnTo>
                    <a:lnTo>
                      <a:pt x="22795" y="47904"/>
                    </a:lnTo>
                    <a:lnTo>
                      <a:pt x="16694" y="43788"/>
                    </a:lnTo>
                    <a:lnTo>
                      <a:pt x="12574" y="37687"/>
                    </a:lnTo>
                    <a:lnTo>
                      <a:pt x="11061" y="30226"/>
                    </a:lnTo>
                    <a:lnTo>
                      <a:pt x="12574" y="22768"/>
                    </a:lnTo>
                    <a:lnTo>
                      <a:pt x="16694" y="16676"/>
                    </a:lnTo>
                    <a:lnTo>
                      <a:pt x="22795" y="12568"/>
                    </a:lnTo>
                    <a:lnTo>
                      <a:pt x="30251" y="11061"/>
                    </a:lnTo>
                    <a:lnTo>
                      <a:pt x="42786" y="11061"/>
                    </a:lnTo>
                    <a:lnTo>
                      <a:pt x="42786" y="0"/>
                    </a:lnTo>
                    <a:close/>
                  </a:path>
                </a:pathLst>
              </a:custGeom>
              <a:solidFill>
                <a:srgbClr val="919396"/>
              </a:solidFill>
            </p:spPr>
            <p:txBody>
              <a:bodyPr wrap="square" lIns="0" tIns="0" rIns="0" bIns="0" rtlCol="0"/>
              <a:lstStyle/>
              <a:p>
                <a:endParaRPr sz="1796"/>
              </a:p>
            </p:txBody>
          </p:sp>
          <p:sp>
            <p:nvSpPr>
              <p:cNvPr id="73" name="bk object 30"/>
              <p:cNvSpPr/>
              <p:nvPr userDrawn="1"/>
            </p:nvSpPr>
            <p:spPr>
              <a:xfrm>
                <a:off x="1503991" y="4410740"/>
                <a:ext cx="43180" cy="60960"/>
              </a:xfrm>
              <a:custGeom>
                <a:avLst/>
                <a:gdLst/>
                <a:ahLst/>
                <a:cxnLst/>
                <a:rect l="l" t="t" r="r" b="b"/>
                <a:pathLst>
                  <a:path w="43180" h="60960">
                    <a:moveTo>
                      <a:pt x="42786" y="0"/>
                    </a:moveTo>
                    <a:lnTo>
                      <a:pt x="30251" y="0"/>
                    </a:lnTo>
                    <a:lnTo>
                      <a:pt x="18489" y="2377"/>
                    </a:lnTo>
                    <a:lnTo>
                      <a:pt x="8872" y="8859"/>
                    </a:lnTo>
                    <a:lnTo>
                      <a:pt x="2381" y="18468"/>
                    </a:lnTo>
                    <a:lnTo>
                      <a:pt x="0" y="30226"/>
                    </a:lnTo>
                    <a:lnTo>
                      <a:pt x="2381" y="41987"/>
                    </a:lnTo>
                    <a:lnTo>
                      <a:pt x="8872" y="51604"/>
                    </a:lnTo>
                    <a:lnTo>
                      <a:pt x="18489" y="58095"/>
                    </a:lnTo>
                    <a:lnTo>
                      <a:pt x="30251" y="60477"/>
                    </a:lnTo>
                    <a:lnTo>
                      <a:pt x="42786" y="60477"/>
                    </a:lnTo>
                    <a:lnTo>
                      <a:pt x="42786" y="49415"/>
                    </a:lnTo>
                    <a:lnTo>
                      <a:pt x="30251" y="49415"/>
                    </a:lnTo>
                    <a:lnTo>
                      <a:pt x="22777" y="47904"/>
                    </a:lnTo>
                    <a:lnTo>
                      <a:pt x="16673" y="43788"/>
                    </a:lnTo>
                    <a:lnTo>
                      <a:pt x="12558" y="37687"/>
                    </a:lnTo>
                    <a:lnTo>
                      <a:pt x="11048" y="30226"/>
                    </a:lnTo>
                    <a:lnTo>
                      <a:pt x="12558" y="22768"/>
                    </a:lnTo>
                    <a:lnTo>
                      <a:pt x="16673" y="16676"/>
                    </a:lnTo>
                    <a:lnTo>
                      <a:pt x="22777" y="12568"/>
                    </a:lnTo>
                    <a:lnTo>
                      <a:pt x="30251" y="11061"/>
                    </a:lnTo>
                    <a:lnTo>
                      <a:pt x="42786" y="11061"/>
                    </a:lnTo>
                    <a:lnTo>
                      <a:pt x="42786" y="0"/>
                    </a:lnTo>
                    <a:close/>
                  </a:path>
                </a:pathLst>
              </a:custGeom>
              <a:solidFill>
                <a:srgbClr val="919396"/>
              </a:solidFill>
            </p:spPr>
            <p:txBody>
              <a:bodyPr wrap="square" lIns="0" tIns="0" rIns="0" bIns="0" rtlCol="0"/>
              <a:lstStyle/>
              <a:p>
                <a:endParaRPr sz="1796"/>
              </a:p>
            </p:txBody>
          </p:sp>
          <p:sp>
            <p:nvSpPr>
              <p:cNvPr id="74" name="bk object 31"/>
              <p:cNvSpPr/>
              <p:nvPr userDrawn="1"/>
            </p:nvSpPr>
            <p:spPr>
              <a:xfrm>
                <a:off x="1113384" y="4410740"/>
                <a:ext cx="43180" cy="60960"/>
              </a:xfrm>
              <a:custGeom>
                <a:avLst/>
                <a:gdLst/>
                <a:ahLst/>
                <a:cxnLst/>
                <a:rect l="l" t="t" r="r" b="b"/>
                <a:pathLst>
                  <a:path w="43180" h="60960">
                    <a:moveTo>
                      <a:pt x="42786" y="0"/>
                    </a:moveTo>
                    <a:lnTo>
                      <a:pt x="30251" y="0"/>
                    </a:lnTo>
                    <a:lnTo>
                      <a:pt x="18489" y="2377"/>
                    </a:lnTo>
                    <a:lnTo>
                      <a:pt x="8872" y="8859"/>
                    </a:lnTo>
                    <a:lnTo>
                      <a:pt x="2381" y="18468"/>
                    </a:lnTo>
                    <a:lnTo>
                      <a:pt x="0" y="30226"/>
                    </a:lnTo>
                    <a:lnTo>
                      <a:pt x="2381" y="41987"/>
                    </a:lnTo>
                    <a:lnTo>
                      <a:pt x="8872" y="51604"/>
                    </a:lnTo>
                    <a:lnTo>
                      <a:pt x="18489" y="58095"/>
                    </a:lnTo>
                    <a:lnTo>
                      <a:pt x="30251" y="60477"/>
                    </a:lnTo>
                    <a:lnTo>
                      <a:pt x="42786" y="60477"/>
                    </a:lnTo>
                    <a:lnTo>
                      <a:pt x="42786" y="49415"/>
                    </a:lnTo>
                    <a:lnTo>
                      <a:pt x="30251" y="49415"/>
                    </a:lnTo>
                    <a:lnTo>
                      <a:pt x="22779" y="47904"/>
                    </a:lnTo>
                    <a:lnTo>
                      <a:pt x="16679" y="43788"/>
                    </a:lnTo>
                    <a:lnTo>
                      <a:pt x="12568" y="37687"/>
                    </a:lnTo>
                    <a:lnTo>
                      <a:pt x="11061" y="30226"/>
                    </a:lnTo>
                    <a:lnTo>
                      <a:pt x="12568" y="22768"/>
                    </a:lnTo>
                    <a:lnTo>
                      <a:pt x="16679" y="16676"/>
                    </a:lnTo>
                    <a:lnTo>
                      <a:pt x="22779" y="12568"/>
                    </a:lnTo>
                    <a:lnTo>
                      <a:pt x="30251" y="11061"/>
                    </a:lnTo>
                    <a:lnTo>
                      <a:pt x="42786" y="11061"/>
                    </a:lnTo>
                    <a:lnTo>
                      <a:pt x="42786" y="0"/>
                    </a:lnTo>
                    <a:close/>
                  </a:path>
                </a:pathLst>
              </a:custGeom>
              <a:solidFill>
                <a:srgbClr val="919396"/>
              </a:solidFill>
            </p:spPr>
            <p:txBody>
              <a:bodyPr wrap="square" lIns="0" tIns="0" rIns="0" bIns="0" rtlCol="0"/>
              <a:lstStyle/>
              <a:p>
                <a:endParaRPr sz="1796"/>
              </a:p>
            </p:txBody>
          </p:sp>
          <p:sp>
            <p:nvSpPr>
              <p:cNvPr id="75" name="bk object 32"/>
              <p:cNvSpPr/>
              <p:nvPr userDrawn="1"/>
            </p:nvSpPr>
            <p:spPr>
              <a:xfrm>
                <a:off x="722748" y="4410740"/>
                <a:ext cx="43180" cy="60960"/>
              </a:xfrm>
              <a:custGeom>
                <a:avLst/>
                <a:gdLst/>
                <a:ahLst/>
                <a:cxnLst/>
                <a:rect l="l" t="t" r="r" b="b"/>
                <a:pathLst>
                  <a:path w="43179" h="60960">
                    <a:moveTo>
                      <a:pt x="42824" y="0"/>
                    </a:moveTo>
                    <a:lnTo>
                      <a:pt x="30264" y="0"/>
                    </a:lnTo>
                    <a:lnTo>
                      <a:pt x="18505" y="2377"/>
                    </a:lnTo>
                    <a:lnTo>
                      <a:pt x="8883" y="8859"/>
                    </a:lnTo>
                    <a:lnTo>
                      <a:pt x="2385" y="18468"/>
                    </a:lnTo>
                    <a:lnTo>
                      <a:pt x="0" y="30226"/>
                    </a:lnTo>
                    <a:lnTo>
                      <a:pt x="2385" y="41987"/>
                    </a:lnTo>
                    <a:lnTo>
                      <a:pt x="8883" y="51604"/>
                    </a:lnTo>
                    <a:lnTo>
                      <a:pt x="18505" y="58095"/>
                    </a:lnTo>
                    <a:lnTo>
                      <a:pt x="30264" y="60477"/>
                    </a:lnTo>
                    <a:lnTo>
                      <a:pt x="42824" y="60477"/>
                    </a:lnTo>
                    <a:lnTo>
                      <a:pt x="42824" y="49415"/>
                    </a:lnTo>
                    <a:lnTo>
                      <a:pt x="30264" y="49415"/>
                    </a:lnTo>
                    <a:lnTo>
                      <a:pt x="22802" y="47904"/>
                    </a:lnTo>
                    <a:lnTo>
                      <a:pt x="16702" y="43788"/>
                    </a:lnTo>
                    <a:lnTo>
                      <a:pt x="12585" y="37687"/>
                    </a:lnTo>
                    <a:lnTo>
                      <a:pt x="11074" y="30226"/>
                    </a:lnTo>
                    <a:lnTo>
                      <a:pt x="12585" y="22768"/>
                    </a:lnTo>
                    <a:lnTo>
                      <a:pt x="16702" y="16676"/>
                    </a:lnTo>
                    <a:lnTo>
                      <a:pt x="22802" y="12568"/>
                    </a:lnTo>
                    <a:lnTo>
                      <a:pt x="30264" y="11061"/>
                    </a:lnTo>
                    <a:lnTo>
                      <a:pt x="42824" y="11061"/>
                    </a:lnTo>
                    <a:lnTo>
                      <a:pt x="42824" y="0"/>
                    </a:lnTo>
                    <a:close/>
                  </a:path>
                </a:pathLst>
              </a:custGeom>
              <a:solidFill>
                <a:srgbClr val="919396"/>
              </a:solidFill>
            </p:spPr>
            <p:txBody>
              <a:bodyPr wrap="square" lIns="0" tIns="0" rIns="0" bIns="0" rtlCol="0"/>
              <a:lstStyle/>
              <a:p>
                <a:endParaRPr sz="1796"/>
              </a:p>
            </p:txBody>
          </p:sp>
          <p:sp>
            <p:nvSpPr>
              <p:cNvPr id="76" name="bk object 33"/>
              <p:cNvSpPr/>
              <p:nvPr userDrawn="1"/>
            </p:nvSpPr>
            <p:spPr>
              <a:xfrm>
                <a:off x="722749" y="4799529"/>
                <a:ext cx="43180" cy="60960"/>
              </a:xfrm>
              <a:custGeom>
                <a:avLst/>
                <a:gdLst/>
                <a:ahLst/>
                <a:cxnLst/>
                <a:rect l="l" t="t" r="r" b="b"/>
                <a:pathLst>
                  <a:path w="43179" h="60960">
                    <a:moveTo>
                      <a:pt x="12560" y="0"/>
                    </a:moveTo>
                    <a:lnTo>
                      <a:pt x="0" y="0"/>
                    </a:lnTo>
                    <a:lnTo>
                      <a:pt x="0" y="11061"/>
                    </a:lnTo>
                    <a:lnTo>
                      <a:pt x="12560" y="11061"/>
                    </a:lnTo>
                    <a:lnTo>
                      <a:pt x="20019" y="12572"/>
                    </a:lnTo>
                    <a:lnTo>
                      <a:pt x="26115" y="16689"/>
                    </a:lnTo>
                    <a:lnTo>
                      <a:pt x="30228" y="22789"/>
                    </a:lnTo>
                    <a:lnTo>
                      <a:pt x="31737" y="30251"/>
                    </a:lnTo>
                    <a:lnTo>
                      <a:pt x="30228" y="37708"/>
                    </a:lnTo>
                    <a:lnTo>
                      <a:pt x="26115" y="43800"/>
                    </a:lnTo>
                    <a:lnTo>
                      <a:pt x="20019" y="47908"/>
                    </a:lnTo>
                    <a:lnTo>
                      <a:pt x="12560" y="49415"/>
                    </a:lnTo>
                    <a:lnTo>
                      <a:pt x="0" y="49415"/>
                    </a:lnTo>
                    <a:lnTo>
                      <a:pt x="0" y="60477"/>
                    </a:lnTo>
                    <a:lnTo>
                      <a:pt x="12560" y="60477"/>
                    </a:lnTo>
                    <a:lnTo>
                      <a:pt x="24323" y="58099"/>
                    </a:lnTo>
                    <a:lnTo>
                      <a:pt x="33945" y="51617"/>
                    </a:lnTo>
                    <a:lnTo>
                      <a:pt x="40440" y="42009"/>
                    </a:lnTo>
                    <a:lnTo>
                      <a:pt x="42824" y="30251"/>
                    </a:lnTo>
                    <a:lnTo>
                      <a:pt x="40440" y="18489"/>
                    </a:lnTo>
                    <a:lnTo>
                      <a:pt x="33945" y="8872"/>
                    </a:lnTo>
                    <a:lnTo>
                      <a:pt x="24323" y="2381"/>
                    </a:lnTo>
                    <a:lnTo>
                      <a:pt x="12560" y="0"/>
                    </a:lnTo>
                    <a:close/>
                  </a:path>
                </a:pathLst>
              </a:custGeom>
              <a:solidFill>
                <a:srgbClr val="919396"/>
              </a:solidFill>
            </p:spPr>
            <p:txBody>
              <a:bodyPr wrap="square" lIns="0" tIns="0" rIns="0" bIns="0" rtlCol="0"/>
              <a:lstStyle/>
              <a:p>
                <a:endParaRPr sz="1796"/>
              </a:p>
            </p:txBody>
          </p:sp>
          <p:sp>
            <p:nvSpPr>
              <p:cNvPr id="77" name="bk object 34"/>
              <p:cNvSpPr/>
              <p:nvPr userDrawn="1"/>
            </p:nvSpPr>
            <p:spPr>
              <a:xfrm>
                <a:off x="1113387" y="4799529"/>
                <a:ext cx="43180" cy="60960"/>
              </a:xfrm>
              <a:custGeom>
                <a:avLst/>
                <a:gdLst/>
                <a:ahLst/>
                <a:cxnLst/>
                <a:rect l="l" t="t" r="r" b="b"/>
                <a:pathLst>
                  <a:path w="43180" h="60960">
                    <a:moveTo>
                      <a:pt x="12534" y="0"/>
                    </a:moveTo>
                    <a:lnTo>
                      <a:pt x="0" y="0"/>
                    </a:lnTo>
                    <a:lnTo>
                      <a:pt x="0" y="11061"/>
                    </a:lnTo>
                    <a:lnTo>
                      <a:pt x="12534" y="11061"/>
                    </a:lnTo>
                    <a:lnTo>
                      <a:pt x="19996" y="12572"/>
                    </a:lnTo>
                    <a:lnTo>
                      <a:pt x="26096" y="16689"/>
                    </a:lnTo>
                    <a:lnTo>
                      <a:pt x="30213" y="22789"/>
                    </a:lnTo>
                    <a:lnTo>
                      <a:pt x="31724" y="30251"/>
                    </a:lnTo>
                    <a:lnTo>
                      <a:pt x="30213" y="37708"/>
                    </a:lnTo>
                    <a:lnTo>
                      <a:pt x="26096" y="43800"/>
                    </a:lnTo>
                    <a:lnTo>
                      <a:pt x="19996" y="47908"/>
                    </a:lnTo>
                    <a:lnTo>
                      <a:pt x="12534" y="49415"/>
                    </a:lnTo>
                    <a:lnTo>
                      <a:pt x="0" y="49415"/>
                    </a:lnTo>
                    <a:lnTo>
                      <a:pt x="0" y="60477"/>
                    </a:lnTo>
                    <a:lnTo>
                      <a:pt x="12534" y="60477"/>
                    </a:lnTo>
                    <a:lnTo>
                      <a:pt x="24296" y="58099"/>
                    </a:lnTo>
                    <a:lnTo>
                      <a:pt x="33913" y="51617"/>
                    </a:lnTo>
                    <a:lnTo>
                      <a:pt x="40404" y="42009"/>
                    </a:lnTo>
                    <a:lnTo>
                      <a:pt x="42786" y="30251"/>
                    </a:lnTo>
                    <a:lnTo>
                      <a:pt x="40404" y="18489"/>
                    </a:lnTo>
                    <a:lnTo>
                      <a:pt x="33913" y="8872"/>
                    </a:lnTo>
                    <a:lnTo>
                      <a:pt x="24296" y="2381"/>
                    </a:lnTo>
                    <a:lnTo>
                      <a:pt x="12534" y="0"/>
                    </a:lnTo>
                    <a:close/>
                  </a:path>
                </a:pathLst>
              </a:custGeom>
              <a:solidFill>
                <a:srgbClr val="000000"/>
              </a:solidFill>
            </p:spPr>
            <p:txBody>
              <a:bodyPr wrap="square" lIns="0" tIns="0" rIns="0" bIns="0" rtlCol="0"/>
              <a:lstStyle/>
              <a:p>
                <a:endParaRPr sz="1796"/>
              </a:p>
            </p:txBody>
          </p:sp>
          <p:sp>
            <p:nvSpPr>
              <p:cNvPr id="78" name="bk object 35"/>
              <p:cNvSpPr/>
              <p:nvPr userDrawn="1"/>
            </p:nvSpPr>
            <p:spPr>
              <a:xfrm>
                <a:off x="1503992" y="4799529"/>
                <a:ext cx="43180" cy="60960"/>
              </a:xfrm>
              <a:custGeom>
                <a:avLst/>
                <a:gdLst/>
                <a:ahLst/>
                <a:cxnLst/>
                <a:rect l="l" t="t" r="r" b="b"/>
                <a:pathLst>
                  <a:path w="43180" h="60960">
                    <a:moveTo>
                      <a:pt x="12534" y="0"/>
                    </a:moveTo>
                    <a:lnTo>
                      <a:pt x="0" y="0"/>
                    </a:lnTo>
                    <a:lnTo>
                      <a:pt x="0" y="11061"/>
                    </a:lnTo>
                    <a:lnTo>
                      <a:pt x="12534" y="11061"/>
                    </a:lnTo>
                    <a:lnTo>
                      <a:pt x="20001" y="12572"/>
                    </a:lnTo>
                    <a:lnTo>
                      <a:pt x="26101" y="16689"/>
                    </a:lnTo>
                    <a:lnTo>
                      <a:pt x="30215" y="22789"/>
                    </a:lnTo>
                    <a:lnTo>
                      <a:pt x="31724" y="30251"/>
                    </a:lnTo>
                    <a:lnTo>
                      <a:pt x="30215" y="37708"/>
                    </a:lnTo>
                    <a:lnTo>
                      <a:pt x="26101" y="43800"/>
                    </a:lnTo>
                    <a:lnTo>
                      <a:pt x="20001" y="47908"/>
                    </a:lnTo>
                    <a:lnTo>
                      <a:pt x="12534" y="49415"/>
                    </a:lnTo>
                    <a:lnTo>
                      <a:pt x="0" y="49415"/>
                    </a:lnTo>
                    <a:lnTo>
                      <a:pt x="0" y="60477"/>
                    </a:lnTo>
                    <a:lnTo>
                      <a:pt x="12534" y="60477"/>
                    </a:lnTo>
                    <a:lnTo>
                      <a:pt x="24307" y="58099"/>
                    </a:lnTo>
                    <a:lnTo>
                      <a:pt x="33923" y="51617"/>
                    </a:lnTo>
                    <a:lnTo>
                      <a:pt x="40408" y="42009"/>
                    </a:lnTo>
                    <a:lnTo>
                      <a:pt x="42786" y="30251"/>
                    </a:lnTo>
                    <a:lnTo>
                      <a:pt x="40408" y="18489"/>
                    </a:lnTo>
                    <a:lnTo>
                      <a:pt x="33923" y="8872"/>
                    </a:lnTo>
                    <a:lnTo>
                      <a:pt x="24307" y="2381"/>
                    </a:lnTo>
                    <a:lnTo>
                      <a:pt x="12534" y="0"/>
                    </a:lnTo>
                    <a:close/>
                  </a:path>
                </a:pathLst>
              </a:custGeom>
              <a:solidFill>
                <a:srgbClr val="000000"/>
              </a:solidFill>
            </p:spPr>
            <p:txBody>
              <a:bodyPr wrap="square" lIns="0" tIns="0" rIns="0" bIns="0" rtlCol="0"/>
              <a:lstStyle/>
              <a:p>
                <a:endParaRPr sz="1796"/>
              </a:p>
            </p:txBody>
          </p:sp>
          <p:sp>
            <p:nvSpPr>
              <p:cNvPr id="79" name="bk object 36"/>
              <p:cNvSpPr/>
              <p:nvPr userDrawn="1"/>
            </p:nvSpPr>
            <p:spPr>
              <a:xfrm>
                <a:off x="1894592" y="4799529"/>
                <a:ext cx="43180" cy="60960"/>
              </a:xfrm>
              <a:custGeom>
                <a:avLst/>
                <a:gdLst/>
                <a:ahLst/>
                <a:cxnLst/>
                <a:rect l="l" t="t" r="r" b="b"/>
                <a:pathLst>
                  <a:path w="43180" h="60960">
                    <a:moveTo>
                      <a:pt x="12534" y="0"/>
                    </a:moveTo>
                    <a:lnTo>
                      <a:pt x="0" y="0"/>
                    </a:lnTo>
                    <a:lnTo>
                      <a:pt x="0" y="11061"/>
                    </a:lnTo>
                    <a:lnTo>
                      <a:pt x="12534" y="11061"/>
                    </a:lnTo>
                    <a:lnTo>
                      <a:pt x="20007" y="12572"/>
                    </a:lnTo>
                    <a:lnTo>
                      <a:pt x="26106" y="16689"/>
                    </a:lnTo>
                    <a:lnTo>
                      <a:pt x="30217" y="22789"/>
                    </a:lnTo>
                    <a:lnTo>
                      <a:pt x="31724" y="30251"/>
                    </a:lnTo>
                    <a:lnTo>
                      <a:pt x="30217" y="37708"/>
                    </a:lnTo>
                    <a:lnTo>
                      <a:pt x="26106" y="43800"/>
                    </a:lnTo>
                    <a:lnTo>
                      <a:pt x="20007" y="47908"/>
                    </a:lnTo>
                    <a:lnTo>
                      <a:pt x="12534" y="49415"/>
                    </a:lnTo>
                    <a:lnTo>
                      <a:pt x="0" y="49415"/>
                    </a:lnTo>
                    <a:lnTo>
                      <a:pt x="0" y="60477"/>
                    </a:lnTo>
                    <a:lnTo>
                      <a:pt x="12534" y="60477"/>
                    </a:lnTo>
                    <a:lnTo>
                      <a:pt x="24307" y="58099"/>
                    </a:lnTo>
                    <a:lnTo>
                      <a:pt x="33923" y="51617"/>
                    </a:lnTo>
                    <a:lnTo>
                      <a:pt x="40408" y="42009"/>
                    </a:lnTo>
                    <a:lnTo>
                      <a:pt x="42786" y="30251"/>
                    </a:lnTo>
                    <a:lnTo>
                      <a:pt x="40408" y="18489"/>
                    </a:lnTo>
                    <a:lnTo>
                      <a:pt x="33923" y="8872"/>
                    </a:lnTo>
                    <a:lnTo>
                      <a:pt x="24307" y="2381"/>
                    </a:lnTo>
                    <a:lnTo>
                      <a:pt x="12534" y="0"/>
                    </a:lnTo>
                    <a:close/>
                  </a:path>
                </a:pathLst>
              </a:custGeom>
              <a:solidFill>
                <a:srgbClr val="000000"/>
              </a:solidFill>
            </p:spPr>
            <p:txBody>
              <a:bodyPr wrap="square" lIns="0" tIns="0" rIns="0" bIns="0" rtlCol="0"/>
              <a:lstStyle/>
              <a:p>
                <a:endParaRPr sz="1796"/>
              </a:p>
            </p:txBody>
          </p:sp>
          <p:sp>
            <p:nvSpPr>
              <p:cNvPr id="80" name="bk object 37"/>
              <p:cNvSpPr/>
              <p:nvPr userDrawn="1"/>
            </p:nvSpPr>
            <p:spPr>
              <a:xfrm>
                <a:off x="2285197" y="4799529"/>
                <a:ext cx="43180" cy="60960"/>
              </a:xfrm>
              <a:custGeom>
                <a:avLst/>
                <a:gdLst/>
                <a:ahLst/>
                <a:cxnLst/>
                <a:rect l="l" t="t" r="r" b="b"/>
                <a:pathLst>
                  <a:path w="43180" h="60960">
                    <a:moveTo>
                      <a:pt x="12534" y="0"/>
                    </a:moveTo>
                    <a:lnTo>
                      <a:pt x="0" y="0"/>
                    </a:lnTo>
                    <a:lnTo>
                      <a:pt x="0" y="11061"/>
                    </a:lnTo>
                    <a:lnTo>
                      <a:pt x="12534" y="11061"/>
                    </a:lnTo>
                    <a:lnTo>
                      <a:pt x="20001" y="12572"/>
                    </a:lnTo>
                    <a:lnTo>
                      <a:pt x="26101" y="16689"/>
                    </a:lnTo>
                    <a:lnTo>
                      <a:pt x="30215" y="22789"/>
                    </a:lnTo>
                    <a:lnTo>
                      <a:pt x="31724" y="30251"/>
                    </a:lnTo>
                    <a:lnTo>
                      <a:pt x="30215" y="37708"/>
                    </a:lnTo>
                    <a:lnTo>
                      <a:pt x="26101" y="43800"/>
                    </a:lnTo>
                    <a:lnTo>
                      <a:pt x="20001" y="47908"/>
                    </a:lnTo>
                    <a:lnTo>
                      <a:pt x="12534" y="49415"/>
                    </a:lnTo>
                    <a:lnTo>
                      <a:pt x="0" y="49415"/>
                    </a:lnTo>
                    <a:lnTo>
                      <a:pt x="0" y="60477"/>
                    </a:lnTo>
                    <a:lnTo>
                      <a:pt x="12534" y="60477"/>
                    </a:lnTo>
                    <a:lnTo>
                      <a:pt x="24311" y="58099"/>
                    </a:lnTo>
                    <a:lnTo>
                      <a:pt x="33935" y="51617"/>
                    </a:lnTo>
                    <a:lnTo>
                      <a:pt x="40429" y="42009"/>
                    </a:lnTo>
                    <a:lnTo>
                      <a:pt x="42811" y="30251"/>
                    </a:lnTo>
                    <a:lnTo>
                      <a:pt x="40429" y="18489"/>
                    </a:lnTo>
                    <a:lnTo>
                      <a:pt x="33935" y="8872"/>
                    </a:lnTo>
                    <a:lnTo>
                      <a:pt x="24311" y="2381"/>
                    </a:lnTo>
                    <a:lnTo>
                      <a:pt x="12534" y="0"/>
                    </a:lnTo>
                    <a:close/>
                  </a:path>
                </a:pathLst>
              </a:custGeom>
              <a:solidFill>
                <a:srgbClr val="919396"/>
              </a:solidFill>
            </p:spPr>
            <p:txBody>
              <a:bodyPr wrap="square" lIns="0" tIns="0" rIns="0" bIns="0" rtlCol="0"/>
              <a:lstStyle/>
              <a:p>
                <a:endParaRPr sz="1796"/>
              </a:p>
            </p:txBody>
          </p:sp>
          <p:sp>
            <p:nvSpPr>
              <p:cNvPr id="81" name="bk object 38"/>
              <p:cNvSpPr/>
              <p:nvPr userDrawn="1"/>
            </p:nvSpPr>
            <p:spPr>
              <a:xfrm>
                <a:off x="2675802" y="4799529"/>
                <a:ext cx="43180" cy="60960"/>
              </a:xfrm>
              <a:custGeom>
                <a:avLst/>
                <a:gdLst/>
                <a:ahLst/>
                <a:cxnLst/>
                <a:rect l="l" t="t" r="r" b="b"/>
                <a:pathLst>
                  <a:path w="43180" h="60960">
                    <a:moveTo>
                      <a:pt x="12560" y="0"/>
                    </a:moveTo>
                    <a:lnTo>
                      <a:pt x="0" y="0"/>
                    </a:lnTo>
                    <a:lnTo>
                      <a:pt x="0" y="11061"/>
                    </a:lnTo>
                    <a:lnTo>
                      <a:pt x="12560" y="11061"/>
                    </a:lnTo>
                    <a:lnTo>
                      <a:pt x="20021" y="12572"/>
                    </a:lnTo>
                    <a:lnTo>
                      <a:pt x="26122" y="16689"/>
                    </a:lnTo>
                    <a:lnTo>
                      <a:pt x="30239" y="22789"/>
                    </a:lnTo>
                    <a:lnTo>
                      <a:pt x="31750" y="30251"/>
                    </a:lnTo>
                    <a:lnTo>
                      <a:pt x="30239" y="37708"/>
                    </a:lnTo>
                    <a:lnTo>
                      <a:pt x="26122" y="43800"/>
                    </a:lnTo>
                    <a:lnTo>
                      <a:pt x="20021" y="47908"/>
                    </a:lnTo>
                    <a:lnTo>
                      <a:pt x="12560" y="49415"/>
                    </a:lnTo>
                    <a:lnTo>
                      <a:pt x="0" y="49415"/>
                    </a:lnTo>
                    <a:lnTo>
                      <a:pt x="0" y="60477"/>
                    </a:lnTo>
                    <a:lnTo>
                      <a:pt x="12560" y="60477"/>
                    </a:lnTo>
                    <a:lnTo>
                      <a:pt x="24321" y="58099"/>
                    </a:lnTo>
                    <a:lnTo>
                      <a:pt x="33939" y="51617"/>
                    </a:lnTo>
                    <a:lnTo>
                      <a:pt x="40429" y="42009"/>
                    </a:lnTo>
                    <a:lnTo>
                      <a:pt x="42811" y="30251"/>
                    </a:lnTo>
                    <a:lnTo>
                      <a:pt x="40429" y="18489"/>
                    </a:lnTo>
                    <a:lnTo>
                      <a:pt x="33939" y="8872"/>
                    </a:lnTo>
                    <a:lnTo>
                      <a:pt x="24321" y="2381"/>
                    </a:lnTo>
                    <a:lnTo>
                      <a:pt x="12560" y="0"/>
                    </a:lnTo>
                    <a:close/>
                  </a:path>
                </a:pathLst>
              </a:custGeom>
              <a:solidFill>
                <a:srgbClr val="919396"/>
              </a:solidFill>
            </p:spPr>
            <p:txBody>
              <a:bodyPr wrap="square" lIns="0" tIns="0" rIns="0" bIns="0" rtlCol="0"/>
              <a:lstStyle/>
              <a:p>
                <a:endParaRPr sz="1796"/>
              </a:p>
            </p:txBody>
          </p:sp>
          <p:sp>
            <p:nvSpPr>
              <p:cNvPr id="82" name="bk object 39"/>
              <p:cNvSpPr/>
              <p:nvPr userDrawn="1"/>
            </p:nvSpPr>
            <p:spPr>
              <a:xfrm>
                <a:off x="3066427" y="4799529"/>
                <a:ext cx="43180" cy="60960"/>
              </a:xfrm>
              <a:custGeom>
                <a:avLst/>
                <a:gdLst/>
                <a:ahLst/>
                <a:cxnLst/>
                <a:rect l="l" t="t" r="r" b="b"/>
                <a:pathLst>
                  <a:path w="43180" h="60960">
                    <a:moveTo>
                      <a:pt x="12534" y="0"/>
                    </a:moveTo>
                    <a:lnTo>
                      <a:pt x="0" y="0"/>
                    </a:lnTo>
                    <a:lnTo>
                      <a:pt x="0" y="11061"/>
                    </a:lnTo>
                    <a:lnTo>
                      <a:pt x="12534" y="11061"/>
                    </a:lnTo>
                    <a:lnTo>
                      <a:pt x="19996" y="12572"/>
                    </a:lnTo>
                    <a:lnTo>
                      <a:pt x="26096" y="16689"/>
                    </a:lnTo>
                    <a:lnTo>
                      <a:pt x="30213" y="22789"/>
                    </a:lnTo>
                    <a:lnTo>
                      <a:pt x="31724" y="30251"/>
                    </a:lnTo>
                    <a:lnTo>
                      <a:pt x="30213" y="37708"/>
                    </a:lnTo>
                    <a:lnTo>
                      <a:pt x="26096" y="43800"/>
                    </a:lnTo>
                    <a:lnTo>
                      <a:pt x="19996" y="47908"/>
                    </a:lnTo>
                    <a:lnTo>
                      <a:pt x="12534" y="49415"/>
                    </a:lnTo>
                    <a:lnTo>
                      <a:pt x="0" y="49415"/>
                    </a:lnTo>
                    <a:lnTo>
                      <a:pt x="0" y="60477"/>
                    </a:lnTo>
                    <a:lnTo>
                      <a:pt x="12534" y="60477"/>
                    </a:lnTo>
                    <a:lnTo>
                      <a:pt x="24296" y="58099"/>
                    </a:lnTo>
                    <a:lnTo>
                      <a:pt x="33913" y="51617"/>
                    </a:lnTo>
                    <a:lnTo>
                      <a:pt x="40404" y="42009"/>
                    </a:lnTo>
                    <a:lnTo>
                      <a:pt x="42786" y="30251"/>
                    </a:lnTo>
                    <a:lnTo>
                      <a:pt x="40404" y="18489"/>
                    </a:lnTo>
                    <a:lnTo>
                      <a:pt x="33913" y="8872"/>
                    </a:lnTo>
                    <a:lnTo>
                      <a:pt x="24296" y="2381"/>
                    </a:lnTo>
                    <a:lnTo>
                      <a:pt x="12534" y="0"/>
                    </a:lnTo>
                    <a:close/>
                  </a:path>
                </a:pathLst>
              </a:custGeom>
              <a:solidFill>
                <a:srgbClr val="919396"/>
              </a:solidFill>
            </p:spPr>
            <p:txBody>
              <a:bodyPr wrap="square" lIns="0" tIns="0" rIns="0" bIns="0" rtlCol="0"/>
              <a:lstStyle/>
              <a:p>
                <a:endParaRPr sz="1796"/>
              </a:p>
            </p:txBody>
          </p:sp>
          <p:sp>
            <p:nvSpPr>
              <p:cNvPr id="83" name="bk object 40"/>
              <p:cNvSpPr/>
              <p:nvPr userDrawn="1"/>
            </p:nvSpPr>
            <p:spPr>
              <a:xfrm>
                <a:off x="3457032" y="4799529"/>
                <a:ext cx="43180" cy="60960"/>
              </a:xfrm>
              <a:custGeom>
                <a:avLst/>
                <a:gdLst/>
                <a:ahLst/>
                <a:cxnLst/>
                <a:rect l="l" t="t" r="r" b="b"/>
                <a:pathLst>
                  <a:path w="43179" h="60960">
                    <a:moveTo>
                      <a:pt x="12534" y="0"/>
                    </a:moveTo>
                    <a:lnTo>
                      <a:pt x="0" y="0"/>
                    </a:lnTo>
                    <a:lnTo>
                      <a:pt x="0" y="11061"/>
                    </a:lnTo>
                    <a:lnTo>
                      <a:pt x="12534" y="11061"/>
                    </a:lnTo>
                    <a:lnTo>
                      <a:pt x="20007" y="12572"/>
                    </a:lnTo>
                    <a:lnTo>
                      <a:pt x="26106" y="16689"/>
                    </a:lnTo>
                    <a:lnTo>
                      <a:pt x="30217" y="22789"/>
                    </a:lnTo>
                    <a:lnTo>
                      <a:pt x="31724" y="30251"/>
                    </a:lnTo>
                    <a:lnTo>
                      <a:pt x="30217" y="37708"/>
                    </a:lnTo>
                    <a:lnTo>
                      <a:pt x="26106" y="43800"/>
                    </a:lnTo>
                    <a:lnTo>
                      <a:pt x="20007" y="47908"/>
                    </a:lnTo>
                    <a:lnTo>
                      <a:pt x="12534" y="49415"/>
                    </a:lnTo>
                    <a:lnTo>
                      <a:pt x="0" y="49415"/>
                    </a:lnTo>
                    <a:lnTo>
                      <a:pt x="0" y="60477"/>
                    </a:lnTo>
                    <a:lnTo>
                      <a:pt x="12534" y="60477"/>
                    </a:lnTo>
                    <a:lnTo>
                      <a:pt x="24307" y="58099"/>
                    </a:lnTo>
                    <a:lnTo>
                      <a:pt x="33923" y="51617"/>
                    </a:lnTo>
                    <a:lnTo>
                      <a:pt x="40408" y="42009"/>
                    </a:lnTo>
                    <a:lnTo>
                      <a:pt x="42786" y="30251"/>
                    </a:lnTo>
                    <a:lnTo>
                      <a:pt x="40408" y="18489"/>
                    </a:lnTo>
                    <a:lnTo>
                      <a:pt x="33923" y="8872"/>
                    </a:lnTo>
                    <a:lnTo>
                      <a:pt x="24307" y="2381"/>
                    </a:lnTo>
                    <a:lnTo>
                      <a:pt x="12534" y="0"/>
                    </a:lnTo>
                    <a:close/>
                  </a:path>
                </a:pathLst>
              </a:custGeom>
              <a:solidFill>
                <a:srgbClr val="919396"/>
              </a:solidFill>
            </p:spPr>
            <p:txBody>
              <a:bodyPr wrap="square" lIns="0" tIns="0" rIns="0" bIns="0" rtlCol="0"/>
              <a:lstStyle/>
              <a:p>
                <a:endParaRPr sz="1796"/>
              </a:p>
            </p:txBody>
          </p:sp>
          <p:sp>
            <p:nvSpPr>
              <p:cNvPr id="84" name="bk object 41"/>
              <p:cNvSpPr/>
              <p:nvPr userDrawn="1"/>
            </p:nvSpPr>
            <p:spPr>
              <a:xfrm>
                <a:off x="3847639" y="4799529"/>
                <a:ext cx="43180" cy="60960"/>
              </a:xfrm>
              <a:custGeom>
                <a:avLst/>
                <a:gdLst/>
                <a:ahLst/>
                <a:cxnLst/>
                <a:rect l="l" t="t" r="r" b="b"/>
                <a:pathLst>
                  <a:path w="43179" h="60960">
                    <a:moveTo>
                      <a:pt x="12534" y="0"/>
                    </a:moveTo>
                    <a:lnTo>
                      <a:pt x="0" y="0"/>
                    </a:lnTo>
                    <a:lnTo>
                      <a:pt x="0" y="11061"/>
                    </a:lnTo>
                    <a:lnTo>
                      <a:pt x="12534" y="11061"/>
                    </a:lnTo>
                    <a:lnTo>
                      <a:pt x="20001" y="12572"/>
                    </a:lnTo>
                    <a:lnTo>
                      <a:pt x="26101" y="16689"/>
                    </a:lnTo>
                    <a:lnTo>
                      <a:pt x="30215" y="22789"/>
                    </a:lnTo>
                    <a:lnTo>
                      <a:pt x="31724" y="30251"/>
                    </a:lnTo>
                    <a:lnTo>
                      <a:pt x="30215" y="37708"/>
                    </a:lnTo>
                    <a:lnTo>
                      <a:pt x="26101" y="43800"/>
                    </a:lnTo>
                    <a:lnTo>
                      <a:pt x="20001" y="47908"/>
                    </a:lnTo>
                    <a:lnTo>
                      <a:pt x="12534" y="49415"/>
                    </a:lnTo>
                    <a:lnTo>
                      <a:pt x="0" y="49415"/>
                    </a:lnTo>
                    <a:lnTo>
                      <a:pt x="0" y="60477"/>
                    </a:lnTo>
                    <a:lnTo>
                      <a:pt x="12534" y="60477"/>
                    </a:lnTo>
                    <a:lnTo>
                      <a:pt x="24307" y="58099"/>
                    </a:lnTo>
                    <a:lnTo>
                      <a:pt x="33923" y="51617"/>
                    </a:lnTo>
                    <a:lnTo>
                      <a:pt x="40408" y="42009"/>
                    </a:lnTo>
                    <a:lnTo>
                      <a:pt x="42786" y="30251"/>
                    </a:lnTo>
                    <a:lnTo>
                      <a:pt x="40408" y="18489"/>
                    </a:lnTo>
                    <a:lnTo>
                      <a:pt x="33923" y="8872"/>
                    </a:lnTo>
                    <a:lnTo>
                      <a:pt x="24307" y="2381"/>
                    </a:lnTo>
                    <a:lnTo>
                      <a:pt x="12534" y="0"/>
                    </a:lnTo>
                    <a:close/>
                  </a:path>
                </a:pathLst>
              </a:custGeom>
              <a:solidFill>
                <a:srgbClr val="919396"/>
              </a:solidFill>
            </p:spPr>
            <p:txBody>
              <a:bodyPr wrap="square" lIns="0" tIns="0" rIns="0" bIns="0" rtlCol="0"/>
              <a:lstStyle/>
              <a:p>
                <a:endParaRPr sz="1796"/>
              </a:p>
            </p:txBody>
          </p:sp>
          <p:sp>
            <p:nvSpPr>
              <p:cNvPr id="85" name="bk object 42"/>
              <p:cNvSpPr/>
              <p:nvPr userDrawn="1"/>
            </p:nvSpPr>
            <p:spPr>
              <a:xfrm>
                <a:off x="4238244" y="4799529"/>
                <a:ext cx="43180" cy="60960"/>
              </a:xfrm>
              <a:custGeom>
                <a:avLst/>
                <a:gdLst/>
                <a:ahLst/>
                <a:cxnLst/>
                <a:rect l="l" t="t" r="r" b="b"/>
                <a:pathLst>
                  <a:path w="43179" h="60960">
                    <a:moveTo>
                      <a:pt x="12560" y="0"/>
                    </a:moveTo>
                    <a:lnTo>
                      <a:pt x="0" y="0"/>
                    </a:lnTo>
                    <a:lnTo>
                      <a:pt x="0" y="11061"/>
                    </a:lnTo>
                    <a:lnTo>
                      <a:pt x="12560" y="11061"/>
                    </a:lnTo>
                    <a:lnTo>
                      <a:pt x="20021" y="12572"/>
                    </a:lnTo>
                    <a:lnTo>
                      <a:pt x="26122" y="16689"/>
                    </a:lnTo>
                    <a:lnTo>
                      <a:pt x="30239" y="22789"/>
                    </a:lnTo>
                    <a:lnTo>
                      <a:pt x="31749" y="30251"/>
                    </a:lnTo>
                    <a:lnTo>
                      <a:pt x="30239" y="37708"/>
                    </a:lnTo>
                    <a:lnTo>
                      <a:pt x="26122" y="43800"/>
                    </a:lnTo>
                    <a:lnTo>
                      <a:pt x="20021" y="47908"/>
                    </a:lnTo>
                    <a:lnTo>
                      <a:pt x="12560" y="49415"/>
                    </a:lnTo>
                    <a:lnTo>
                      <a:pt x="0" y="49415"/>
                    </a:lnTo>
                    <a:lnTo>
                      <a:pt x="0" y="60477"/>
                    </a:lnTo>
                    <a:lnTo>
                      <a:pt x="12560" y="60477"/>
                    </a:lnTo>
                    <a:lnTo>
                      <a:pt x="24316" y="58099"/>
                    </a:lnTo>
                    <a:lnTo>
                      <a:pt x="33934" y="51617"/>
                    </a:lnTo>
                    <a:lnTo>
                      <a:pt x="40428" y="42009"/>
                    </a:lnTo>
                    <a:lnTo>
                      <a:pt x="42811" y="30251"/>
                    </a:lnTo>
                    <a:lnTo>
                      <a:pt x="40428" y="18489"/>
                    </a:lnTo>
                    <a:lnTo>
                      <a:pt x="33934" y="8872"/>
                    </a:lnTo>
                    <a:lnTo>
                      <a:pt x="24316" y="2381"/>
                    </a:lnTo>
                    <a:lnTo>
                      <a:pt x="12560" y="0"/>
                    </a:lnTo>
                    <a:close/>
                  </a:path>
                </a:pathLst>
              </a:custGeom>
              <a:solidFill>
                <a:srgbClr val="919396"/>
              </a:solidFill>
            </p:spPr>
            <p:txBody>
              <a:bodyPr wrap="square" lIns="0" tIns="0" rIns="0" bIns="0" rtlCol="0"/>
              <a:lstStyle/>
              <a:p>
                <a:endParaRPr sz="1796"/>
              </a:p>
            </p:txBody>
          </p:sp>
          <p:sp>
            <p:nvSpPr>
              <p:cNvPr id="86" name="bk object 43"/>
              <p:cNvSpPr/>
              <p:nvPr userDrawn="1"/>
            </p:nvSpPr>
            <p:spPr>
              <a:xfrm>
                <a:off x="4628868" y="4799529"/>
                <a:ext cx="43180" cy="60960"/>
              </a:xfrm>
              <a:custGeom>
                <a:avLst/>
                <a:gdLst/>
                <a:ahLst/>
                <a:cxnLst/>
                <a:rect l="l" t="t" r="r" b="b"/>
                <a:pathLst>
                  <a:path w="43179" h="60960">
                    <a:moveTo>
                      <a:pt x="12534" y="0"/>
                    </a:moveTo>
                    <a:lnTo>
                      <a:pt x="0" y="0"/>
                    </a:lnTo>
                    <a:lnTo>
                      <a:pt x="0" y="11061"/>
                    </a:lnTo>
                    <a:lnTo>
                      <a:pt x="12534" y="11061"/>
                    </a:lnTo>
                    <a:lnTo>
                      <a:pt x="19996" y="12572"/>
                    </a:lnTo>
                    <a:lnTo>
                      <a:pt x="26096" y="16689"/>
                    </a:lnTo>
                    <a:lnTo>
                      <a:pt x="30213" y="22789"/>
                    </a:lnTo>
                    <a:lnTo>
                      <a:pt x="31724" y="30251"/>
                    </a:lnTo>
                    <a:lnTo>
                      <a:pt x="30213" y="37708"/>
                    </a:lnTo>
                    <a:lnTo>
                      <a:pt x="26096" y="43800"/>
                    </a:lnTo>
                    <a:lnTo>
                      <a:pt x="19996" y="47908"/>
                    </a:lnTo>
                    <a:lnTo>
                      <a:pt x="12534" y="49415"/>
                    </a:lnTo>
                    <a:lnTo>
                      <a:pt x="0" y="49415"/>
                    </a:lnTo>
                    <a:lnTo>
                      <a:pt x="0" y="60477"/>
                    </a:lnTo>
                    <a:lnTo>
                      <a:pt x="12534" y="60477"/>
                    </a:lnTo>
                    <a:lnTo>
                      <a:pt x="24296" y="58099"/>
                    </a:lnTo>
                    <a:lnTo>
                      <a:pt x="33913" y="51617"/>
                    </a:lnTo>
                    <a:lnTo>
                      <a:pt x="40404" y="42009"/>
                    </a:lnTo>
                    <a:lnTo>
                      <a:pt x="42786" y="30251"/>
                    </a:lnTo>
                    <a:lnTo>
                      <a:pt x="40404" y="18489"/>
                    </a:lnTo>
                    <a:lnTo>
                      <a:pt x="33913" y="8872"/>
                    </a:lnTo>
                    <a:lnTo>
                      <a:pt x="24296" y="2381"/>
                    </a:lnTo>
                    <a:lnTo>
                      <a:pt x="12534" y="0"/>
                    </a:lnTo>
                    <a:close/>
                  </a:path>
                </a:pathLst>
              </a:custGeom>
              <a:solidFill>
                <a:srgbClr val="919396"/>
              </a:solidFill>
            </p:spPr>
            <p:txBody>
              <a:bodyPr wrap="square" lIns="0" tIns="0" rIns="0" bIns="0" rtlCol="0"/>
              <a:lstStyle/>
              <a:p>
                <a:endParaRPr sz="1796"/>
              </a:p>
            </p:txBody>
          </p:sp>
          <p:sp>
            <p:nvSpPr>
              <p:cNvPr id="87" name="bk object 44"/>
              <p:cNvSpPr/>
              <p:nvPr userDrawn="1"/>
            </p:nvSpPr>
            <p:spPr>
              <a:xfrm>
                <a:off x="5019474" y="4799529"/>
                <a:ext cx="43180" cy="60960"/>
              </a:xfrm>
              <a:custGeom>
                <a:avLst/>
                <a:gdLst/>
                <a:ahLst/>
                <a:cxnLst/>
                <a:rect l="l" t="t" r="r" b="b"/>
                <a:pathLst>
                  <a:path w="43179" h="60960">
                    <a:moveTo>
                      <a:pt x="12534" y="0"/>
                    </a:moveTo>
                    <a:lnTo>
                      <a:pt x="0" y="0"/>
                    </a:lnTo>
                    <a:lnTo>
                      <a:pt x="0" y="11061"/>
                    </a:lnTo>
                    <a:lnTo>
                      <a:pt x="12534" y="11061"/>
                    </a:lnTo>
                    <a:lnTo>
                      <a:pt x="20001" y="12572"/>
                    </a:lnTo>
                    <a:lnTo>
                      <a:pt x="26101" y="16689"/>
                    </a:lnTo>
                    <a:lnTo>
                      <a:pt x="30215" y="22789"/>
                    </a:lnTo>
                    <a:lnTo>
                      <a:pt x="31724" y="30251"/>
                    </a:lnTo>
                    <a:lnTo>
                      <a:pt x="30215" y="37708"/>
                    </a:lnTo>
                    <a:lnTo>
                      <a:pt x="26101" y="43800"/>
                    </a:lnTo>
                    <a:lnTo>
                      <a:pt x="20001" y="47908"/>
                    </a:lnTo>
                    <a:lnTo>
                      <a:pt x="12534" y="49415"/>
                    </a:lnTo>
                    <a:lnTo>
                      <a:pt x="0" y="49415"/>
                    </a:lnTo>
                    <a:lnTo>
                      <a:pt x="0" y="60477"/>
                    </a:lnTo>
                    <a:lnTo>
                      <a:pt x="12534" y="60477"/>
                    </a:lnTo>
                    <a:lnTo>
                      <a:pt x="24296" y="58099"/>
                    </a:lnTo>
                    <a:lnTo>
                      <a:pt x="33913" y="51617"/>
                    </a:lnTo>
                    <a:lnTo>
                      <a:pt x="40404" y="42009"/>
                    </a:lnTo>
                    <a:lnTo>
                      <a:pt x="42786" y="30251"/>
                    </a:lnTo>
                    <a:lnTo>
                      <a:pt x="40404" y="18489"/>
                    </a:lnTo>
                    <a:lnTo>
                      <a:pt x="33913" y="8872"/>
                    </a:lnTo>
                    <a:lnTo>
                      <a:pt x="24296" y="2381"/>
                    </a:lnTo>
                    <a:lnTo>
                      <a:pt x="12534" y="0"/>
                    </a:lnTo>
                    <a:close/>
                  </a:path>
                </a:pathLst>
              </a:custGeom>
              <a:solidFill>
                <a:srgbClr val="919396"/>
              </a:solidFill>
            </p:spPr>
            <p:txBody>
              <a:bodyPr wrap="square" lIns="0" tIns="0" rIns="0" bIns="0" rtlCol="0"/>
              <a:lstStyle/>
              <a:p>
                <a:endParaRPr sz="1796"/>
              </a:p>
            </p:txBody>
          </p:sp>
        </p:grpSp>
        <p:sp>
          <p:nvSpPr>
            <p:cNvPr id="93" name="bk object 21"/>
            <p:cNvSpPr/>
            <p:nvPr userDrawn="1"/>
          </p:nvSpPr>
          <p:spPr>
            <a:xfrm>
              <a:off x="5019471" y="4410740"/>
              <a:ext cx="43180" cy="60960"/>
            </a:xfrm>
            <a:custGeom>
              <a:avLst/>
              <a:gdLst/>
              <a:ahLst/>
              <a:cxnLst/>
              <a:rect l="l" t="t" r="r" b="b"/>
              <a:pathLst>
                <a:path w="43179" h="60960">
                  <a:moveTo>
                    <a:pt x="42786" y="0"/>
                  </a:moveTo>
                  <a:lnTo>
                    <a:pt x="30251" y="0"/>
                  </a:lnTo>
                  <a:lnTo>
                    <a:pt x="18489" y="2377"/>
                  </a:lnTo>
                  <a:lnTo>
                    <a:pt x="8872" y="8859"/>
                  </a:lnTo>
                  <a:lnTo>
                    <a:pt x="2381" y="18468"/>
                  </a:lnTo>
                  <a:lnTo>
                    <a:pt x="0" y="30226"/>
                  </a:lnTo>
                  <a:lnTo>
                    <a:pt x="2381" y="41987"/>
                  </a:lnTo>
                  <a:lnTo>
                    <a:pt x="8872" y="51604"/>
                  </a:lnTo>
                  <a:lnTo>
                    <a:pt x="18489" y="58095"/>
                  </a:lnTo>
                  <a:lnTo>
                    <a:pt x="30251" y="60477"/>
                  </a:lnTo>
                  <a:lnTo>
                    <a:pt x="42786" y="60477"/>
                  </a:lnTo>
                  <a:lnTo>
                    <a:pt x="42786" y="49415"/>
                  </a:lnTo>
                  <a:lnTo>
                    <a:pt x="30251" y="49415"/>
                  </a:lnTo>
                  <a:lnTo>
                    <a:pt x="22789" y="47904"/>
                  </a:lnTo>
                  <a:lnTo>
                    <a:pt x="16689" y="43788"/>
                  </a:lnTo>
                  <a:lnTo>
                    <a:pt x="12572" y="37687"/>
                  </a:lnTo>
                  <a:lnTo>
                    <a:pt x="11061" y="30226"/>
                  </a:lnTo>
                  <a:lnTo>
                    <a:pt x="12572" y="22768"/>
                  </a:lnTo>
                  <a:lnTo>
                    <a:pt x="16689" y="16676"/>
                  </a:lnTo>
                  <a:lnTo>
                    <a:pt x="22789" y="12568"/>
                  </a:lnTo>
                  <a:lnTo>
                    <a:pt x="30251" y="11061"/>
                  </a:lnTo>
                  <a:lnTo>
                    <a:pt x="42786" y="11061"/>
                  </a:lnTo>
                  <a:lnTo>
                    <a:pt x="42786" y="0"/>
                  </a:lnTo>
                  <a:close/>
                </a:path>
              </a:pathLst>
            </a:custGeom>
            <a:solidFill>
              <a:srgbClr val="919396"/>
            </a:solidFill>
          </p:spPr>
          <p:txBody>
            <a:bodyPr wrap="square" lIns="0" tIns="0" rIns="0" bIns="0" rtlCol="0"/>
            <a:lstStyle/>
            <a:p>
              <a:endParaRPr sz="1796"/>
            </a:p>
          </p:txBody>
        </p:sp>
        <p:sp>
          <p:nvSpPr>
            <p:cNvPr id="94" name="bk object 22"/>
            <p:cNvSpPr/>
            <p:nvPr userDrawn="1"/>
          </p:nvSpPr>
          <p:spPr>
            <a:xfrm>
              <a:off x="4628873" y="4410740"/>
              <a:ext cx="43180" cy="60960"/>
            </a:xfrm>
            <a:custGeom>
              <a:avLst/>
              <a:gdLst/>
              <a:ahLst/>
              <a:cxnLst/>
              <a:rect l="l" t="t" r="r" b="b"/>
              <a:pathLst>
                <a:path w="43179" h="60960">
                  <a:moveTo>
                    <a:pt x="42786" y="0"/>
                  </a:moveTo>
                  <a:lnTo>
                    <a:pt x="30251" y="0"/>
                  </a:lnTo>
                  <a:lnTo>
                    <a:pt x="18479" y="2377"/>
                  </a:lnTo>
                  <a:lnTo>
                    <a:pt x="8863" y="8859"/>
                  </a:lnTo>
                  <a:lnTo>
                    <a:pt x="2378" y="18468"/>
                  </a:lnTo>
                  <a:lnTo>
                    <a:pt x="0" y="30226"/>
                  </a:lnTo>
                  <a:lnTo>
                    <a:pt x="2378" y="41987"/>
                  </a:lnTo>
                  <a:lnTo>
                    <a:pt x="8863" y="51604"/>
                  </a:lnTo>
                  <a:lnTo>
                    <a:pt x="18479" y="58095"/>
                  </a:lnTo>
                  <a:lnTo>
                    <a:pt x="30251" y="60477"/>
                  </a:lnTo>
                  <a:lnTo>
                    <a:pt x="42786" y="60477"/>
                  </a:lnTo>
                  <a:lnTo>
                    <a:pt x="42786" y="49415"/>
                  </a:lnTo>
                  <a:lnTo>
                    <a:pt x="30251" y="49415"/>
                  </a:lnTo>
                  <a:lnTo>
                    <a:pt x="22777" y="47904"/>
                  </a:lnTo>
                  <a:lnTo>
                    <a:pt x="16673" y="43788"/>
                  </a:lnTo>
                  <a:lnTo>
                    <a:pt x="12558" y="37687"/>
                  </a:lnTo>
                  <a:lnTo>
                    <a:pt x="11048" y="30226"/>
                  </a:lnTo>
                  <a:lnTo>
                    <a:pt x="12558" y="22768"/>
                  </a:lnTo>
                  <a:lnTo>
                    <a:pt x="16673" y="16676"/>
                  </a:lnTo>
                  <a:lnTo>
                    <a:pt x="22777" y="12568"/>
                  </a:lnTo>
                  <a:lnTo>
                    <a:pt x="30251" y="11061"/>
                  </a:lnTo>
                  <a:lnTo>
                    <a:pt x="42786" y="11061"/>
                  </a:lnTo>
                  <a:lnTo>
                    <a:pt x="42786" y="0"/>
                  </a:lnTo>
                  <a:close/>
                </a:path>
              </a:pathLst>
            </a:custGeom>
            <a:solidFill>
              <a:srgbClr val="919396"/>
            </a:solidFill>
          </p:spPr>
          <p:txBody>
            <a:bodyPr wrap="square" lIns="0" tIns="0" rIns="0" bIns="0" rtlCol="0"/>
            <a:lstStyle/>
            <a:p>
              <a:endParaRPr sz="1796"/>
            </a:p>
          </p:txBody>
        </p:sp>
        <p:sp>
          <p:nvSpPr>
            <p:cNvPr id="95" name="bk object 23"/>
            <p:cNvSpPr/>
            <p:nvPr userDrawn="1"/>
          </p:nvSpPr>
          <p:spPr>
            <a:xfrm>
              <a:off x="4238241" y="4410740"/>
              <a:ext cx="43180" cy="60960"/>
            </a:xfrm>
            <a:custGeom>
              <a:avLst/>
              <a:gdLst/>
              <a:ahLst/>
              <a:cxnLst/>
              <a:rect l="l" t="t" r="r" b="b"/>
              <a:pathLst>
                <a:path w="43179" h="60960">
                  <a:moveTo>
                    <a:pt x="42811" y="0"/>
                  </a:moveTo>
                  <a:lnTo>
                    <a:pt x="30276" y="0"/>
                  </a:lnTo>
                  <a:lnTo>
                    <a:pt x="18500" y="2377"/>
                  </a:lnTo>
                  <a:lnTo>
                    <a:pt x="8875" y="8859"/>
                  </a:lnTo>
                  <a:lnTo>
                    <a:pt x="2382" y="18468"/>
                  </a:lnTo>
                  <a:lnTo>
                    <a:pt x="0" y="30226"/>
                  </a:lnTo>
                  <a:lnTo>
                    <a:pt x="2382" y="41987"/>
                  </a:lnTo>
                  <a:lnTo>
                    <a:pt x="8875" y="51604"/>
                  </a:lnTo>
                  <a:lnTo>
                    <a:pt x="18500" y="58095"/>
                  </a:lnTo>
                  <a:lnTo>
                    <a:pt x="30276" y="60477"/>
                  </a:lnTo>
                  <a:lnTo>
                    <a:pt x="42811" y="60477"/>
                  </a:lnTo>
                  <a:lnTo>
                    <a:pt x="42811" y="49415"/>
                  </a:lnTo>
                  <a:lnTo>
                    <a:pt x="30276" y="49415"/>
                  </a:lnTo>
                  <a:lnTo>
                    <a:pt x="22802" y="47904"/>
                  </a:lnTo>
                  <a:lnTo>
                    <a:pt x="16698" y="43788"/>
                  </a:lnTo>
                  <a:lnTo>
                    <a:pt x="12583" y="37687"/>
                  </a:lnTo>
                  <a:lnTo>
                    <a:pt x="11074" y="30226"/>
                  </a:lnTo>
                  <a:lnTo>
                    <a:pt x="12583" y="22768"/>
                  </a:lnTo>
                  <a:lnTo>
                    <a:pt x="16698" y="16676"/>
                  </a:lnTo>
                  <a:lnTo>
                    <a:pt x="22802" y="12568"/>
                  </a:lnTo>
                  <a:lnTo>
                    <a:pt x="30276" y="11061"/>
                  </a:lnTo>
                  <a:lnTo>
                    <a:pt x="42811" y="11061"/>
                  </a:lnTo>
                  <a:lnTo>
                    <a:pt x="42811" y="0"/>
                  </a:lnTo>
                  <a:close/>
                </a:path>
              </a:pathLst>
            </a:custGeom>
            <a:solidFill>
              <a:srgbClr val="919396"/>
            </a:solidFill>
          </p:spPr>
          <p:txBody>
            <a:bodyPr wrap="square" lIns="0" tIns="0" rIns="0" bIns="0" rtlCol="0"/>
            <a:lstStyle/>
            <a:p>
              <a:endParaRPr sz="1796"/>
            </a:p>
          </p:txBody>
        </p:sp>
        <p:sp>
          <p:nvSpPr>
            <p:cNvPr id="96" name="bk object 24"/>
            <p:cNvSpPr/>
            <p:nvPr userDrawn="1"/>
          </p:nvSpPr>
          <p:spPr>
            <a:xfrm>
              <a:off x="3847636" y="4410740"/>
              <a:ext cx="43180" cy="60960"/>
            </a:xfrm>
            <a:custGeom>
              <a:avLst/>
              <a:gdLst/>
              <a:ahLst/>
              <a:cxnLst/>
              <a:rect l="l" t="t" r="r" b="b"/>
              <a:pathLst>
                <a:path w="43179" h="60960">
                  <a:moveTo>
                    <a:pt x="42811" y="0"/>
                  </a:moveTo>
                  <a:lnTo>
                    <a:pt x="30251" y="0"/>
                  </a:lnTo>
                  <a:lnTo>
                    <a:pt x="18489" y="2377"/>
                  </a:lnTo>
                  <a:lnTo>
                    <a:pt x="8872" y="8859"/>
                  </a:lnTo>
                  <a:lnTo>
                    <a:pt x="2381" y="18468"/>
                  </a:lnTo>
                  <a:lnTo>
                    <a:pt x="0" y="30226"/>
                  </a:lnTo>
                  <a:lnTo>
                    <a:pt x="2381" y="41987"/>
                  </a:lnTo>
                  <a:lnTo>
                    <a:pt x="8872" y="51604"/>
                  </a:lnTo>
                  <a:lnTo>
                    <a:pt x="18489" y="58095"/>
                  </a:lnTo>
                  <a:lnTo>
                    <a:pt x="30251" y="60477"/>
                  </a:lnTo>
                  <a:lnTo>
                    <a:pt x="42811" y="60477"/>
                  </a:lnTo>
                  <a:lnTo>
                    <a:pt x="42811" y="49415"/>
                  </a:lnTo>
                  <a:lnTo>
                    <a:pt x="30251" y="49415"/>
                  </a:lnTo>
                  <a:lnTo>
                    <a:pt x="22789" y="47904"/>
                  </a:lnTo>
                  <a:lnTo>
                    <a:pt x="16689" y="43788"/>
                  </a:lnTo>
                  <a:lnTo>
                    <a:pt x="12572" y="37687"/>
                  </a:lnTo>
                  <a:lnTo>
                    <a:pt x="11061" y="30226"/>
                  </a:lnTo>
                  <a:lnTo>
                    <a:pt x="12572" y="22768"/>
                  </a:lnTo>
                  <a:lnTo>
                    <a:pt x="16689" y="16676"/>
                  </a:lnTo>
                  <a:lnTo>
                    <a:pt x="22789" y="12568"/>
                  </a:lnTo>
                  <a:lnTo>
                    <a:pt x="30251" y="11061"/>
                  </a:lnTo>
                  <a:lnTo>
                    <a:pt x="42811" y="11061"/>
                  </a:lnTo>
                  <a:lnTo>
                    <a:pt x="42811" y="0"/>
                  </a:lnTo>
                  <a:close/>
                </a:path>
              </a:pathLst>
            </a:custGeom>
            <a:solidFill>
              <a:srgbClr val="919396"/>
            </a:solidFill>
          </p:spPr>
          <p:txBody>
            <a:bodyPr wrap="square" lIns="0" tIns="0" rIns="0" bIns="0" rtlCol="0"/>
            <a:lstStyle/>
            <a:p>
              <a:endParaRPr sz="1796"/>
            </a:p>
          </p:txBody>
        </p:sp>
        <p:sp>
          <p:nvSpPr>
            <p:cNvPr id="97" name="bk object 25"/>
            <p:cNvSpPr/>
            <p:nvPr userDrawn="1"/>
          </p:nvSpPr>
          <p:spPr>
            <a:xfrm>
              <a:off x="3457023" y="4410740"/>
              <a:ext cx="43180" cy="60960"/>
            </a:xfrm>
            <a:custGeom>
              <a:avLst/>
              <a:gdLst/>
              <a:ahLst/>
              <a:cxnLst/>
              <a:rect l="l" t="t" r="r" b="b"/>
              <a:pathLst>
                <a:path w="43179" h="60960">
                  <a:moveTo>
                    <a:pt x="42824" y="0"/>
                  </a:moveTo>
                  <a:lnTo>
                    <a:pt x="30264" y="0"/>
                  </a:lnTo>
                  <a:lnTo>
                    <a:pt x="18500" y="2377"/>
                  </a:lnTo>
                  <a:lnTo>
                    <a:pt x="8878" y="8859"/>
                  </a:lnTo>
                  <a:lnTo>
                    <a:pt x="2383" y="18468"/>
                  </a:lnTo>
                  <a:lnTo>
                    <a:pt x="0" y="30226"/>
                  </a:lnTo>
                  <a:lnTo>
                    <a:pt x="2383" y="41987"/>
                  </a:lnTo>
                  <a:lnTo>
                    <a:pt x="8878" y="51604"/>
                  </a:lnTo>
                  <a:lnTo>
                    <a:pt x="18500" y="58095"/>
                  </a:lnTo>
                  <a:lnTo>
                    <a:pt x="30264" y="60477"/>
                  </a:lnTo>
                  <a:lnTo>
                    <a:pt x="42824" y="60477"/>
                  </a:lnTo>
                  <a:lnTo>
                    <a:pt x="42824" y="49415"/>
                  </a:lnTo>
                  <a:lnTo>
                    <a:pt x="30264" y="49415"/>
                  </a:lnTo>
                  <a:lnTo>
                    <a:pt x="22802" y="47904"/>
                  </a:lnTo>
                  <a:lnTo>
                    <a:pt x="16702" y="43788"/>
                  </a:lnTo>
                  <a:lnTo>
                    <a:pt x="12585" y="37687"/>
                  </a:lnTo>
                  <a:lnTo>
                    <a:pt x="11074" y="30226"/>
                  </a:lnTo>
                  <a:lnTo>
                    <a:pt x="12585" y="22768"/>
                  </a:lnTo>
                  <a:lnTo>
                    <a:pt x="16702" y="16676"/>
                  </a:lnTo>
                  <a:lnTo>
                    <a:pt x="22802" y="12568"/>
                  </a:lnTo>
                  <a:lnTo>
                    <a:pt x="30264" y="11061"/>
                  </a:lnTo>
                  <a:lnTo>
                    <a:pt x="42824" y="11061"/>
                  </a:lnTo>
                  <a:lnTo>
                    <a:pt x="42824" y="0"/>
                  </a:lnTo>
                  <a:close/>
                </a:path>
              </a:pathLst>
            </a:custGeom>
            <a:solidFill>
              <a:srgbClr val="919396"/>
            </a:solidFill>
          </p:spPr>
          <p:txBody>
            <a:bodyPr wrap="square" lIns="0" tIns="0" rIns="0" bIns="0" rtlCol="0"/>
            <a:lstStyle/>
            <a:p>
              <a:endParaRPr sz="1796"/>
            </a:p>
          </p:txBody>
        </p:sp>
        <p:sp>
          <p:nvSpPr>
            <p:cNvPr id="98" name="bk object 26"/>
            <p:cNvSpPr/>
            <p:nvPr userDrawn="1"/>
          </p:nvSpPr>
          <p:spPr>
            <a:xfrm>
              <a:off x="3066431" y="4410740"/>
              <a:ext cx="43180" cy="60960"/>
            </a:xfrm>
            <a:custGeom>
              <a:avLst/>
              <a:gdLst/>
              <a:ahLst/>
              <a:cxnLst/>
              <a:rect l="l" t="t" r="r" b="b"/>
              <a:pathLst>
                <a:path w="43180" h="60960">
                  <a:moveTo>
                    <a:pt x="42786" y="0"/>
                  </a:moveTo>
                  <a:lnTo>
                    <a:pt x="30251" y="0"/>
                  </a:lnTo>
                  <a:lnTo>
                    <a:pt x="18489" y="2377"/>
                  </a:lnTo>
                  <a:lnTo>
                    <a:pt x="8872" y="8859"/>
                  </a:lnTo>
                  <a:lnTo>
                    <a:pt x="2381" y="18468"/>
                  </a:lnTo>
                  <a:lnTo>
                    <a:pt x="0" y="30226"/>
                  </a:lnTo>
                  <a:lnTo>
                    <a:pt x="2381" y="41987"/>
                  </a:lnTo>
                  <a:lnTo>
                    <a:pt x="8872" y="51604"/>
                  </a:lnTo>
                  <a:lnTo>
                    <a:pt x="18489" y="58095"/>
                  </a:lnTo>
                  <a:lnTo>
                    <a:pt x="30251" y="60477"/>
                  </a:lnTo>
                  <a:lnTo>
                    <a:pt x="42786" y="60477"/>
                  </a:lnTo>
                  <a:lnTo>
                    <a:pt x="42786" y="49415"/>
                  </a:lnTo>
                  <a:lnTo>
                    <a:pt x="30251" y="49415"/>
                  </a:lnTo>
                  <a:lnTo>
                    <a:pt x="22777" y="47904"/>
                  </a:lnTo>
                  <a:lnTo>
                    <a:pt x="16673" y="43788"/>
                  </a:lnTo>
                  <a:lnTo>
                    <a:pt x="12558" y="37687"/>
                  </a:lnTo>
                  <a:lnTo>
                    <a:pt x="11048" y="30226"/>
                  </a:lnTo>
                  <a:lnTo>
                    <a:pt x="12558" y="22768"/>
                  </a:lnTo>
                  <a:lnTo>
                    <a:pt x="16673" y="16676"/>
                  </a:lnTo>
                  <a:lnTo>
                    <a:pt x="22777" y="12568"/>
                  </a:lnTo>
                  <a:lnTo>
                    <a:pt x="30251" y="11061"/>
                  </a:lnTo>
                  <a:lnTo>
                    <a:pt x="42786" y="11061"/>
                  </a:lnTo>
                  <a:lnTo>
                    <a:pt x="42786" y="0"/>
                  </a:lnTo>
                  <a:close/>
                </a:path>
              </a:pathLst>
            </a:custGeom>
            <a:solidFill>
              <a:srgbClr val="919396"/>
            </a:solidFill>
          </p:spPr>
          <p:txBody>
            <a:bodyPr wrap="square" lIns="0" tIns="0" rIns="0" bIns="0" rtlCol="0"/>
            <a:lstStyle/>
            <a:p>
              <a:endParaRPr sz="1796"/>
            </a:p>
          </p:txBody>
        </p:sp>
        <p:sp>
          <p:nvSpPr>
            <p:cNvPr id="99" name="bk object 27"/>
            <p:cNvSpPr/>
            <p:nvPr userDrawn="1"/>
          </p:nvSpPr>
          <p:spPr>
            <a:xfrm>
              <a:off x="2675826" y="4410740"/>
              <a:ext cx="43180" cy="60960"/>
            </a:xfrm>
            <a:custGeom>
              <a:avLst/>
              <a:gdLst/>
              <a:ahLst/>
              <a:cxnLst/>
              <a:rect l="l" t="t" r="r" b="b"/>
              <a:pathLst>
                <a:path w="43180" h="60960">
                  <a:moveTo>
                    <a:pt x="42786" y="0"/>
                  </a:moveTo>
                  <a:lnTo>
                    <a:pt x="30251" y="0"/>
                  </a:lnTo>
                  <a:lnTo>
                    <a:pt x="18489" y="2377"/>
                  </a:lnTo>
                  <a:lnTo>
                    <a:pt x="8872" y="8859"/>
                  </a:lnTo>
                  <a:lnTo>
                    <a:pt x="2381" y="18468"/>
                  </a:lnTo>
                  <a:lnTo>
                    <a:pt x="0" y="30226"/>
                  </a:lnTo>
                  <a:lnTo>
                    <a:pt x="2381" y="41987"/>
                  </a:lnTo>
                  <a:lnTo>
                    <a:pt x="8872" y="51604"/>
                  </a:lnTo>
                  <a:lnTo>
                    <a:pt x="18489" y="58095"/>
                  </a:lnTo>
                  <a:lnTo>
                    <a:pt x="30251" y="60477"/>
                  </a:lnTo>
                  <a:lnTo>
                    <a:pt x="42786" y="60477"/>
                  </a:lnTo>
                  <a:lnTo>
                    <a:pt x="42786" y="49415"/>
                  </a:lnTo>
                  <a:lnTo>
                    <a:pt x="30251" y="49415"/>
                  </a:lnTo>
                  <a:lnTo>
                    <a:pt x="22777" y="47904"/>
                  </a:lnTo>
                  <a:lnTo>
                    <a:pt x="16673" y="43788"/>
                  </a:lnTo>
                  <a:lnTo>
                    <a:pt x="12558" y="37687"/>
                  </a:lnTo>
                  <a:lnTo>
                    <a:pt x="11048" y="30226"/>
                  </a:lnTo>
                  <a:lnTo>
                    <a:pt x="12558" y="22768"/>
                  </a:lnTo>
                  <a:lnTo>
                    <a:pt x="16673" y="16676"/>
                  </a:lnTo>
                  <a:lnTo>
                    <a:pt x="22777" y="12568"/>
                  </a:lnTo>
                  <a:lnTo>
                    <a:pt x="30251" y="11061"/>
                  </a:lnTo>
                  <a:lnTo>
                    <a:pt x="42786" y="11061"/>
                  </a:lnTo>
                  <a:lnTo>
                    <a:pt x="42786" y="0"/>
                  </a:lnTo>
                  <a:close/>
                </a:path>
              </a:pathLst>
            </a:custGeom>
            <a:solidFill>
              <a:srgbClr val="919396"/>
            </a:solidFill>
          </p:spPr>
          <p:txBody>
            <a:bodyPr wrap="square" lIns="0" tIns="0" rIns="0" bIns="0" rtlCol="0"/>
            <a:lstStyle/>
            <a:p>
              <a:endParaRPr sz="1796"/>
            </a:p>
          </p:txBody>
        </p:sp>
        <p:sp>
          <p:nvSpPr>
            <p:cNvPr id="100" name="bk object 28"/>
            <p:cNvSpPr/>
            <p:nvPr userDrawn="1"/>
          </p:nvSpPr>
          <p:spPr>
            <a:xfrm>
              <a:off x="2285194" y="4410740"/>
              <a:ext cx="43180" cy="60960"/>
            </a:xfrm>
            <a:custGeom>
              <a:avLst/>
              <a:gdLst/>
              <a:ahLst/>
              <a:cxnLst/>
              <a:rect l="l" t="t" r="r" b="b"/>
              <a:pathLst>
                <a:path w="43180" h="60960">
                  <a:moveTo>
                    <a:pt x="42811" y="0"/>
                  </a:moveTo>
                  <a:lnTo>
                    <a:pt x="30251" y="0"/>
                  </a:lnTo>
                  <a:lnTo>
                    <a:pt x="18489" y="2377"/>
                  </a:lnTo>
                  <a:lnTo>
                    <a:pt x="8872" y="8859"/>
                  </a:lnTo>
                  <a:lnTo>
                    <a:pt x="2381" y="18468"/>
                  </a:lnTo>
                  <a:lnTo>
                    <a:pt x="0" y="30226"/>
                  </a:lnTo>
                  <a:lnTo>
                    <a:pt x="2381" y="41987"/>
                  </a:lnTo>
                  <a:lnTo>
                    <a:pt x="8872" y="51604"/>
                  </a:lnTo>
                  <a:lnTo>
                    <a:pt x="18489" y="58095"/>
                  </a:lnTo>
                  <a:lnTo>
                    <a:pt x="30251" y="60477"/>
                  </a:lnTo>
                  <a:lnTo>
                    <a:pt x="42811" y="60477"/>
                  </a:lnTo>
                  <a:lnTo>
                    <a:pt x="42811" y="49415"/>
                  </a:lnTo>
                  <a:lnTo>
                    <a:pt x="30251" y="49415"/>
                  </a:lnTo>
                  <a:lnTo>
                    <a:pt x="22789" y="47904"/>
                  </a:lnTo>
                  <a:lnTo>
                    <a:pt x="16689" y="43788"/>
                  </a:lnTo>
                  <a:lnTo>
                    <a:pt x="12572" y="37687"/>
                  </a:lnTo>
                  <a:lnTo>
                    <a:pt x="11061" y="30226"/>
                  </a:lnTo>
                  <a:lnTo>
                    <a:pt x="12572" y="22768"/>
                  </a:lnTo>
                  <a:lnTo>
                    <a:pt x="16689" y="16676"/>
                  </a:lnTo>
                  <a:lnTo>
                    <a:pt x="22789" y="12568"/>
                  </a:lnTo>
                  <a:lnTo>
                    <a:pt x="30251" y="11061"/>
                  </a:lnTo>
                  <a:lnTo>
                    <a:pt x="42811" y="11061"/>
                  </a:lnTo>
                  <a:lnTo>
                    <a:pt x="42811" y="0"/>
                  </a:lnTo>
                  <a:close/>
                </a:path>
              </a:pathLst>
            </a:custGeom>
            <a:solidFill>
              <a:srgbClr val="919396"/>
            </a:solidFill>
          </p:spPr>
          <p:txBody>
            <a:bodyPr wrap="square" lIns="0" tIns="0" rIns="0" bIns="0" rtlCol="0"/>
            <a:lstStyle/>
            <a:p>
              <a:endParaRPr sz="1796"/>
            </a:p>
          </p:txBody>
        </p:sp>
        <p:sp>
          <p:nvSpPr>
            <p:cNvPr id="101" name="bk object 29"/>
            <p:cNvSpPr/>
            <p:nvPr userDrawn="1"/>
          </p:nvSpPr>
          <p:spPr>
            <a:xfrm>
              <a:off x="1894589" y="4410740"/>
              <a:ext cx="43180" cy="60960"/>
            </a:xfrm>
            <a:custGeom>
              <a:avLst/>
              <a:gdLst/>
              <a:ahLst/>
              <a:cxnLst/>
              <a:rect l="l" t="t" r="r" b="b"/>
              <a:pathLst>
                <a:path w="43180" h="60960">
                  <a:moveTo>
                    <a:pt x="42786" y="0"/>
                  </a:moveTo>
                  <a:lnTo>
                    <a:pt x="30251" y="0"/>
                  </a:lnTo>
                  <a:lnTo>
                    <a:pt x="18489" y="2377"/>
                  </a:lnTo>
                  <a:lnTo>
                    <a:pt x="8872" y="8859"/>
                  </a:lnTo>
                  <a:lnTo>
                    <a:pt x="2381" y="18468"/>
                  </a:lnTo>
                  <a:lnTo>
                    <a:pt x="0" y="30226"/>
                  </a:lnTo>
                  <a:lnTo>
                    <a:pt x="2381" y="41987"/>
                  </a:lnTo>
                  <a:lnTo>
                    <a:pt x="8872" y="51604"/>
                  </a:lnTo>
                  <a:lnTo>
                    <a:pt x="18489" y="58095"/>
                  </a:lnTo>
                  <a:lnTo>
                    <a:pt x="30251" y="60477"/>
                  </a:lnTo>
                  <a:lnTo>
                    <a:pt x="42786" y="60477"/>
                  </a:lnTo>
                  <a:lnTo>
                    <a:pt x="42786" y="49415"/>
                  </a:lnTo>
                  <a:lnTo>
                    <a:pt x="30251" y="49415"/>
                  </a:lnTo>
                  <a:lnTo>
                    <a:pt x="22795" y="47904"/>
                  </a:lnTo>
                  <a:lnTo>
                    <a:pt x="16694" y="43788"/>
                  </a:lnTo>
                  <a:lnTo>
                    <a:pt x="12574" y="37687"/>
                  </a:lnTo>
                  <a:lnTo>
                    <a:pt x="11061" y="30226"/>
                  </a:lnTo>
                  <a:lnTo>
                    <a:pt x="12574" y="22768"/>
                  </a:lnTo>
                  <a:lnTo>
                    <a:pt x="16694" y="16676"/>
                  </a:lnTo>
                  <a:lnTo>
                    <a:pt x="22795" y="12568"/>
                  </a:lnTo>
                  <a:lnTo>
                    <a:pt x="30251" y="11061"/>
                  </a:lnTo>
                  <a:lnTo>
                    <a:pt x="42786" y="11061"/>
                  </a:lnTo>
                  <a:lnTo>
                    <a:pt x="42786" y="0"/>
                  </a:lnTo>
                  <a:close/>
                </a:path>
              </a:pathLst>
            </a:custGeom>
            <a:solidFill>
              <a:srgbClr val="919396"/>
            </a:solidFill>
          </p:spPr>
          <p:txBody>
            <a:bodyPr wrap="square" lIns="0" tIns="0" rIns="0" bIns="0" rtlCol="0"/>
            <a:lstStyle/>
            <a:p>
              <a:endParaRPr sz="1796"/>
            </a:p>
          </p:txBody>
        </p:sp>
        <p:sp>
          <p:nvSpPr>
            <p:cNvPr id="102" name="bk object 30"/>
            <p:cNvSpPr/>
            <p:nvPr userDrawn="1"/>
          </p:nvSpPr>
          <p:spPr>
            <a:xfrm>
              <a:off x="1503991" y="4410740"/>
              <a:ext cx="43180" cy="60960"/>
            </a:xfrm>
            <a:custGeom>
              <a:avLst/>
              <a:gdLst/>
              <a:ahLst/>
              <a:cxnLst/>
              <a:rect l="l" t="t" r="r" b="b"/>
              <a:pathLst>
                <a:path w="43180" h="60960">
                  <a:moveTo>
                    <a:pt x="42786" y="0"/>
                  </a:moveTo>
                  <a:lnTo>
                    <a:pt x="30251" y="0"/>
                  </a:lnTo>
                  <a:lnTo>
                    <a:pt x="18489" y="2377"/>
                  </a:lnTo>
                  <a:lnTo>
                    <a:pt x="8872" y="8859"/>
                  </a:lnTo>
                  <a:lnTo>
                    <a:pt x="2381" y="18468"/>
                  </a:lnTo>
                  <a:lnTo>
                    <a:pt x="0" y="30226"/>
                  </a:lnTo>
                  <a:lnTo>
                    <a:pt x="2381" y="41987"/>
                  </a:lnTo>
                  <a:lnTo>
                    <a:pt x="8872" y="51604"/>
                  </a:lnTo>
                  <a:lnTo>
                    <a:pt x="18489" y="58095"/>
                  </a:lnTo>
                  <a:lnTo>
                    <a:pt x="30251" y="60477"/>
                  </a:lnTo>
                  <a:lnTo>
                    <a:pt x="42786" y="60477"/>
                  </a:lnTo>
                  <a:lnTo>
                    <a:pt x="42786" y="49415"/>
                  </a:lnTo>
                  <a:lnTo>
                    <a:pt x="30251" y="49415"/>
                  </a:lnTo>
                  <a:lnTo>
                    <a:pt x="22777" y="47904"/>
                  </a:lnTo>
                  <a:lnTo>
                    <a:pt x="16673" y="43788"/>
                  </a:lnTo>
                  <a:lnTo>
                    <a:pt x="12558" y="37687"/>
                  </a:lnTo>
                  <a:lnTo>
                    <a:pt x="11048" y="30226"/>
                  </a:lnTo>
                  <a:lnTo>
                    <a:pt x="12558" y="22768"/>
                  </a:lnTo>
                  <a:lnTo>
                    <a:pt x="16673" y="16676"/>
                  </a:lnTo>
                  <a:lnTo>
                    <a:pt x="22777" y="12568"/>
                  </a:lnTo>
                  <a:lnTo>
                    <a:pt x="30251" y="11061"/>
                  </a:lnTo>
                  <a:lnTo>
                    <a:pt x="42786" y="11061"/>
                  </a:lnTo>
                  <a:lnTo>
                    <a:pt x="42786" y="0"/>
                  </a:lnTo>
                  <a:close/>
                </a:path>
              </a:pathLst>
            </a:custGeom>
            <a:solidFill>
              <a:srgbClr val="919396"/>
            </a:solidFill>
          </p:spPr>
          <p:txBody>
            <a:bodyPr wrap="square" lIns="0" tIns="0" rIns="0" bIns="0" rtlCol="0"/>
            <a:lstStyle/>
            <a:p>
              <a:endParaRPr sz="1796"/>
            </a:p>
          </p:txBody>
        </p:sp>
        <p:sp>
          <p:nvSpPr>
            <p:cNvPr id="103" name="bk object 31"/>
            <p:cNvSpPr/>
            <p:nvPr userDrawn="1"/>
          </p:nvSpPr>
          <p:spPr>
            <a:xfrm>
              <a:off x="1113384" y="4410740"/>
              <a:ext cx="43180" cy="60960"/>
            </a:xfrm>
            <a:custGeom>
              <a:avLst/>
              <a:gdLst/>
              <a:ahLst/>
              <a:cxnLst/>
              <a:rect l="l" t="t" r="r" b="b"/>
              <a:pathLst>
                <a:path w="43180" h="60960">
                  <a:moveTo>
                    <a:pt x="42786" y="0"/>
                  </a:moveTo>
                  <a:lnTo>
                    <a:pt x="30251" y="0"/>
                  </a:lnTo>
                  <a:lnTo>
                    <a:pt x="18489" y="2377"/>
                  </a:lnTo>
                  <a:lnTo>
                    <a:pt x="8872" y="8859"/>
                  </a:lnTo>
                  <a:lnTo>
                    <a:pt x="2381" y="18468"/>
                  </a:lnTo>
                  <a:lnTo>
                    <a:pt x="0" y="30226"/>
                  </a:lnTo>
                  <a:lnTo>
                    <a:pt x="2381" y="41987"/>
                  </a:lnTo>
                  <a:lnTo>
                    <a:pt x="8872" y="51604"/>
                  </a:lnTo>
                  <a:lnTo>
                    <a:pt x="18489" y="58095"/>
                  </a:lnTo>
                  <a:lnTo>
                    <a:pt x="30251" y="60477"/>
                  </a:lnTo>
                  <a:lnTo>
                    <a:pt x="42786" y="60477"/>
                  </a:lnTo>
                  <a:lnTo>
                    <a:pt x="42786" y="49415"/>
                  </a:lnTo>
                  <a:lnTo>
                    <a:pt x="30251" y="49415"/>
                  </a:lnTo>
                  <a:lnTo>
                    <a:pt x="22779" y="47904"/>
                  </a:lnTo>
                  <a:lnTo>
                    <a:pt x="16679" y="43788"/>
                  </a:lnTo>
                  <a:lnTo>
                    <a:pt x="12568" y="37687"/>
                  </a:lnTo>
                  <a:lnTo>
                    <a:pt x="11061" y="30226"/>
                  </a:lnTo>
                  <a:lnTo>
                    <a:pt x="12568" y="22768"/>
                  </a:lnTo>
                  <a:lnTo>
                    <a:pt x="16679" y="16676"/>
                  </a:lnTo>
                  <a:lnTo>
                    <a:pt x="22779" y="12568"/>
                  </a:lnTo>
                  <a:lnTo>
                    <a:pt x="30251" y="11061"/>
                  </a:lnTo>
                  <a:lnTo>
                    <a:pt x="42786" y="11061"/>
                  </a:lnTo>
                  <a:lnTo>
                    <a:pt x="42786" y="0"/>
                  </a:lnTo>
                  <a:close/>
                </a:path>
              </a:pathLst>
            </a:custGeom>
            <a:solidFill>
              <a:srgbClr val="919396"/>
            </a:solidFill>
          </p:spPr>
          <p:txBody>
            <a:bodyPr wrap="square" lIns="0" tIns="0" rIns="0" bIns="0" rtlCol="0"/>
            <a:lstStyle/>
            <a:p>
              <a:endParaRPr sz="1796"/>
            </a:p>
          </p:txBody>
        </p:sp>
        <p:sp>
          <p:nvSpPr>
            <p:cNvPr id="104" name="bk object 32"/>
            <p:cNvSpPr/>
            <p:nvPr userDrawn="1"/>
          </p:nvSpPr>
          <p:spPr>
            <a:xfrm>
              <a:off x="722748" y="4410740"/>
              <a:ext cx="43180" cy="60960"/>
            </a:xfrm>
            <a:custGeom>
              <a:avLst/>
              <a:gdLst/>
              <a:ahLst/>
              <a:cxnLst/>
              <a:rect l="l" t="t" r="r" b="b"/>
              <a:pathLst>
                <a:path w="43179" h="60960">
                  <a:moveTo>
                    <a:pt x="42824" y="0"/>
                  </a:moveTo>
                  <a:lnTo>
                    <a:pt x="30264" y="0"/>
                  </a:lnTo>
                  <a:lnTo>
                    <a:pt x="18505" y="2377"/>
                  </a:lnTo>
                  <a:lnTo>
                    <a:pt x="8883" y="8859"/>
                  </a:lnTo>
                  <a:lnTo>
                    <a:pt x="2385" y="18468"/>
                  </a:lnTo>
                  <a:lnTo>
                    <a:pt x="0" y="30226"/>
                  </a:lnTo>
                  <a:lnTo>
                    <a:pt x="2385" y="41987"/>
                  </a:lnTo>
                  <a:lnTo>
                    <a:pt x="8883" y="51604"/>
                  </a:lnTo>
                  <a:lnTo>
                    <a:pt x="18505" y="58095"/>
                  </a:lnTo>
                  <a:lnTo>
                    <a:pt x="30264" y="60477"/>
                  </a:lnTo>
                  <a:lnTo>
                    <a:pt x="42824" y="60477"/>
                  </a:lnTo>
                  <a:lnTo>
                    <a:pt x="42824" y="49415"/>
                  </a:lnTo>
                  <a:lnTo>
                    <a:pt x="30264" y="49415"/>
                  </a:lnTo>
                  <a:lnTo>
                    <a:pt x="22802" y="47904"/>
                  </a:lnTo>
                  <a:lnTo>
                    <a:pt x="16702" y="43788"/>
                  </a:lnTo>
                  <a:lnTo>
                    <a:pt x="12585" y="37687"/>
                  </a:lnTo>
                  <a:lnTo>
                    <a:pt x="11074" y="30226"/>
                  </a:lnTo>
                  <a:lnTo>
                    <a:pt x="12585" y="22768"/>
                  </a:lnTo>
                  <a:lnTo>
                    <a:pt x="16702" y="16676"/>
                  </a:lnTo>
                  <a:lnTo>
                    <a:pt x="22802" y="12568"/>
                  </a:lnTo>
                  <a:lnTo>
                    <a:pt x="30264" y="11061"/>
                  </a:lnTo>
                  <a:lnTo>
                    <a:pt x="42824" y="11061"/>
                  </a:lnTo>
                  <a:lnTo>
                    <a:pt x="42824" y="0"/>
                  </a:lnTo>
                  <a:close/>
                </a:path>
              </a:pathLst>
            </a:custGeom>
            <a:solidFill>
              <a:srgbClr val="919396"/>
            </a:solidFill>
          </p:spPr>
          <p:txBody>
            <a:bodyPr wrap="square" lIns="0" tIns="0" rIns="0" bIns="0" rtlCol="0"/>
            <a:lstStyle/>
            <a:p>
              <a:endParaRPr sz="1796"/>
            </a:p>
          </p:txBody>
        </p:sp>
        <p:sp>
          <p:nvSpPr>
            <p:cNvPr id="105" name="bk object 33"/>
            <p:cNvSpPr/>
            <p:nvPr userDrawn="1"/>
          </p:nvSpPr>
          <p:spPr>
            <a:xfrm>
              <a:off x="722749" y="4799529"/>
              <a:ext cx="43180" cy="60960"/>
            </a:xfrm>
            <a:custGeom>
              <a:avLst/>
              <a:gdLst/>
              <a:ahLst/>
              <a:cxnLst/>
              <a:rect l="l" t="t" r="r" b="b"/>
              <a:pathLst>
                <a:path w="43179" h="60960">
                  <a:moveTo>
                    <a:pt x="12560" y="0"/>
                  </a:moveTo>
                  <a:lnTo>
                    <a:pt x="0" y="0"/>
                  </a:lnTo>
                  <a:lnTo>
                    <a:pt x="0" y="11061"/>
                  </a:lnTo>
                  <a:lnTo>
                    <a:pt x="12560" y="11061"/>
                  </a:lnTo>
                  <a:lnTo>
                    <a:pt x="20019" y="12572"/>
                  </a:lnTo>
                  <a:lnTo>
                    <a:pt x="26115" y="16689"/>
                  </a:lnTo>
                  <a:lnTo>
                    <a:pt x="30228" y="22789"/>
                  </a:lnTo>
                  <a:lnTo>
                    <a:pt x="31737" y="30251"/>
                  </a:lnTo>
                  <a:lnTo>
                    <a:pt x="30228" y="37708"/>
                  </a:lnTo>
                  <a:lnTo>
                    <a:pt x="26115" y="43800"/>
                  </a:lnTo>
                  <a:lnTo>
                    <a:pt x="20019" y="47908"/>
                  </a:lnTo>
                  <a:lnTo>
                    <a:pt x="12560" y="49415"/>
                  </a:lnTo>
                  <a:lnTo>
                    <a:pt x="0" y="49415"/>
                  </a:lnTo>
                  <a:lnTo>
                    <a:pt x="0" y="60477"/>
                  </a:lnTo>
                  <a:lnTo>
                    <a:pt x="12560" y="60477"/>
                  </a:lnTo>
                  <a:lnTo>
                    <a:pt x="24323" y="58099"/>
                  </a:lnTo>
                  <a:lnTo>
                    <a:pt x="33945" y="51617"/>
                  </a:lnTo>
                  <a:lnTo>
                    <a:pt x="40440" y="42009"/>
                  </a:lnTo>
                  <a:lnTo>
                    <a:pt x="42824" y="30251"/>
                  </a:lnTo>
                  <a:lnTo>
                    <a:pt x="40440" y="18489"/>
                  </a:lnTo>
                  <a:lnTo>
                    <a:pt x="33945" y="8872"/>
                  </a:lnTo>
                  <a:lnTo>
                    <a:pt x="24323" y="2381"/>
                  </a:lnTo>
                  <a:lnTo>
                    <a:pt x="12560" y="0"/>
                  </a:lnTo>
                  <a:close/>
                </a:path>
              </a:pathLst>
            </a:custGeom>
            <a:solidFill>
              <a:srgbClr val="919396"/>
            </a:solidFill>
          </p:spPr>
          <p:txBody>
            <a:bodyPr wrap="square" lIns="0" tIns="0" rIns="0" bIns="0" rtlCol="0"/>
            <a:lstStyle/>
            <a:p>
              <a:endParaRPr sz="1796"/>
            </a:p>
          </p:txBody>
        </p:sp>
        <p:sp>
          <p:nvSpPr>
            <p:cNvPr id="106" name="bk object 34"/>
            <p:cNvSpPr/>
            <p:nvPr userDrawn="1"/>
          </p:nvSpPr>
          <p:spPr>
            <a:xfrm>
              <a:off x="1113387" y="4799529"/>
              <a:ext cx="43180" cy="60960"/>
            </a:xfrm>
            <a:custGeom>
              <a:avLst/>
              <a:gdLst/>
              <a:ahLst/>
              <a:cxnLst/>
              <a:rect l="l" t="t" r="r" b="b"/>
              <a:pathLst>
                <a:path w="43180" h="60960">
                  <a:moveTo>
                    <a:pt x="12534" y="0"/>
                  </a:moveTo>
                  <a:lnTo>
                    <a:pt x="0" y="0"/>
                  </a:lnTo>
                  <a:lnTo>
                    <a:pt x="0" y="11061"/>
                  </a:lnTo>
                  <a:lnTo>
                    <a:pt x="12534" y="11061"/>
                  </a:lnTo>
                  <a:lnTo>
                    <a:pt x="19996" y="12572"/>
                  </a:lnTo>
                  <a:lnTo>
                    <a:pt x="26096" y="16689"/>
                  </a:lnTo>
                  <a:lnTo>
                    <a:pt x="30213" y="22789"/>
                  </a:lnTo>
                  <a:lnTo>
                    <a:pt x="31724" y="30251"/>
                  </a:lnTo>
                  <a:lnTo>
                    <a:pt x="30213" y="37708"/>
                  </a:lnTo>
                  <a:lnTo>
                    <a:pt x="26096" y="43800"/>
                  </a:lnTo>
                  <a:lnTo>
                    <a:pt x="19996" y="47908"/>
                  </a:lnTo>
                  <a:lnTo>
                    <a:pt x="12534" y="49415"/>
                  </a:lnTo>
                  <a:lnTo>
                    <a:pt x="0" y="49415"/>
                  </a:lnTo>
                  <a:lnTo>
                    <a:pt x="0" y="60477"/>
                  </a:lnTo>
                  <a:lnTo>
                    <a:pt x="12534" y="60477"/>
                  </a:lnTo>
                  <a:lnTo>
                    <a:pt x="24296" y="58099"/>
                  </a:lnTo>
                  <a:lnTo>
                    <a:pt x="33913" y="51617"/>
                  </a:lnTo>
                  <a:lnTo>
                    <a:pt x="40404" y="42009"/>
                  </a:lnTo>
                  <a:lnTo>
                    <a:pt x="42786" y="30251"/>
                  </a:lnTo>
                  <a:lnTo>
                    <a:pt x="40404" y="18489"/>
                  </a:lnTo>
                  <a:lnTo>
                    <a:pt x="33913" y="8872"/>
                  </a:lnTo>
                  <a:lnTo>
                    <a:pt x="24296" y="2381"/>
                  </a:lnTo>
                  <a:lnTo>
                    <a:pt x="12534" y="0"/>
                  </a:lnTo>
                  <a:close/>
                </a:path>
              </a:pathLst>
            </a:custGeom>
            <a:solidFill>
              <a:srgbClr val="000000"/>
            </a:solidFill>
          </p:spPr>
          <p:txBody>
            <a:bodyPr wrap="square" lIns="0" tIns="0" rIns="0" bIns="0" rtlCol="0"/>
            <a:lstStyle/>
            <a:p>
              <a:endParaRPr sz="1796"/>
            </a:p>
          </p:txBody>
        </p:sp>
        <p:sp>
          <p:nvSpPr>
            <p:cNvPr id="107" name="bk object 35"/>
            <p:cNvSpPr/>
            <p:nvPr userDrawn="1"/>
          </p:nvSpPr>
          <p:spPr>
            <a:xfrm>
              <a:off x="1503992" y="4799529"/>
              <a:ext cx="43180" cy="60960"/>
            </a:xfrm>
            <a:custGeom>
              <a:avLst/>
              <a:gdLst/>
              <a:ahLst/>
              <a:cxnLst/>
              <a:rect l="l" t="t" r="r" b="b"/>
              <a:pathLst>
                <a:path w="43180" h="60960">
                  <a:moveTo>
                    <a:pt x="12534" y="0"/>
                  </a:moveTo>
                  <a:lnTo>
                    <a:pt x="0" y="0"/>
                  </a:lnTo>
                  <a:lnTo>
                    <a:pt x="0" y="11061"/>
                  </a:lnTo>
                  <a:lnTo>
                    <a:pt x="12534" y="11061"/>
                  </a:lnTo>
                  <a:lnTo>
                    <a:pt x="20001" y="12572"/>
                  </a:lnTo>
                  <a:lnTo>
                    <a:pt x="26101" y="16689"/>
                  </a:lnTo>
                  <a:lnTo>
                    <a:pt x="30215" y="22789"/>
                  </a:lnTo>
                  <a:lnTo>
                    <a:pt x="31724" y="30251"/>
                  </a:lnTo>
                  <a:lnTo>
                    <a:pt x="30215" y="37708"/>
                  </a:lnTo>
                  <a:lnTo>
                    <a:pt x="26101" y="43800"/>
                  </a:lnTo>
                  <a:lnTo>
                    <a:pt x="20001" y="47908"/>
                  </a:lnTo>
                  <a:lnTo>
                    <a:pt x="12534" y="49415"/>
                  </a:lnTo>
                  <a:lnTo>
                    <a:pt x="0" y="49415"/>
                  </a:lnTo>
                  <a:lnTo>
                    <a:pt x="0" y="60477"/>
                  </a:lnTo>
                  <a:lnTo>
                    <a:pt x="12534" y="60477"/>
                  </a:lnTo>
                  <a:lnTo>
                    <a:pt x="24307" y="58099"/>
                  </a:lnTo>
                  <a:lnTo>
                    <a:pt x="33923" y="51617"/>
                  </a:lnTo>
                  <a:lnTo>
                    <a:pt x="40408" y="42009"/>
                  </a:lnTo>
                  <a:lnTo>
                    <a:pt x="42786" y="30251"/>
                  </a:lnTo>
                  <a:lnTo>
                    <a:pt x="40408" y="18489"/>
                  </a:lnTo>
                  <a:lnTo>
                    <a:pt x="33923" y="8872"/>
                  </a:lnTo>
                  <a:lnTo>
                    <a:pt x="24307" y="2381"/>
                  </a:lnTo>
                  <a:lnTo>
                    <a:pt x="12534" y="0"/>
                  </a:lnTo>
                  <a:close/>
                </a:path>
              </a:pathLst>
            </a:custGeom>
            <a:solidFill>
              <a:srgbClr val="000000"/>
            </a:solidFill>
          </p:spPr>
          <p:txBody>
            <a:bodyPr wrap="square" lIns="0" tIns="0" rIns="0" bIns="0" rtlCol="0"/>
            <a:lstStyle/>
            <a:p>
              <a:endParaRPr sz="1796"/>
            </a:p>
          </p:txBody>
        </p:sp>
        <p:sp>
          <p:nvSpPr>
            <p:cNvPr id="108" name="bk object 36"/>
            <p:cNvSpPr/>
            <p:nvPr userDrawn="1"/>
          </p:nvSpPr>
          <p:spPr>
            <a:xfrm>
              <a:off x="1894592" y="4799529"/>
              <a:ext cx="43180" cy="60960"/>
            </a:xfrm>
            <a:custGeom>
              <a:avLst/>
              <a:gdLst/>
              <a:ahLst/>
              <a:cxnLst/>
              <a:rect l="l" t="t" r="r" b="b"/>
              <a:pathLst>
                <a:path w="43180" h="60960">
                  <a:moveTo>
                    <a:pt x="12534" y="0"/>
                  </a:moveTo>
                  <a:lnTo>
                    <a:pt x="0" y="0"/>
                  </a:lnTo>
                  <a:lnTo>
                    <a:pt x="0" y="11061"/>
                  </a:lnTo>
                  <a:lnTo>
                    <a:pt x="12534" y="11061"/>
                  </a:lnTo>
                  <a:lnTo>
                    <a:pt x="20007" y="12572"/>
                  </a:lnTo>
                  <a:lnTo>
                    <a:pt x="26106" y="16689"/>
                  </a:lnTo>
                  <a:lnTo>
                    <a:pt x="30217" y="22789"/>
                  </a:lnTo>
                  <a:lnTo>
                    <a:pt x="31724" y="30251"/>
                  </a:lnTo>
                  <a:lnTo>
                    <a:pt x="30217" y="37708"/>
                  </a:lnTo>
                  <a:lnTo>
                    <a:pt x="26106" y="43800"/>
                  </a:lnTo>
                  <a:lnTo>
                    <a:pt x="20007" y="47908"/>
                  </a:lnTo>
                  <a:lnTo>
                    <a:pt x="12534" y="49415"/>
                  </a:lnTo>
                  <a:lnTo>
                    <a:pt x="0" y="49415"/>
                  </a:lnTo>
                  <a:lnTo>
                    <a:pt x="0" y="60477"/>
                  </a:lnTo>
                  <a:lnTo>
                    <a:pt x="12534" y="60477"/>
                  </a:lnTo>
                  <a:lnTo>
                    <a:pt x="24307" y="58099"/>
                  </a:lnTo>
                  <a:lnTo>
                    <a:pt x="33923" y="51617"/>
                  </a:lnTo>
                  <a:lnTo>
                    <a:pt x="40408" y="42009"/>
                  </a:lnTo>
                  <a:lnTo>
                    <a:pt x="42786" y="30251"/>
                  </a:lnTo>
                  <a:lnTo>
                    <a:pt x="40408" y="18489"/>
                  </a:lnTo>
                  <a:lnTo>
                    <a:pt x="33923" y="8872"/>
                  </a:lnTo>
                  <a:lnTo>
                    <a:pt x="24307" y="2381"/>
                  </a:lnTo>
                  <a:lnTo>
                    <a:pt x="12534" y="0"/>
                  </a:lnTo>
                  <a:close/>
                </a:path>
              </a:pathLst>
            </a:custGeom>
            <a:solidFill>
              <a:srgbClr val="000000"/>
            </a:solidFill>
          </p:spPr>
          <p:txBody>
            <a:bodyPr wrap="square" lIns="0" tIns="0" rIns="0" bIns="0" rtlCol="0"/>
            <a:lstStyle/>
            <a:p>
              <a:endParaRPr sz="1796"/>
            </a:p>
          </p:txBody>
        </p:sp>
        <p:sp>
          <p:nvSpPr>
            <p:cNvPr id="109" name="bk object 37"/>
            <p:cNvSpPr/>
            <p:nvPr userDrawn="1"/>
          </p:nvSpPr>
          <p:spPr>
            <a:xfrm>
              <a:off x="2285197" y="4799529"/>
              <a:ext cx="43180" cy="60960"/>
            </a:xfrm>
            <a:custGeom>
              <a:avLst/>
              <a:gdLst/>
              <a:ahLst/>
              <a:cxnLst/>
              <a:rect l="l" t="t" r="r" b="b"/>
              <a:pathLst>
                <a:path w="43180" h="60960">
                  <a:moveTo>
                    <a:pt x="12534" y="0"/>
                  </a:moveTo>
                  <a:lnTo>
                    <a:pt x="0" y="0"/>
                  </a:lnTo>
                  <a:lnTo>
                    <a:pt x="0" y="11061"/>
                  </a:lnTo>
                  <a:lnTo>
                    <a:pt x="12534" y="11061"/>
                  </a:lnTo>
                  <a:lnTo>
                    <a:pt x="20001" y="12572"/>
                  </a:lnTo>
                  <a:lnTo>
                    <a:pt x="26101" y="16689"/>
                  </a:lnTo>
                  <a:lnTo>
                    <a:pt x="30215" y="22789"/>
                  </a:lnTo>
                  <a:lnTo>
                    <a:pt x="31724" y="30251"/>
                  </a:lnTo>
                  <a:lnTo>
                    <a:pt x="30215" y="37708"/>
                  </a:lnTo>
                  <a:lnTo>
                    <a:pt x="26101" y="43800"/>
                  </a:lnTo>
                  <a:lnTo>
                    <a:pt x="20001" y="47908"/>
                  </a:lnTo>
                  <a:lnTo>
                    <a:pt x="12534" y="49415"/>
                  </a:lnTo>
                  <a:lnTo>
                    <a:pt x="0" y="49415"/>
                  </a:lnTo>
                  <a:lnTo>
                    <a:pt x="0" y="60477"/>
                  </a:lnTo>
                  <a:lnTo>
                    <a:pt x="12534" y="60477"/>
                  </a:lnTo>
                  <a:lnTo>
                    <a:pt x="24311" y="58099"/>
                  </a:lnTo>
                  <a:lnTo>
                    <a:pt x="33935" y="51617"/>
                  </a:lnTo>
                  <a:lnTo>
                    <a:pt x="40429" y="42009"/>
                  </a:lnTo>
                  <a:lnTo>
                    <a:pt x="42811" y="30251"/>
                  </a:lnTo>
                  <a:lnTo>
                    <a:pt x="40429" y="18489"/>
                  </a:lnTo>
                  <a:lnTo>
                    <a:pt x="33935" y="8872"/>
                  </a:lnTo>
                  <a:lnTo>
                    <a:pt x="24311" y="2381"/>
                  </a:lnTo>
                  <a:lnTo>
                    <a:pt x="12534" y="0"/>
                  </a:lnTo>
                  <a:close/>
                </a:path>
              </a:pathLst>
            </a:custGeom>
            <a:solidFill>
              <a:srgbClr val="919396"/>
            </a:solidFill>
          </p:spPr>
          <p:txBody>
            <a:bodyPr wrap="square" lIns="0" tIns="0" rIns="0" bIns="0" rtlCol="0"/>
            <a:lstStyle/>
            <a:p>
              <a:endParaRPr sz="1796"/>
            </a:p>
          </p:txBody>
        </p:sp>
        <p:sp>
          <p:nvSpPr>
            <p:cNvPr id="110" name="bk object 38"/>
            <p:cNvSpPr/>
            <p:nvPr userDrawn="1"/>
          </p:nvSpPr>
          <p:spPr>
            <a:xfrm>
              <a:off x="2675802" y="4799529"/>
              <a:ext cx="43180" cy="60960"/>
            </a:xfrm>
            <a:custGeom>
              <a:avLst/>
              <a:gdLst/>
              <a:ahLst/>
              <a:cxnLst/>
              <a:rect l="l" t="t" r="r" b="b"/>
              <a:pathLst>
                <a:path w="43180" h="60960">
                  <a:moveTo>
                    <a:pt x="12560" y="0"/>
                  </a:moveTo>
                  <a:lnTo>
                    <a:pt x="0" y="0"/>
                  </a:lnTo>
                  <a:lnTo>
                    <a:pt x="0" y="11061"/>
                  </a:lnTo>
                  <a:lnTo>
                    <a:pt x="12560" y="11061"/>
                  </a:lnTo>
                  <a:lnTo>
                    <a:pt x="20021" y="12572"/>
                  </a:lnTo>
                  <a:lnTo>
                    <a:pt x="26122" y="16689"/>
                  </a:lnTo>
                  <a:lnTo>
                    <a:pt x="30239" y="22789"/>
                  </a:lnTo>
                  <a:lnTo>
                    <a:pt x="31750" y="30251"/>
                  </a:lnTo>
                  <a:lnTo>
                    <a:pt x="30239" y="37708"/>
                  </a:lnTo>
                  <a:lnTo>
                    <a:pt x="26122" y="43800"/>
                  </a:lnTo>
                  <a:lnTo>
                    <a:pt x="20021" y="47908"/>
                  </a:lnTo>
                  <a:lnTo>
                    <a:pt x="12560" y="49415"/>
                  </a:lnTo>
                  <a:lnTo>
                    <a:pt x="0" y="49415"/>
                  </a:lnTo>
                  <a:lnTo>
                    <a:pt x="0" y="60477"/>
                  </a:lnTo>
                  <a:lnTo>
                    <a:pt x="12560" y="60477"/>
                  </a:lnTo>
                  <a:lnTo>
                    <a:pt x="24321" y="58099"/>
                  </a:lnTo>
                  <a:lnTo>
                    <a:pt x="33939" y="51617"/>
                  </a:lnTo>
                  <a:lnTo>
                    <a:pt x="40429" y="42009"/>
                  </a:lnTo>
                  <a:lnTo>
                    <a:pt x="42811" y="30251"/>
                  </a:lnTo>
                  <a:lnTo>
                    <a:pt x="40429" y="18489"/>
                  </a:lnTo>
                  <a:lnTo>
                    <a:pt x="33939" y="8872"/>
                  </a:lnTo>
                  <a:lnTo>
                    <a:pt x="24321" y="2381"/>
                  </a:lnTo>
                  <a:lnTo>
                    <a:pt x="12560" y="0"/>
                  </a:lnTo>
                  <a:close/>
                </a:path>
              </a:pathLst>
            </a:custGeom>
            <a:solidFill>
              <a:srgbClr val="919396"/>
            </a:solidFill>
          </p:spPr>
          <p:txBody>
            <a:bodyPr wrap="square" lIns="0" tIns="0" rIns="0" bIns="0" rtlCol="0"/>
            <a:lstStyle/>
            <a:p>
              <a:endParaRPr sz="1796"/>
            </a:p>
          </p:txBody>
        </p:sp>
        <p:sp>
          <p:nvSpPr>
            <p:cNvPr id="111" name="bk object 39"/>
            <p:cNvSpPr/>
            <p:nvPr userDrawn="1"/>
          </p:nvSpPr>
          <p:spPr>
            <a:xfrm>
              <a:off x="3066427" y="4799529"/>
              <a:ext cx="43180" cy="60960"/>
            </a:xfrm>
            <a:custGeom>
              <a:avLst/>
              <a:gdLst/>
              <a:ahLst/>
              <a:cxnLst/>
              <a:rect l="l" t="t" r="r" b="b"/>
              <a:pathLst>
                <a:path w="43180" h="60960">
                  <a:moveTo>
                    <a:pt x="12534" y="0"/>
                  </a:moveTo>
                  <a:lnTo>
                    <a:pt x="0" y="0"/>
                  </a:lnTo>
                  <a:lnTo>
                    <a:pt x="0" y="11061"/>
                  </a:lnTo>
                  <a:lnTo>
                    <a:pt x="12534" y="11061"/>
                  </a:lnTo>
                  <a:lnTo>
                    <a:pt x="19996" y="12572"/>
                  </a:lnTo>
                  <a:lnTo>
                    <a:pt x="26096" y="16689"/>
                  </a:lnTo>
                  <a:lnTo>
                    <a:pt x="30213" y="22789"/>
                  </a:lnTo>
                  <a:lnTo>
                    <a:pt x="31724" y="30251"/>
                  </a:lnTo>
                  <a:lnTo>
                    <a:pt x="30213" y="37708"/>
                  </a:lnTo>
                  <a:lnTo>
                    <a:pt x="26096" y="43800"/>
                  </a:lnTo>
                  <a:lnTo>
                    <a:pt x="19996" y="47908"/>
                  </a:lnTo>
                  <a:lnTo>
                    <a:pt x="12534" y="49415"/>
                  </a:lnTo>
                  <a:lnTo>
                    <a:pt x="0" y="49415"/>
                  </a:lnTo>
                  <a:lnTo>
                    <a:pt x="0" y="60477"/>
                  </a:lnTo>
                  <a:lnTo>
                    <a:pt x="12534" y="60477"/>
                  </a:lnTo>
                  <a:lnTo>
                    <a:pt x="24296" y="58099"/>
                  </a:lnTo>
                  <a:lnTo>
                    <a:pt x="33913" y="51617"/>
                  </a:lnTo>
                  <a:lnTo>
                    <a:pt x="40404" y="42009"/>
                  </a:lnTo>
                  <a:lnTo>
                    <a:pt x="42786" y="30251"/>
                  </a:lnTo>
                  <a:lnTo>
                    <a:pt x="40404" y="18489"/>
                  </a:lnTo>
                  <a:lnTo>
                    <a:pt x="33913" y="8872"/>
                  </a:lnTo>
                  <a:lnTo>
                    <a:pt x="24296" y="2381"/>
                  </a:lnTo>
                  <a:lnTo>
                    <a:pt x="12534" y="0"/>
                  </a:lnTo>
                  <a:close/>
                </a:path>
              </a:pathLst>
            </a:custGeom>
            <a:solidFill>
              <a:srgbClr val="919396"/>
            </a:solidFill>
          </p:spPr>
          <p:txBody>
            <a:bodyPr wrap="square" lIns="0" tIns="0" rIns="0" bIns="0" rtlCol="0"/>
            <a:lstStyle/>
            <a:p>
              <a:endParaRPr sz="1796"/>
            </a:p>
          </p:txBody>
        </p:sp>
        <p:sp>
          <p:nvSpPr>
            <p:cNvPr id="112" name="bk object 40"/>
            <p:cNvSpPr/>
            <p:nvPr userDrawn="1"/>
          </p:nvSpPr>
          <p:spPr>
            <a:xfrm>
              <a:off x="3457032" y="4799529"/>
              <a:ext cx="43180" cy="60960"/>
            </a:xfrm>
            <a:custGeom>
              <a:avLst/>
              <a:gdLst/>
              <a:ahLst/>
              <a:cxnLst/>
              <a:rect l="l" t="t" r="r" b="b"/>
              <a:pathLst>
                <a:path w="43179" h="60960">
                  <a:moveTo>
                    <a:pt x="12534" y="0"/>
                  </a:moveTo>
                  <a:lnTo>
                    <a:pt x="0" y="0"/>
                  </a:lnTo>
                  <a:lnTo>
                    <a:pt x="0" y="11061"/>
                  </a:lnTo>
                  <a:lnTo>
                    <a:pt x="12534" y="11061"/>
                  </a:lnTo>
                  <a:lnTo>
                    <a:pt x="20007" y="12572"/>
                  </a:lnTo>
                  <a:lnTo>
                    <a:pt x="26106" y="16689"/>
                  </a:lnTo>
                  <a:lnTo>
                    <a:pt x="30217" y="22789"/>
                  </a:lnTo>
                  <a:lnTo>
                    <a:pt x="31724" y="30251"/>
                  </a:lnTo>
                  <a:lnTo>
                    <a:pt x="30217" y="37708"/>
                  </a:lnTo>
                  <a:lnTo>
                    <a:pt x="26106" y="43800"/>
                  </a:lnTo>
                  <a:lnTo>
                    <a:pt x="20007" y="47908"/>
                  </a:lnTo>
                  <a:lnTo>
                    <a:pt x="12534" y="49415"/>
                  </a:lnTo>
                  <a:lnTo>
                    <a:pt x="0" y="49415"/>
                  </a:lnTo>
                  <a:lnTo>
                    <a:pt x="0" y="60477"/>
                  </a:lnTo>
                  <a:lnTo>
                    <a:pt x="12534" y="60477"/>
                  </a:lnTo>
                  <a:lnTo>
                    <a:pt x="24307" y="58099"/>
                  </a:lnTo>
                  <a:lnTo>
                    <a:pt x="33923" y="51617"/>
                  </a:lnTo>
                  <a:lnTo>
                    <a:pt x="40408" y="42009"/>
                  </a:lnTo>
                  <a:lnTo>
                    <a:pt x="42786" y="30251"/>
                  </a:lnTo>
                  <a:lnTo>
                    <a:pt x="40408" y="18489"/>
                  </a:lnTo>
                  <a:lnTo>
                    <a:pt x="33923" y="8872"/>
                  </a:lnTo>
                  <a:lnTo>
                    <a:pt x="24307" y="2381"/>
                  </a:lnTo>
                  <a:lnTo>
                    <a:pt x="12534" y="0"/>
                  </a:lnTo>
                  <a:close/>
                </a:path>
              </a:pathLst>
            </a:custGeom>
            <a:solidFill>
              <a:srgbClr val="919396"/>
            </a:solidFill>
          </p:spPr>
          <p:txBody>
            <a:bodyPr wrap="square" lIns="0" tIns="0" rIns="0" bIns="0" rtlCol="0"/>
            <a:lstStyle/>
            <a:p>
              <a:endParaRPr sz="1796"/>
            </a:p>
          </p:txBody>
        </p:sp>
        <p:sp>
          <p:nvSpPr>
            <p:cNvPr id="113" name="bk object 41"/>
            <p:cNvSpPr/>
            <p:nvPr userDrawn="1"/>
          </p:nvSpPr>
          <p:spPr>
            <a:xfrm>
              <a:off x="3847639" y="4799529"/>
              <a:ext cx="43180" cy="60960"/>
            </a:xfrm>
            <a:custGeom>
              <a:avLst/>
              <a:gdLst/>
              <a:ahLst/>
              <a:cxnLst/>
              <a:rect l="l" t="t" r="r" b="b"/>
              <a:pathLst>
                <a:path w="43179" h="60960">
                  <a:moveTo>
                    <a:pt x="12534" y="0"/>
                  </a:moveTo>
                  <a:lnTo>
                    <a:pt x="0" y="0"/>
                  </a:lnTo>
                  <a:lnTo>
                    <a:pt x="0" y="11061"/>
                  </a:lnTo>
                  <a:lnTo>
                    <a:pt x="12534" y="11061"/>
                  </a:lnTo>
                  <a:lnTo>
                    <a:pt x="20001" y="12572"/>
                  </a:lnTo>
                  <a:lnTo>
                    <a:pt x="26101" y="16689"/>
                  </a:lnTo>
                  <a:lnTo>
                    <a:pt x="30215" y="22789"/>
                  </a:lnTo>
                  <a:lnTo>
                    <a:pt x="31724" y="30251"/>
                  </a:lnTo>
                  <a:lnTo>
                    <a:pt x="30215" y="37708"/>
                  </a:lnTo>
                  <a:lnTo>
                    <a:pt x="26101" y="43800"/>
                  </a:lnTo>
                  <a:lnTo>
                    <a:pt x="20001" y="47908"/>
                  </a:lnTo>
                  <a:lnTo>
                    <a:pt x="12534" y="49415"/>
                  </a:lnTo>
                  <a:lnTo>
                    <a:pt x="0" y="49415"/>
                  </a:lnTo>
                  <a:lnTo>
                    <a:pt x="0" y="60477"/>
                  </a:lnTo>
                  <a:lnTo>
                    <a:pt x="12534" y="60477"/>
                  </a:lnTo>
                  <a:lnTo>
                    <a:pt x="24307" y="58099"/>
                  </a:lnTo>
                  <a:lnTo>
                    <a:pt x="33923" y="51617"/>
                  </a:lnTo>
                  <a:lnTo>
                    <a:pt x="40408" y="42009"/>
                  </a:lnTo>
                  <a:lnTo>
                    <a:pt x="42786" y="30251"/>
                  </a:lnTo>
                  <a:lnTo>
                    <a:pt x="40408" y="18489"/>
                  </a:lnTo>
                  <a:lnTo>
                    <a:pt x="33923" y="8872"/>
                  </a:lnTo>
                  <a:lnTo>
                    <a:pt x="24307" y="2381"/>
                  </a:lnTo>
                  <a:lnTo>
                    <a:pt x="12534" y="0"/>
                  </a:lnTo>
                  <a:close/>
                </a:path>
              </a:pathLst>
            </a:custGeom>
            <a:solidFill>
              <a:srgbClr val="919396"/>
            </a:solidFill>
          </p:spPr>
          <p:txBody>
            <a:bodyPr wrap="square" lIns="0" tIns="0" rIns="0" bIns="0" rtlCol="0"/>
            <a:lstStyle/>
            <a:p>
              <a:endParaRPr sz="1796"/>
            </a:p>
          </p:txBody>
        </p:sp>
        <p:sp>
          <p:nvSpPr>
            <p:cNvPr id="114" name="bk object 42"/>
            <p:cNvSpPr/>
            <p:nvPr userDrawn="1"/>
          </p:nvSpPr>
          <p:spPr>
            <a:xfrm>
              <a:off x="4238244" y="4799529"/>
              <a:ext cx="43180" cy="60960"/>
            </a:xfrm>
            <a:custGeom>
              <a:avLst/>
              <a:gdLst/>
              <a:ahLst/>
              <a:cxnLst/>
              <a:rect l="l" t="t" r="r" b="b"/>
              <a:pathLst>
                <a:path w="43179" h="60960">
                  <a:moveTo>
                    <a:pt x="12560" y="0"/>
                  </a:moveTo>
                  <a:lnTo>
                    <a:pt x="0" y="0"/>
                  </a:lnTo>
                  <a:lnTo>
                    <a:pt x="0" y="11061"/>
                  </a:lnTo>
                  <a:lnTo>
                    <a:pt x="12560" y="11061"/>
                  </a:lnTo>
                  <a:lnTo>
                    <a:pt x="20021" y="12572"/>
                  </a:lnTo>
                  <a:lnTo>
                    <a:pt x="26122" y="16689"/>
                  </a:lnTo>
                  <a:lnTo>
                    <a:pt x="30239" y="22789"/>
                  </a:lnTo>
                  <a:lnTo>
                    <a:pt x="31749" y="30251"/>
                  </a:lnTo>
                  <a:lnTo>
                    <a:pt x="30239" y="37708"/>
                  </a:lnTo>
                  <a:lnTo>
                    <a:pt x="26122" y="43800"/>
                  </a:lnTo>
                  <a:lnTo>
                    <a:pt x="20021" y="47908"/>
                  </a:lnTo>
                  <a:lnTo>
                    <a:pt x="12560" y="49415"/>
                  </a:lnTo>
                  <a:lnTo>
                    <a:pt x="0" y="49415"/>
                  </a:lnTo>
                  <a:lnTo>
                    <a:pt x="0" y="60477"/>
                  </a:lnTo>
                  <a:lnTo>
                    <a:pt x="12560" y="60477"/>
                  </a:lnTo>
                  <a:lnTo>
                    <a:pt x="24316" y="58099"/>
                  </a:lnTo>
                  <a:lnTo>
                    <a:pt x="33934" y="51617"/>
                  </a:lnTo>
                  <a:lnTo>
                    <a:pt x="40428" y="42009"/>
                  </a:lnTo>
                  <a:lnTo>
                    <a:pt x="42811" y="30251"/>
                  </a:lnTo>
                  <a:lnTo>
                    <a:pt x="40428" y="18489"/>
                  </a:lnTo>
                  <a:lnTo>
                    <a:pt x="33934" y="8872"/>
                  </a:lnTo>
                  <a:lnTo>
                    <a:pt x="24316" y="2381"/>
                  </a:lnTo>
                  <a:lnTo>
                    <a:pt x="12560" y="0"/>
                  </a:lnTo>
                  <a:close/>
                </a:path>
              </a:pathLst>
            </a:custGeom>
            <a:solidFill>
              <a:srgbClr val="919396"/>
            </a:solidFill>
          </p:spPr>
          <p:txBody>
            <a:bodyPr wrap="square" lIns="0" tIns="0" rIns="0" bIns="0" rtlCol="0"/>
            <a:lstStyle/>
            <a:p>
              <a:endParaRPr sz="1796"/>
            </a:p>
          </p:txBody>
        </p:sp>
        <p:sp>
          <p:nvSpPr>
            <p:cNvPr id="115" name="bk object 43"/>
            <p:cNvSpPr/>
            <p:nvPr userDrawn="1"/>
          </p:nvSpPr>
          <p:spPr>
            <a:xfrm>
              <a:off x="4628868" y="4799529"/>
              <a:ext cx="43180" cy="60960"/>
            </a:xfrm>
            <a:custGeom>
              <a:avLst/>
              <a:gdLst/>
              <a:ahLst/>
              <a:cxnLst/>
              <a:rect l="l" t="t" r="r" b="b"/>
              <a:pathLst>
                <a:path w="43179" h="60960">
                  <a:moveTo>
                    <a:pt x="12534" y="0"/>
                  </a:moveTo>
                  <a:lnTo>
                    <a:pt x="0" y="0"/>
                  </a:lnTo>
                  <a:lnTo>
                    <a:pt x="0" y="11061"/>
                  </a:lnTo>
                  <a:lnTo>
                    <a:pt x="12534" y="11061"/>
                  </a:lnTo>
                  <a:lnTo>
                    <a:pt x="19996" y="12572"/>
                  </a:lnTo>
                  <a:lnTo>
                    <a:pt x="26096" y="16689"/>
                  </a:lnTo>
                  <a:lnTo>
                    <a:pt x="30213" y="22789"/>
                  </a:lnTo>
                  <a:lnTo>
                    <a:pt x="31724" y="30251"/>
                  </a:lnTo>
                  <a:lnTo>
                    <a:pt x="30213" y="37708"/>
                  </a:lnTo>
                  <a:lnTo>
                    <a:pt x="26096" y="43800"/>
                  </a:lnTo>
                  <a:lnTo>
                    <a:pt x="19996" y="47908"/>
                  </a:lnTo>
                  <a:lnTo>
                    <a:pt x="12534" y="49415"/>
                  </a:lnTo>
                  <a:lnTo>
                    <a:pt x="0" y="49415"/>
                  </a:lnTo>
                  <a:lnTo>
                    <a:pt x="0" y="60477"/>
                  </a:lnTo>
                  <a:lnTo>
                    <a:pt x="12534" y="60477"/>
                  </a:lnTo>
                  <a:lnTo>
                    <a:pt x="24296" y="58099"/>
                  </a:lnTo>
                  <a:lnTo>
                    <a:pt x="33913" y="51617"/>
                  </a:lnTo>
                  <a:lnTo>
                    <a:pt x="40404" y="42009"/>
                  </a:lnTo>
                  <a:lnTo>
                    <a:pt x="42786" y="30251"/>
                  </a:lnTo>
                  <a:lnTo>
                    <a:pt x="40404" y="18489"/>
                  </a:lnTo>
                  <a:lnTo>
                    <a:pt x="33913" y="8872"/>
                  </a:lnTo>
                  <a:lnTo>
                    <a:pt x="24296" y="2381"/>
                  </a:lnTo>
                  <a:lnTo>
                    <a:pt x="12534" y="0"/>
                  </a:lnTo>
                  <a:close/>
                </a:path>
              </a:pathLst>
            </a:custGeom>
            <a:solidFill>
              <a:srgbClr val="919396"/>
            </a:solidFill>
          </p:spPr>
          <p:txBody>
            <a:bodyPr wrap="square" lIns="0" tIns="0" rIns="0" bIns="0" rtlCol="0"/>
            <a:lstStyle/>
            <a:p>
              <a:endParaRPr sz="1796"/>
            </a:p>
          </p:txBody>
        </p:sp>
        <p:sp>
          <p:nvSpPr>
            <p:cNvPr id="116" name="bk object 44"/>
            <p:cNvSpPr/>
            <p:nvPr userDrawn="1"/>
          </p:nvSpPr>
          <p:spPr>
            <a:xfrm>
              <a:off x="5019474" y="4799529"/>
              <a:ext cx="43180" cy="60960"/>
            </a:xfrm>
            <a:custGeom>
              <a:avLst/>
              <a:gdLst/>
              <a:ahLst/>
              <a:cxnLst/>
              <a:rect l="l" t="t" r="r" b="b"/>
              <a:pathLst>
                <a:path w="43179" h="60960">
                  <a:moveTo>
                    <a:pt x="12534" y="0"/>
                  </a:moveTo>
                  <a:lnTo>
                    <a:pt x="0" y="0"/>
                  </a:lnTo>
                  <a:lnTo>
                    <a:pt x="0" y="11061"/>
                  </a:lnTo>
                  <a:lnTo>
                    <a:pt x="12534" y="11061"/>
                  </a:lnTo>
                  <a:lnTo>
                    <a:pt x="20001" y="12572"/>
                  </a:lnTo>
                  <a:lnTo>
                    <a:pt x="26101" y="16689"/>
                  </a:lnTo>
                  <a:lnTo>
                    <a:pt x="30215" y="22789"/>
                  </a:lnTo>
                  <a:lnTo>
                    <a:pt x="31724" y="30251"/>
                  </a:lnTo>
                  <a:lnTo>
                    <a:pt x="30215" y="37708"/>
                  </a:lnTo>
                  <a:lnTo>
                    <a:pt x="26101" y="43800"/>
                  </a:lnTo>
                  <a:lnTo>
                    <a:pt x="20001" y="47908"/>
                  </a:lnTo>
                  <a:lnTo>
                    <a:pt x="12534" y="49415"/>
                  </a:lnTo>
                  <a:lnTo>
                    <a:pt x="0" y="49415"/>
                  </a:lnTo>
                  <a:lnTo>
                    <a:pt x="0" y="60477"/>
                  </a:lnTo>
                  <a:lnTo>
                    <a:pt x="12534" y="60477"/>
                  </a:lnTo>
                  <a:lnTo>
                    <a:pt x="24296" y="58099"/>
                  </a:lnTo>
                  <a:lnTo>
                    <a:pt x="33913" y="51617"/>
                  </a:lnTo>
                  <a:lnTo>
                    <a:pt x="40404" y="42009"/>
                  </a:lnTo>
                  <a:lnTo>
                    <a:pt x="42786" y="30251"/>
                  </a:lnTo>
                  <a:lnTo>
                    <a:pt x="40404" y="18489"/>
                  </a:lnTo>
                  <a:lnTo>
                    <a:pt x="33913" y="8872"/>
                  </a:lnTo>
                  <a:lnTo>
                    <a:pt x="24296" y="2381"/>
                  </a:lnTo>
                  <a:lnTo>
                    <a:pt x="12534" y="0"/>
                  </a:lnTo>
                  <a:close/>
                </a:path>
              </a:pathLst>
            </a:custGeom>
            <a:solidFill>
              <a:srgbClr val="919396"/>
            </a:solidFill>
          </p:spPr>
          <p:txBody>
            <a:bodyPr wrap="square" lIns="0" tIns="0" rIns="0" bIns="0" rtlCol="0"/>
            <a:lstStyle/>
            <a:p>
              <a:endParaRPr sz="1796"/>
            </a:p>
          </p:txBody>
        </p:sp>
        <p:sp>
          <p:nvSpPr>
            <p:cNvPr id="127" name="bk object 21"/>
            <p:cNvSpPr/>
            <p:nvPr userDrawn="1"/>
          </p:nvSpPr>
          <p:spPr>
            <a:xfrm>
              <a:off x="6191296" y="4410534"/>
              <a:ext cx="43180" cy="60960"/>
            </a:xfrm>
            <a:custGeom>
              <a:avLst/>
              <a:gdLst/>
              <a:ahLst/>
              <a:cxnLst/>
              <a:rect l="l" t="t" r="r" b="b"/>
              <a:pathLst>
                <a:path w="43179" h="60960">
                  <a:moveTo>
                    <a:pt x="42786" y="0"/>
                  </a:moveTo>
                  <a:lnTo>
                    <a:pt x="30251" y="0"/>
                  </a:lnTo>
                  <a:lnTo>
                    <a:pt x="18489" y="2377"/>
                  </a:lnTo>
                  <a:lnTo>
                    <a:pt x="8872" y="8859"/>
                  </a:lnTo>
                  <a:lnTo>
                    <a:pt x="2381" y="18468"/>
                  </a:lnTo>
                  <a:lnTo>
                    <a:pt x="0" y="30226"/>
                  </a:lnTo>
                  <a:lnTo>
                    <a:pt x="2381" y="41987"/>
                  </a:lnTo>
                  <a:lnTo>
                    <a:pt x="8872" y="51604"/>
                  </a:lnTo>
                  <a:lnTo>
                    <a:pt x="18489" y="58095"/>
                  </a:lnTo>
                  <a:lnTo>
                    <a:pt x="30251" y="60477"/>
                  </a:lnTo>
                  <a:lnTo>
                    <a:pt x="42786" y="60477"/>
                  </a:lnTo>
                  <a:lnTo>
                    <a:pt x="42786" y="49415"/>
                  </a:lnTo>
                  <a:lnTo>
                    <a:pt x="30251" y="49415"/>
                  </a:lnTo>
                  <a:lnTo>
                    <a:pt x="22789" y="47904"/>
                  </a:lnTo>
                  <a:lnTo>
                    <a:pt x="16689" y="43788"/>
                  </a:lnTo>
                  <a:lnTo>
                    <a:pt x="12572" y="37687"/>
                  </a:lnTo>
                  <a:lnTo>
                    <a:pt x="11061" y="30226"/>
                  </a:lnTo>
                  <a:lnTo>
                    <a:pt x="12572" y="22768"/>
                  </a:lnTo>
                  <a:lnTo>
                    <a:pt x="16689" y="16676"/>
                  </a:lnTo>
                  <a:lnTo>
                    <a:pt x="22789" y="12568"/>
                  </a:lnTo>
                  <a:lnTo>
                    <a:pt x="30251" y="11061"/>
                  </a:lnTo>
                  <a:lnTo>
                    <a:pt x="42786" y="11061"/>
                  </a:lnTo>
                  <a:lnTo>
                    <a:pt x="42786" y="0"/>
                  </a:lnTo>
                  <a:close/>
                </a:path>
              </a:pathLst>
            </a:custGeom>
            <a:solidFill>
              <a:srgbClr val="919396"/>
            </a:solidFill>
          </p:spPr>
          <p:txBody>
            <a:bodyPr wrap="square" lIns="0" tIns="0" rIns="0" bIns="0" rtlCol="0"/>
            <a:lstStyle/>
            <a:p>
              <a:endParaRPr sz="1796"/>
            </a:p>
          </p:txBody>
        </p:sp>
        <p:sp>
          <p:nvSpPr>
            <p:cNvPr id="128" name="bk object 22"/>
            <p:cNvSpPr/>
            <p:nvPr userDrawn="1"/>
          </p:nvSpPr>
          <p:spPr>
            <a:xfrm>
              <a:off x="5800698" y="4410534"/>
              <a:ext cx="43180" cy="60960"/>
            </a:xfrm>
            <a:custGeom>
              <a:avLst/>
              <a:gdLst/>
              <a:ahLst/>
              <a:cxnLst/>
              <a:rect l="l" t="t" r="r" b="b"/>
              <a:pathLst>
                <a:path w="43179" h="60960">
                  <a:moveTo>
                    <a:pt x="42786" y="0"/>
                  </a:moveTo>
                  <a:lnTo>
                    <a:pt x="30251" y="0"/>
                  </a:lnTo>
                  <a:lnTo>
                    <a:pt x="18479" y="2377"/>
                  </a:lnTo>
                  <a:lnTo>
                    <a:pt x="8863" y="8859"/>
                  </a:lnTo>
                  <a:lnTo>
                    <a:pt x="2378" y="18468"/>
                  </a:lnTo>
                  <a:lnTo>
                    <a:pt x="0" y="30226"/>
                  </a:lnTo>
                  <a:lnTo>
                    <a:pt x="2378" y="41987"/>
                  </a:lnTo>
                  <a:lnTo>
                    <a:pt x="8863" y="51604"/>
                  </a:lnTo>
                  <a:lnTo>
                    <a:pt x="18479" y="58095"/>
                  </a:lnTo>
                  <a:lnTo>
                    <a:pt x="30251" y="60477"/>
                  </a:lnTo>
                  <a:lnTo>
                    <a:pt x="42786" y="60477"/>
                  </a:lnTo>
                  <a:lnTo>
                    <a:pt x="42786" y="49415"/>
                  </a:lnTo>
                  <a:lnTo>
                    <a:pt x="30251" y="49415"/>
                  </a:lnTo>
                  <a:lnTo>
                    <a:pt x="22777" y="47904"/>
                  </a:lnTo>
                  <a:lnTo>
                    <a:pt x="16673" y="43788"/>
                  </a:lnTo>
                  <a:lnTo>
                    <a:pt x="12558" y="37687"/>
                  </a:lnTo>
                  <a:lnTo>
                    <a:pt x="11048" y="30226"/>
                  </a:lnTo>
                  <a:lnTo>
                    <a:pt x="12558" y="22768"/>
                  </a:lnTo>
                  <a:lnTo>
                    <a:pt x="16673" y="16676"/>
                  </a:lnTo>
                  <a:lnTo>
                    <a:pt x="22777" y="12568"/>
                  </a:lnTo>
                  <a:lnTo>
                    <a:pt x="30251" y="11061"/>
                  </a:lnTo>
                  <a:lnTo>
                    <a:pt x="42786" y="11061"/>
                  </a:lnTo>
                  <a:lnTo>
                    <a:pt x="42786" y="0"/>
                  </a:lnTo>
                  <a:close/>
                </a:path>
              </a:pathLst>
            </a:custGeom>
            <a:solidFill>
              <a:srgbClr val="919396"/>
            </a:solidFill>
          </p:spPr>
          <p:txBody>
            <a:bodyPr wrap="square" lIns="0" tIns="0" rIns="0" bIns="0" rtlCol="0"/>
            <a:lstStyle/>
            <a:p>
              <a:endParaRPr sz="1796"/>
            </a:p>
          </p:txBody>
        </p:sp>
        <p:sp>
          <p:nvSpPr>
            <p:cNvPr id="129" name="bk object 23"/>
            <p:cNvSpPr/>
            <p:nvPr userDrawn="1"/>
          </p:nvSpPr>
          <p:spPr>
            <a:xfrm>
              <a:off x="5410066" y="4410534"/>
              <a:ext cx="43180" cy="60960"/>
            </a:xfrm>
            <a:custGeom>
              <a:avLst/>
              <a:gdLst/>
              <a:ahLst/>
              <a:cxnLst/>
              <a:rect l="l" t="t" r="r" b="b"/>
              <a:pathLst>
                <a:path w="43179" h="60960">
                  <a:moveTo>
                    <a:pt x="42811" y="0"/>
                  </a:moveTo>
                  <a:lnTo>
                    <a:pt x="30276" y="0"/>
                  </a:lnTo>
                  <a:lnTo>
                    <a:pt x="18500" y="2377"/>
                  </a:lnTo>
                  <a:lnTo>
                    <a:pt x="8875" y="8859"/>
                  </a:lnTo>
                  <a:lnTo>
                    <a:pt x="2382" y="18468"/>
                  </a:lnTo>
                  <a:lnTo>
                    <a:pt x="0" y="30226"/>
                  </a:lnTo>
                  <a:lnTo>
                    <a:pt x="2382" y="41987"/>
                  </a:lnTo>
                  <a:lnTo>
                    <a:pt x="8875" y="51604"/>
                  </a:lnTo>
                  <a:lnTo>
                    <a:pt x="18500" y="58095"/>
                  </a:lnTo>
                  <a:lnTo>
                    <a:pt x="30276" y="60477"/>
                  </a:lnTo>
                  <a:lnTo>
                    <a:pt x="42811" y="60477"/>
                  </a:lnTo>
                  <a:lnTo>
                    <a:pt x="42811" y="49415"/>
                  </a:lnTo>
                  <a:lnTo>
                    <a:pt x="30276" y="49415"/>
                  </a:lnTo>
                  <a:lnTo>
                    <a:pt x="22802" y="47904"/>
                  </a:lnTo>
                  <a:lnTo>
                    <a:pt x="16698" y="43788"/>
                  </a:lnTo>
                  <a:lnTo>
                    <a:pt x="12583" y="37687"/>
                  </a:lnTo>
                  <a:lnTo>
                    <a:pt x="11074" y="30226"/>
                  </a:lnTo>
                  <a:lnTo>
                    <a:pt x="12583" y="22768"/>
                  </a:lnTo>
                  <a:lnTo>
                    <a:pt x="16698" y="16676"/>
                  </a:lnTo>
                  <a:lnTo>
                    <a:pt x="22802" y="12568"/>
                  </a:lnTo>
                  <a:lnTo>
                    <a:pt x="30276" y="11061"/>
                  </a:lnTo>
                  <a:lnTo>
                    <a:pt x="42811" y="11061"/>
                  </a:lnTo>
                  <a:lnTo>
                    <a:pt x="42811" y="0"/>
                  </a:lnTo>
                  <a:close/>
                </a:path>
              </a:pathLst>
            </a:custGeom>
            <a:solidFill>
              <a:srgbClr val="919396"/>
            </a:solidFill>
          </p:spPr>
          <p:txBody>
            <a:bodyPr wrap="square" lIns="0" tIns="0" rIns="0" bIns="0" rtlCol="0"/>
            <a:lstStyle/>
            <a:p>
              <a:endParaRPr sz="1796"/>
            </a:p>
          </p:txBody>
        </p:sp>
        <p:sp>
          <p:nvSpPr>
            <p:cNvPr id="130" name="bk object 42"/>
            <p:cNvSpPr/>
            <p:nvPr userDrawn="1"/>
          </p:nvSpPr>
          <p:spPr>
            <a:xfrm>
              <a:off x="5410069" y="4799323"/>
              <a:ext cx="43180" cy="60960"/>
            </a:xfrm>
            <a:custGeom>
              <a:avLst/>
              <a:gdLst/>
              <a:ahLst/>
              <a:cxnLst/>
              <a:rect l="l" t="t" r="r" b="b"/>
              <a:pathLst>
                <a:path w="43179" h="60960">
                  <a:moveTo>
                    <a:pt x="12560" y="0"/>
                  </a:moveTo>
                  <a:lnTo>
                    <a:pt x="0" y="0"/>
                  </a:lnTo>
                  <a:lnTo>
                    <a:pt x="0" y="11061"/>
                  </a:lnTo>
                  <a:lnTo>
                    <a:pt x="12560" y="11061"/>
                  </a:lnTo>
                  <a:lnTo>
                    <a:pt x="20021" y="12572"/>
                  </a:lnTo>
                  <a:lnTo>
                    <a:pt x="26122" y="16689"/>
                  </a:lnTo>
                  <a:lnTo>
                    <a:pt x="30239" y="22789"/>
                  </a:lnTo>
                  <a:lnTo>
                    <a:pt x="31749" y="30251"/>
                  </a:lnTo>
                  <a:lnTo>
                    <a:pt x="30239" y="37708"/>
                  </a:lnTo>
                  <a:lnTo>
                    <a:pt x="26122" y="43800"/>
                  </a:lnTo>
                  <a:lnTo>
                    <a:pt x="20021" y="47908"/>
                  </a:lnTo>
                  <a:lnTo>
                    <a:pt x="12560" y="49415"/>
                  </a:lnTo>
                  <a:lnTo>
                    <a:pt x="0" y="49415"/>
                  </a:lnTo>
                  <a:lnTo>
                    <a:pt x="0" y="60477"/>
                  </a:lnTo>
                  <a:lnTo>
                    <a:pt x="12560" y="60477"/>
                  </a:lnTo>
                  <a:lnTo>
                    <a:pt x="24316" y="58099"/>
                  </a:lnTo>
                  <a:lnTo>
                    <a:pt x="33934" y="51617"/>
                  </a:lnTo>
                  <a:lnTo>
                    <a:pt x="40428" y="42009"/>
                  </a:lnTo>
                  <a:lnTo>
                    <a:pt x="42811" y="30251"/>
                  </a:lnTo>
                  <a:lnTo>
                    <a:pt x="40428" y="18489"/>
                  </a:lnTo>
                  <a:lnTo>
                    <a:pt x="33934" y="8872"/>
                  </a:lnTo>
                  <a:lnTo>
                    <a:pt x="24316" y="2381"/>
                  </a:lnTo>
                  <a:lnTo>
                    <a:pt x="12560" y="0"/>
                  </a:lnTo>
                  <a:close/>
                </a:path>
              </a:pathLst>
            </a:custGeom>
            <a:solidFill>
              <a:srgbClr val="919396"/>
            </a:solidFill>
          </p:spPr>
          <p:txBody>
            <a:bodyPr wrap="square" lIns="0" tIns="0" rIns="0" bIns="0" rtlCol="0"/>
            <a:lstStyle/>
            <a:p>
              <a:endParaRPr sz="1796"/>
            </a:p>
          </p:txBody>
        </p:sp>
        <p:sp>
          <p:nvSpPr>
            <p:cNvPr id="131" name="bk object 43"/>
            <p:cNvSpPr/>
            <p:nvPr userDrawn="1"/>
          </p:nvSpPr>
          <p:spPr>
            <a:xfrm>
              <a:off x="5800693" y="4799323"/>
              <a:ext cx="43180" cy="60960"/>
            </a:xfrm>
            <a:custGeom>
              <a:avLst/>
              <a:gdLst/>
              <a:ahLst/>
              <a:cxnLst/>
              <a:rect l="l" t="t" r="r" b="b"/>
              <a:pathLst>
                <a:path w="43179" h="60960">
                  <a:moveTo>
                    <a:pt x="12534" y="0"/>
                  </a:moveTo>
                  <a:lnTo>
                    <a:pt x="0" y="0"/>
                  </a:lnTo>
                  <a:lnTo>
                    <a:pt x="0" y="11061"/>
                  </a:lnTo>
                  <a:lnTo>
                    <a:pt x="12534" y="11061"/>
                  </a:lnTo>
                  <a:lnTo>
                    <a:pt x="19996" y="12572"/>
                  </a:lnTo>
                  <a:lnTo>
                    <a:pt x="26096" y="16689"/>
                  </a:lnTo>
                  <a:lnTo>
                    <a:pt x="30213" y="22789"/>
                  </a:lnTo>
                  <a:lnTo>
                    <a:pt x="31724" y="30251"/>
                  </a:lnTo>
                  <a:lnTo>
                    <a:pt x="30213" y="37708"/>
                  </a:lnTo>
                  <a:lnTo>
                    <a:pt x="26096" y="43800"/>
                  </a:lnTo>
                  <a:lnTo>
                    <a:pt x="19996" y="47908"/>
                  </a:lnTo>
                  <a:lnTo>
                    <a:pt x="12534" y="49415"/>
                  </a:lnTo>
                  <a:lnTo>
                    <a:pt x="0" y="49415"/>
                  </a:lnTo>
                  <a:lnTo>
                    <a:pt x="0" y="60477"/>
                  </a:lnTo>
                  <a:lnTo>
                    <a:pt x="12534" y="60477"/>
                  </a:lnTo>
                  <a:lnTo>
                    <a:pt x="24296" y="58099"/>
                  </a:lnTo>
                  <a:lnTo>
                    <a:pt x="33913" y="51617"/>
                  </a:lnTo>
                  <a:lnTo>
                    <a:pt x="40404" y="42009"/>
                  </a:lnTo>
                  <a:lnTo>
                    <a:pt x="42786" y="30251"/>
                  </a:lnTo>
                  <a:lnTo>
                    <a:pt x="40404" y="18489"/>
                  </a:lnTo>
                  <a:lnTo>
                    <a:pt x="33913" y="8872"/>
                  </a:lnTo>
                  <a:lnTo>
                    <a:pt x="24296" y="2381"/>
                  </a:lnTo>
                  <a:lnTo>
                    <a:pt x="12534" y="0"/>
                  </a:lnTo>
                  <a:close/>
                </a:path>
              </a:pathLst>
            </a:custGeom>
            <a:solidFill>
              <a:srgbClr val="919396"/>
            </a:solidFill>
          </p:spPr>
          <p:txBody>
            <a:bodyPr wrap="square" lIns="0" tIns="0" rIns="0" bIns="0" rtlCol="0"/>
            <a:lstStyle/>
            <a:p>
              <a:endParaRPr sz="1796"/>
            </a:p>
          </p:txBody>
        </p:sp>
        <p:sp>
          <p:nvSpPr>
            <p:cNvPr id="132" name="bk object 44"/>
            <p:cNvSpPr/>
            <p:nvPr userDrawn="1"/>
          </p:nvSpPr>
          <p:spPr>
            <a:xfrm>
              <a:off x="6191299" y="4799323"/>
              <a:ext cx="43180" cy="60960"/>
            </a:xfrm>
            <a:custGeom>
              <a:avLst/>
              <a:gdLst/>
              <a:ahLst/>
              <a:cxnLst/>
              <a:rect l="l" t="t" r="r" b="b"/>
              <a:pathLst>
                <a:path w="43179" h="60960">
                  <a:moveTo>
                    <a:pt x="12534" y="0"/>
                  </a:moveTo>
                  <a:lnTo>
                    <a:pt x="0" y="0"/>
                  </a:lnTo>
                  <a:lnTo>
                    <a:pt x="0" y="11061"/>
                  </a:lnTo>
                  <a:lnTo>
                    <a:pt x="12534" y="11061"/>
                  </a:lnTo>
                  <a:lnTo>
                    <a:pt x="20001" y="12572"/>
                  </a:lnTo>
                  <a:lnTo>
                    <a:pt x="26101" y="16689"/>
                  </a:lnTo>
                  <a:lnTo>
                    <a:pt x="30215" y="22789"/>
                  </a:lnTo>
                  <a:lnTo>
                    <a:pt x="31724" y="30251"/>
                  </a:lnTo>
                  <a:lnTo>
                    <a:pt x="30215" y="37708"/>
                  </a:lnTo>
                  <a:lnTo>
                    <a:pt x="26101" y="43800"/>
                  </a:lnTo>
                  <a:lnTo>
                    <a:pt x="20001" y="47908"/>
                  </a:lnTo>
                  <a:lnTo>
                    <a:pt x="12534" y="49415"/>
                  </a:lnTo>
                  <a:lnTo>
                    <a:pt x="0" y="49415"/>
                  </a:lnTo>
                  <a:lnTo>
                    <a:pt x="0" y="60477"/>
                  </a:lnTo>
                  <a:lnTo>
                    <a:pt x="12534" y="60477"/>
                  </a:lnTo>
                  <a:lnTo>
                    <a:pt x="24296" y="58099"/>
                  </a:lnTo>
                  <a:lnTo>
                    <a:pt x="33913" y="51617"/>
                  </a:lnTo>
                  <a:lnTo>
                    <a:pt x="40404" y="42009"/>
                  </a:lnTo>
                  <a:lnTo>
                    <a:pt x="42786" y="30251"/>
                  </a:lnTo>
                  <a:lnTo>
                    <a:pt x="40404" y="18489"/>
                  </a:lnTo>
                  <a:lnTo>
                    <a:pt x="33913" y="8872"/>
                  </a:lnTo>
                  <a:lnTo>
                    <a:pt x="24296" y="2381"/>
                  </a:lnTo>
                  <a:lnTo>
                    <a:pt x="12534" y="0"/>
                  </a:lnTo>
                  <a:close/>
                </a:path>
              </a:pathLst>
            </a:custGeom>
            <a:solidFill>
              <a:srgbClr val="919396"/>
            </a:solidFill>
          </p:spPr>
          <p:txBody>
            <a:bodyPr wrap="square" lIns="0" tIns="0" rIns="0" bIns="0" rtlCol="0"/>
            <a:lstStyle/>
            <a:p>
              <a:endParaRPr sz="1796"/>
            </a:p>
          </p:txBody>
        </p:sp>
      </p:grpSp>
      <p:sp>
        <p:nvSpPr>
          <p:cNvPr id="92" name="Текст 5"/>
          <p:cNvSpPr>
            <a:spLocks noGrp="1"/>
          </p:cNvSpPr>
          <p:nvPr>
            <p:ph type="body" sz="quarter" idx="10" hasCustomPrompt="1"/>
          </p:nvPr>
        </p:nvSpPr>
        <p:spPr>
          <a:xfrm>
            <a:off x="631446" y="3875687"/>
            <a:ext cx="7988683" cy="373157"/>
          </a:xfrm>
          <a:prstGeom prst="rect">
            <a:avLst/>
          </a:prstGeom>
        </p:spPr>
        <p:txBody>
          <a:bodyPr/>
          <a:lstStyle>
            <a:lvl1pPr marL="0" marR="0" indent="0" algn="l" defTabSz="1007428" rtl="0" eaLnBrk="1" fontAlgn="auto" latinLnBrk="0" hangingPunct="1">
              <a:lnSpc>
                <a:spcPct val="90000"/>
              </a:lnSpc>
              <a:spcBef>
                <a:spcPts val="1102"/>
              </a:spcBef>
              <a:spcAft>
                <a:spcPts val="0"/>
              </a:spcAft>
              <a:buClrTx/>
              <a:buSzTx/>
              <a:buFont typeface="Arial" panose="020B0604020202020204" pitchFamily="34" charset="0"/>
              <a:buNone/>
              <a:tabLst/>
              <a:defRPr sz="2004" baseline="0">
                <a:solidFill>
                  <a:schemeClr val="bg2">
                    <a:lumMod val="50000"/>
                  </a:schemeClr>
                </a:solidFill>
              </a:defRPr>
            </a:lvl1pPr>
          </a:lstStyle>
          <a:p>
            <a:pPr marL="0" marR="0" lvl="0" indent="0" algn="l" defTabSz="1007428" rtl="0" eaLnBrk="1" fontAlgn="auto" latinLnBrk="0" hangingPunct="1">
              <a:lnSpc>
                <a:spcPct val="90000"/>
              </a:lnSpc>
              <a:spcBef>
                <a:spcPts val="1102"/>
              </a:spcBef>
              <a:spcAft>
                <a:spcPts val="0"/>
              </a:spcAft>
              <a:buClrTx/>
              <a:buSzTx/>
              <a:buFont typeface="Arial" panose="020B0604020202020204" pitchFamily="34" charset="0"/>
              <a:buNone/>
              <a:tabLst/>
              <a:defRPr/>
            </a:pPr>
            <a:r>
              <a:rPr lang="uk-UA"/>
              <a:t>Підзаголовок слайда</a:t>
            </a:r>
            <a:endParaRPr lang="ru-RU"/>
          </a:p>
        </p:txBody>
      </p:sp>
      <p:grpSp>
        <p:nvGrpSpPr>
          <p:cNvPr id="120" name="Группа 119"/>
          <p:cNvGrpSpPr/>
          <p:nvPr userDrawn="1"/>
        </p:nvGrpSpPr>
        <p:grpSpPr>
          <a:xfrm>
            <a:off x="11254729" y="6700646"/>
            <a:ext cx="1813141" cy="710295"/>
            <a:chOff x="8361416" y="6085528"/>
            <a:chExt cx="1813140" cy="710295"/>
          </a:xfrm>
        </p:grpSpPr>
        <p:pic>
          <p:nvPicPr>
            <p:cNvPr id="121" name="Рисунок 12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8361416" y="6185860"/>
              <a:ext cx="952700" cy="506761"/>
            </a:xfrm>
            <a:prstGeom prst="rect">
              <a:avLst/>
            </a:prstGeom>
          </p:spPr>
        </p:pic>
        <p:pic>
          <p:nvPicPr>
            <p:cNvPr id="122" name="Рисунок 121"/>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8991600" y="6085528"/>
              <a:ext cx="1182956" cy="710295"/>
            </a:xfrm>
            <a:prstGeom prst="rect">
              <a:avLst/>
            </a:prstGeom>
          </p:spPr>
        </p:pic>
      </p:grpSp>
      <p:pic>
        <p:nvPicPr>
          <p:cNvPr id="90" name="Рисунок 89"/>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739948" y="416495"/>
            <a:ext cx="2120950" cy="1375087"/>
          </a:xfrm>
          <a:prstGeom prst="rect">
            <a:avLst/>
          </a:prstGeom>
        </p:spPr>
      </p:pic>
      <p:sp>
        <p:nvSpPr>
          <p:cNvPr id="91" name="Date Placeholder 3"/>
          <p:cNvSpPr txBox="1">
            <a:spLocks/>
          </p:cNvSpPr>
          <p:nvPr userDrawn="1"/>
        </p:nvSpPr>
        <p:spPr>
          <a:xfrm>
            <a:off x="347898" y="5126811"/>
            <a:ext cx="1082551" cy="208450"/>
          </a:xfrm>
          <a:prstGeom prst="rect">
            <a:avLst/>
          </a:prstGeom>
        </p:spPr>
        <p:txBody>
          <a:bodyPr/>
          <a:lstStyle>
            <a:defPPr>
              <a:defRPr lang="en-US"/>
            </a:defPPr>
            <a:lvl1pPr marL="0" algn="l" defTabSz="914400" rtl="0" eaLnBrk="1" latinLnBrk="0" hangingPunct="1">
              <a:defRPr sz="1200" kern="1200" baseline="0">
                <a:solidFill>
                  <a:schemeClr val="tx1"/>
                </a:solidFill>
                <a:latin typeface="Arial"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uk-UA" sz="1002" noProof="0">
                <a:latin typeface="Calibri" pitchFamily="34" charset="0"/>
                <a:cs typeface="Calibri" pitchFamily="34" charset="0"/>
              </a:rPr>
              <a:t>Конфіденційно</a:t>
            </a:r>
          </a:p>
        </p:txBody>
      </p:sp>
      <p:sp>
        <p:nvSpPr>
          <p:cNvPr id="117" name="bk object 16">
            <a:extLst>
              <a:ext uri="{FF2B5EF4-FFF2-40B4-BE49-F238E27FC236}">
                <a16:creationId xmlns:a16="http://schemas.microsoft.com/office/drawing/2014/main" id="{D7C732AC-5795-4D6C-B908-560680755F65}"/>
              </a:ext>
            </a:extLst>
          </p:cNvPr>
          <p:cNvSpPr/>
          <p:nvPr userDrawn="1"/>
        </p:nvSpPr>
        <p:spPr>
          <a:xfrm>
            <a:off x="-236" y="-315"/>
            <a:ext cx="13440014" cy="7559991"/>
          </a:xfrm>
          <a:prstGeom prst="rect">
            <a:avLst/>
          </a:prstGeom>
          <a:blipFill>
            <a:blip r:embed="rId4" cstate="email">
              <a:extLst>
                <a:ext uri="{28A0092B-C50C-407E-A947-70E740481C1C}">
                  <a14:useLocalDpi xmlns:a14="http://schemas.microsoft.com/office/drawing/2010/main"/>
                </a:ext>
              </a:extLst>
            </a:blip>
            <a:stretch>
              <a:fillRect/>
            </a:stretch>
          </a:blipFill>
        </p:spPr>
        <p:txBody>
          <a:bodyPr wrap="square" lIns="0" tIns="0" rIns="0" bIns="0" rtlCol="0"/>
          <a:lstStyle/>
          <a:p>
            <a:endParaRPr sz="2464"/>
          </a:p>
        </p:txBody>
      </p:sp>
      <p:sp>
        <p:nvSpPr>
          <p:cNvPr id="118" name="Прямоугольник 117">
            <a:extLst>
              <a:ext uri="{FF2B5EF4-FFF2-40B4-BE49-F238E27FC236}">
                <a16:creationId xmlns:a16="http://schemas.microsoft.com/office/drawing/2014/main" id="{FA11B78A-D2CB-43F2-832F-7F66DF1543CC}"/>
              </a:ext>
            </a:extLst>
          </p:cNvPr>
          <p:cNvSpPr/>
          <p:nvPr userDrawn="1"/>
        </p:nvSpPr>
        <p:spPr>
          <a:xfrm>
            <a:off x="456860" y="5"/>
            <a:ext cx="757645" cy="5007428"/>
          </a:xfrm>
          <a:prstGeom prst="rect">
            <a:avLst/>
          </a:prstGeom>
          <a:solidFill>
            <a:srgbClr val="FED1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ru-RU" sz="1796"/>
          </a:p>
        </p:txBody>
      </p:sp>
      <p:pic>
        <p:nvPicPr>
          <p:cNvPr id="119" name="Рисунок 118">
            <a:extLst>
              <a:ext uri="{FF2B5EF4-FFF2-40B4-BE49-F238E27FC236}">
                <a16:creationId xmlns:a16="http://schemas.microsoft.com/office/drawing/2014/main" id="{15617845-C49A-4185-8571-EFA6CA3E39D7}"/>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0651734" y="6487606"/>
            <a:ext cx="1993383" cy="1079290"/>
          </a:xfrm>
          <a:prstGeom prst="rect">
            <a:avLst/>
          </a:prstGeom>
        </p:spPr>
      </p:pic>
      <p:grpSp>
        <p:nvGrpSpPr>
          <p:cNvPr id="123" name="Группа 122">
            <a:extLst>
              <a:ext uri="{FF2B5EF4-FFF2-40B4-BE49-F238E27FC236}">
                <a16:creationId xmlns:a16="http://schemas.microsoft.com/office/drawing/2014/main" id="{6F0988E0-1703-465F-915D-87A744BF6DCA}"/>
              </a:ext>
            </a:extLst>
          </p:cNvPr>
          <p:cNvGrpSpPr/>
          <p:nvPr userDrawn="1"/>
        </p:nvGrpSpPr>
        <p:grpSpPr>
          <a:xfrm>
            <a:off x="875153" y="4562937"/>
            <a:ext cx="5511731" cy="449956"/>
            <a:chOff x="722748" y="4410534"/>
            <a:chExt cx="5511731" cy="449955"/>
          </a:xfrm>
        </p:grpSpPr>
        <p:grpSp>
          <p:nvGrpSpPr>
            <p:cNvPr id="124" name="Группа 123">
              <a:extLst>
                <a:ext uri="{FF2B5EF4-FFF2-40B4-BE49-F238E27FC236}">
                  <a16:creationId xmlns:a16="http://schemas.microsoft.com/office/drawing/2014/main" id="{33E7B9BF-A843-46A3-B867-4C46EFABE122}"/>
                </a:ext>
              </a:extLst>
            </p:cNvPr>
            <p:cNvGrpSpPr/>
            <p:nvPr userDrawn="1"/>
          </p:nvGrpSpPr>
          <p:grpSpPr>
            <a:xfrm>
              <a:off x="722748" y="4410740"/>
              <a:ext cx="4339906" cy="449749"/>
              <a:chOff x="722748" y="4410740"/>
              <a:chExt cx="4339906" cy="449749"/>
            </a:xfrm>
          </p:grpSpPr>
          <p:sp>
            <p:nvSpPr>
              <p:cNvPr id="161" name="bk object 21">
                <a:extLst>
                  <a:ext uri="{FF2B5EF4-FFF2-40B4-BE49-F238E27FC236}">
                    <a16:creationId xmlns:a16="http://schemas.microsoft.com/office/drawing/2014/main" id="{42A57A90-68AE-403E-9387-E90A8B8C005A}"/>
                  </a:ext>
                </a:extLst>
              </p:cNvPr>
              <p:cNvSpPr/>
              <p:nvPr userDrawn="1"/>
            </p:nvSpPr>
            <p:spPr>
              <a:xfrm>
                <a:off x="5019471" y="4410740"/>
                <a:ext cx="43180" cy="60960"/>
              </a:xfrm>
              <a:custGeom>
                <a:avLst/>
                <a:gdLst/>
                <a:ahLst/>
                <a:cxnLst/>
                <a:rect l="l" t="t" r="r" b="b"/>
                <a:pathLst>
                  <a:path w="43179" h="60960">
                    <a:moveTo>
                      <a:pt x="42786" y="0"/>
                    </a:moveTo>
                    <a:lnTo>
                      <a:pt x="30251" y="0"/>
                    </a:lnTo>
                    <a:lnTo>
                      <a:pt x="18489" y="2377"/>
                    </a:lnTo>
                    <a:lnTo>
                      <a:pt x="8872" y="8859"/>
                    </a:lnTo>
                    <a:lnTo>
                      <a:pt x="2381" y="18468"/>
                    </a:lnTo>
                    <a:lnTo>
                      <a:pt x="0" y="30226"/>
                    </a:lnTo>
                    <a:lnTo>
                      <a:pt x="2381" y="41987"/>
                    </a:lnTo>
                    <a:lnTo>
                      <a:pt x="8872" y="51604"/>
                    </a:lnTo>
                    <a:lnTo>
                      <a:pt x="18489" y="58095"/>
                    </a:lnTo>
                    <a:lnTo>
                      <a:pt x="30251" y="60477"/>
                    </a:lnTo>
                    <a:lnTo>
                      <a:pt x="42786" y="60477"/>
                    </a:lnTo>
                    <a:lnTo>
                      <a:pt x="42786" y="49415"/>
                    </a:lnTo>
                    <a:lnTo>
                      <a:pt x="30251" y="49415"/>
                    </a:lnTo>
                    <a:lnTo>
                      <a:pt x="22789" y="47904"/>
                    </a:lnTo>
                    <a:lnTo>
                      <a:pt x="16689" y="43788"/>
                    </a:lnTo>
                    <a:lnTo>
                      <a:pt x="12572" y="37687"/>
                    </a:lnTo>
                    <a:lnTo>
                      <a:pt x="11061" y="30226"/>
                    </a:lnTo>
                    <a:lnTo>
                      <a:pt x="12572" y="22768"/>
                    </a:lnTo>
                    <a:lnTo>
                      <a:pt x="16689" y="16676"/>
                    </a:lnTo>
                    <a:lnTo>
                      <a:pt x="22789" y="12568"/>
                    </a:lnTo>
                    <a:lnTo>
                      <a:pt x="30251" y="11061"/>
                    </a:lnTo>
                    <a:lnTo>
                      <a:pt x="42786" y="11061"/>
                    </a:lnTo>
                    <a:lnTo>
                      <a:pt x="42786" y="0"/>
                    </a:lnTo>
                    <a:close/>
                  </a:path>
                </a:pathLst>
              </a:custGeom>
              <a:solidFill>
                <a:srgbClr val="919396"/>
              </a:solidFill>
            </p:spPr>
            <p:txBody>
              <a:bodyPr wrap="square" lIns="0" tIns="0" rIns="0" bIns="0" rtlCol="0"/>
              <a:lstStyle/>
              <a:p>
                <a:endParaRPr sz="1796"/>
              </a:p>
            </p:txBody>
          </p:sp>
          <p:sp>
            <p:nvSpPr>
              <p:cNvPr id="162" name="bk object 22">
                <a:extLst>
                  <a:ext uri="{FF2B5EF4-FFF2-40B4-BE49-F238E27FC236}">
                    <a16:creationId xmlns:a16="http://schemas.microsoft.com/office/drawing/2014/main" id="{AFB0D95E-C54A-496F-8A3E-6E68D5D545A1}"/>
                  </a:ext>
                </a:extLst>
              </p:cNvPr>
              <p:cNvSpPr/>
              <p:nvPr userDrawn="1"/>
            </p:nvSpPr>
            <p:spPr>
              <a:xfrm>
                <a:off x="4628873" y="4410740"/>
                <a:ext cx="43180" cy="60960"/>
              </a:xfrm>
              <a:custGeom>
                <a:avLst/>
                <a:gdLst/>
                <a:ahLst/>
                <a:cxnLst/>
                <a:rect l="l" t="t" r="r" b="b"/>
                <a:pathLst>
                  <a:path w="43179" h="60960">
                    <a:moveTo>
                      <a:pt x="42786" y="0"/>
                    </a:moveTo>
                    <a:lnTo>
                      <a:pt x="30251" y="0"/>
                    </a:lnTo>
                    <a:lnTo>
                      <a:pt x="18479" y="2377"/>
                    </a:lnTo>
                    <a:lnTo>
                      <a:pt x="8863" y="8859"/>
                    </a:lnTo>
                    <a:lnTo>
                      <a:pt x="2378" y="18468"/>
                    </a:lnTo>
                    <a:lnTo>
                      <a:pt x="0" y="30226"/>
                    </a:lnTo>
                    <a:lnTo>
                      <a:pt x="2378" y="41987"/>
                    </a:lnTo>
                    <a:lnTo>
                      <a:pt x="8863" y="51604"/>
                    </a:lnTo>
                    <a:lnTo>
                      <a:pt x="18479" y="58095"/>
                    </a:lnTo>
                    <a:lnTo>
                      <a:pt x="30251" y="60477"/>
                    </a:lnTo>
                    <a:lnTo>
                      <a:pt x="42786" y="60477"/>
                    </a:lnTo>
                    <a:lnTo>
                      <a:pt x="42786" y="49415"/>
                    </a:lnTo>
                    <a:lnTo>
                      <a:pt x="30251" y="49415"/>
                    </a:lnTo>
                    <a:lnTo>
                      <a:pt x="22777" y="47904"/>
                    </a:lnTo>
                    <a:lnTo>
                      <a:pt x="16673" y="43788"/>
                    </a:lnTo>
                    <a:lnTo>
                      <a:pt x="12558" y="37687"/>
                    </a:lnTo>
                    <a:lnTo>
                      <a:pt x="11048" y="30226"/>
                    </a:lnTo>
                    <a:lnTo>
                      <a:pt x="12558" y="22768"/>
                    </a:lnTo>
                    <a:lnTo>
                      <a:pt x="16673" y="16676"/>
                    </a:lnTo>
                    <a:lnTo>
                      <a:pt x="22777" y="12568"/>
                    </a:lnTo>
                    <a:lnTo>
                      <a:pt x="30251" y="11061"/>
                    </a:lnTo>
                    <a:lnTo>
                      <a:pt x="42786" y="11061"/>
                    </a:lnTo>
                    <a:lnTo>
                      <a:pt x="42786" y="0"/>
                    </a:lnTo>
                    <a:close/>
                  </a:path>
                </a:pathLst>
              </a:custGeom>
              <a:solidFill>
                <a:srgbClr val="919396"/>
              </a:solidFill>
            </p:spPr>
            <p:txBody>
              <a:bodyPr wrap="square" lIns="0" tIns="0" rIns="0" bIns="0" rtlCol="0"/>
              <a:lstStyle/>
              <a:p>
                <a:endParaRPr sz="1796"/>
              </a:p>
            </p:txBody>
          </p:sp>
          <p:sp>
            <p:nvSpPr>
              <p:cNvPr id="163" name="bk object 23">
                <a:extLst>
                  <a:ext uri="{FF2B5EF4-FFF2-40B4-BE49-F238E27FC236}">
                    <a16:creationId xmlns:a16="http://schemas.microsoft.com/office/drawing/2014/main" id="{38F13BD4-B48B-4683-B683-4688FA26A01A}"/>
                  </a:ext>
                </a:extLst>
              </p:cNvPr>
              <p:cNvSpPr/>
              <p:nvPr userDrawn="1"/>
            </p:nvSpPr>
            <p:spPr>
              <a:xfrm>
                <a:off x="4238241" y="4410740"/>
                <a:ext cx="43180" cy="60960"/>
              </a:xfrm>
              <a:custGeom>
                <a:avLst/>
                <a:gdLst/>
                <a:ahLst/>
                <a:cxnLst/>
                <a:rect l="l" t="t" r="r" b="b"/>
                <a:pathLst>
                  <a:path w="43179" h="60960">
                    <a:moveTo>
                      <a:pt x="42811" y="0"/>
                    </a:moveTo>
                    <a:lnTo>
                      <a:pt x="30276" y="0"/>
                    </a:lnTo>
                    <a:lnTo>
                      <a:pt x="18500" y="2377"/>
                    </a:lnTo>
                    <a:lnTo>
                      <a:pt x="8875" y="8859"/>
                    </a:lnTo>
                    <a:lnTo>
                      <a:pt x="2382" y="18468"/>
                    </a:lnTo>
                    <a:lnTo>
                      <a:pt x="0" y="30226"/>
                    </a:lnTo>
                    <a:lnTo>
                      <a:pt x="2382" y="41987"/>
                    </a:lnTo>
                    <a:lnTo>
                      <a:pt x="8875" y="51604"/>
                    </a:lnTo>
                    <a:lnTo>
                      <a:pt x="18500" y="58095"/>
                    </a:lnTo>
                    <a:lnTo>
                      <a:pt x="30276" y="60477"/>
                    </a:lnTo>
                    <a:lnTo>
                      <a:pt x="42811" y="60477"/>
                    </a:lnTo>
                    <a:lnTo>
                      <a:pt x="42811" y="49415"/>
                    </a:lnTo>
                    <a:lnTo>
                      <a:pt x="30276" y="49415"/>
                    </a:lnTo>
                    <a:lnTo>
                      <a:pt x="22802" y="47904"/>
                    </a:lnTo>
                    <a:lnTo>
                      <a:pt x="16698" y="43788"/>
                    </a:lnTo>
                    <a:lnTo>
                      <a:pt x="12583" y="37687"/>
                    </a:lnTo>
                    <a:lnTo>
                      <a:pt x="11074" y="30226"/>
                    </a:lnTo>
                    <a:lnTo>
                      <a:pt x="12583" y="22768"/>
                    </a:lnTo>
                    <a:lnTo>
                      <a:pt x="16698" y="16676"/>
                    </a:lnTo>
                    <a:lnTo>
                      <a:pt x="22802" y="12568"/>
                    </a:lnTo>
                    <a:lnTo>
                      <a:pt x="30276" y="11061"/>
                    </a:lnTo>
                    <a:lnTo>
                      <a:pt x="42811" y="11061"/>
                    </a:lnTo>
                    <a:lnTo>
                      <a:pt x="42811" y="0"/>
                    </a:lnTo>
                    <a:close/>
                  </a:path>
                </a:pathLst>
              </a:custGeom>
              <a:solidFill>
                <a:srgbClr val="919396"/>
              </a:solidFill>
            </p:spPr>
            <p:txBody>
              <a:bodyPr wrap="square" lIns="0" tIns="0" rIns="0" bIns="0" rtlCol="0"/>
              <a:lstStyle/>
              <a:p>
                <a:endParaRPr sz="1796"/>
              </a:p>
            </p:txBody>
          </p:sp>
          <p:sp>
            <p:nvSpPr>
              <p:cNvPr id="164" name="bk object 24">
                <a:extLst>
                  <a:ext uri="{FF2B5EF4-FFF2-40B4-BE49-F238E27FC236}">
                    <a16:creationId xmlns:a16="http://schemas.microsoft.com/office/drawing/2014/main" id="{E4F9EAA9-99FA-49DB-8927-ECF011E55EE2}"/>
                  </a:ext>
                </a:extLst>
              </p:cNvPr>
              <p:cNvSpPr/>
              <p:nvPr userDrawn="1"/>
            </p:nvSpPr>
            <p:spPr>
              <a:xfrm>
                <a:off x="3847636" y="4410740"/>
                <a:ext cx="43180" cy="60960"/>
              </a:xfrm>
              <a:custGeom>
                <a:avLst/>
                <a:gdLst/>
                <a:ahLst/>
                <a:cxnLst/>
                <a:rect l="l" t="t" r="r" b="b"/>
                <a:pathLst>
                  <a:path w="43179" h="60960">
                    <a:moveTo>
                      <a:pt x="42811" y="0"/>
                    </a:moveTo>
                    <a:lnTo>
                      <a:pt x="30251" y="0"/>
                    </a:lnTo>
                    <a:lnTo>
                      <a:pt x="18489" y="2377"/>
                    </a:lnTo>
                    <a:lnTo>
                      <a:pt x="8872" y="8859"/>
                    </a:lnTo>
                    <a:lnTo>
                      <a:pt x="2381" y="18468"/>
                    </a:lnTo>
                    <a:lnTo>
                      <a:pt x="0" y="30226"/>
                    </a:lnTo>
                    <a:lnTo>
                      <a:pt x="2381" y="41987"/>
                    </a:lnTo>
                    <a:lnTo>
                      <a:pt x="8872" y="51604"/>
                    </a:lnTo>
                    <a:lnTo>
                      <a:pt x="18489" y="58095"/>
                    </a:lnTo>
                    <a:lnTo>
                      <a:pt x="30251" y="60477"/>
                    </a:lnTo>
                    <a:lnTo>
                      <a:pt x="42811" y="60477"/>
                    </a:lnTo>
                    <a:lnTo>
                      <a:pt x="42811" y="49415"/>
                    </a:lnTo>
                    <a:lnTo>
                      <a:pt x="30251" y="49415"/>
                    </a:lnTo>
                    <a:lnTo>
                      <a:pt x="22789" y="47904"/>
                    </a:lnTo>
                    <a:lnTo>
                      <a:pt x="16689" y="43788"/>
                    </a:lnTo>
                    <a:lnTo>
                      <a:pt x="12572" y="37687"/>
                    </a:lnTo>
                    <a:lnTo>
                      <a:pt x="11061" y="30226"/>
                    </a:lnTo>
                    <a:lnTo>
                      <a:pt x="12572" y="22768"/>
                    </a:lnTo>
                    <a:lnTo>
                      <a:pt x="16689" y="16676"/>
                    </a:lnTo>
                    <a:lnTo>
                      <a:pt x="22789" y="12568"/>
                    </a:lnTo>
                    <a:lnTo>
                      <a:pt x="30251" y="11061"/>
                    </a:lnTo>
                    <a:lnTo>
                      <a:pt x="42811" y="11061"/>
                    </a:lnTo>
                    <a:lnTo>
                      <a:pt x="42811" y="0"/>
                    </a:lnTo>
                    <a:close/>
                  </a:path>
                </a:pathLst>
              </a:custGeom>
              <a:solidFill>
                <a:srgbClr val="919396"/>
              </a:solidFill>
            </p:spPr>
            <p:txBody>
              <a:bodyPr wrap="square" lIns="0" tIns="0" rIns="0" bIns="0" rtlCol="0"/>
              <a:lstStyle/>
              <a:p>
                <a:endParaRPr sz="1796"/>
              </a:p>
            </p:txBody>
          </p:sp>
          <p:sp>
            <p:nvSpPr>
              <p:cNvPr id="165" name="bk object 25">
                <a:extLst>
                  <a:ext uri="{FF2B5EF4-FFF2-40B4-BE49-F238E27FC236}">
                    <a16:creationId xmlns:a16="http://schemas.microsoft.com/office/drawing/2014/main" id="{8F08ECC2-7C27-42AD-96C5-015B516AAA67}"/>
                  </a:ext>
                </a:extLst>
              </p:cNvPr>
              <p:cNvSpPr/>
              <p:nvPr userDrawn="1"/>
            </p:nvSpPr>
            <p:spPr>
              <a:xfrm>
                <a:off x="3457023" y="4410740"/>
                <a:ext cx="43180" cy="60960"/>
              </a:xfrm>
              <a:custGeom>
                <a:avLst/>
                <a:gdLst/>
                <a:ahLst/>
                <a:cxnLst/>
                <a:rect l="l" t="t" r="r" b="b"/>
                <a:pathLst>
                  <a:path w="43179" h="60960">
                    <a:moveTo>
                      <a:pt x="42824" y="0"/>
                    </a:moveTo>
                    <a:lnTo>
                      <a:pt x="30264" y="0"/>
                    </a:lnTo>
                    <a:lnTo>
                      <a:pt x="18500" y="2377"/>
                    </a:lnTo>
                    <a:lnTo>
                      <a:pt x="8878" y="8859"/>
                    </a:lnTo>
                    <a:lnTo>
                      <a:pt x="2383" y="18468"/>
                    </a:lnTo>
                    <a:lnTo>
                      <a:pt x="0" y="30226"/>
                    </a:lnTo>
                    <a:lnTo>
                      <a:pt x="2383" y="41987"/>
                    </a:lnTo>
                    <a:lnTo>
                      <a:pt x="8878" y="51604"/>
                    </a:lnTo>
                    <a:lnTo>
                      <a:pt x="18500" y="58095"/>
                    </a:lnTo>
                    <a:lnTo>
                      <a:pt x="30264" y="60477"/>
                    </a:lnTo>
                    <a:lnTo>
                      <a:pt x="42824" y="60477"/>
                    </a:lnTo>
                    <a:lnTo>
                      <a:pt x="42824" y="49415"/>
                    </a:lnTo>
                    <a:lnTo>
                      <a:pt x="30264" y="49415"/>
                    </a:lnTo>
                    <a:lnTo>
                      <a:pt x="22802" y="47904"/>
                    </a:lnTo>
                    <a:lnTo>
                      <a:pt x="16702" y="43788"/>
                    </a:lnTo>
                    <a:lnTo>
                      <a:pt x="12585" y="37687"/>
                    </a:lnTo>
                    <a:lnTo>
                      <a:pt x="11074" y="30226"/>
                    </a:lnTo>
                    <a:lnTo>
                      <a:pt x="12585" y="22768"/>
                    </a:lnTo>
                    <a:lnTo>
                      <a:pt x="16702" y="16676"/>
                    </a:lnTo>
                    <a:lnTo>
                      <a:pt x="22802" y="12568"/>
                    </a:lnTo>
                    <a:lnTo>
                      <a:pt x="30264" y="11061"/>
                    </a:lnTo>
                    <a:lnTo>
                      <a:pt x="42824" y="11061"/>
                    </a:lnTo>
                    <a:lnTo>
                      <a:pt x="42824" y="0"/>
                    </a:lnTo>
                    <a:close/>
                  </a:path>
                </a:pathLst>
              </a:custGeom>
              <a:solidFill>
                <a:srgbClr val="919396"/>
              </a:solidFill>
            </p:spPr>
            <p:txBody>
              <a:bodyPr wrap="square" lIns="0" tIns="0" rIns="0" bIns="0" rtlCol="0"/>
              <a:lstStyle/>
              <a:p>
                <a:endParaRPr sz="1796"/>
              </a:p>
            </p:txBody>
          </p:sp>
          <p:sp>
            <p:nvSpPr>
              <p:cNvPr id="166" name="bk object 26">
                <a:extLst>
                  <a:ext uri="{FF2B5EF4-FFF2-40B4-BE49-F238E27FC236}">
                    <a16:creationId xmlns:a16="http://schemas.microsoft.com/office/drawing/2014/main" id="{0B7A1A72-0476-489D-B897-1CF99C9F6148}"/>
                  </a:ext>
                </a:extLst>
              </p:cNvPr>
              <p:cNvSpPr/>
              <p:nvPr userDrawn="1"/>
            </p:nvSpPr>
            <p:spPr>
              <a:xfrm>
                <a:off x="3066431" y="4410740"/>
                <a:ext cx="43180" cy="60960"/>
              </a:xfrm>
              <a:custGeom>
                <a:avLst/>
                <a:gdLst/>
                <a:ahLst/>
                <a:cxnLst/>
                <a:rect l="l" t="t" r="r" b="b"/>
                <a:pathLst>
                  <a:path w="43180" h="60960">
                    <a:moveTo>
                      <a:pt x="42786" y="0"/>
                    </a:moveTo>
                    <a:lnTo>
                      <a:pt x="30251" y="0"/>
                    </a:lnTo>
                    <a:lnTo>
                      <a:pt x="18489" y="2377"/>
                    </a:lnTo>
                    <a:lnTo>
                      <a:pt x="8872" y="8859"/>
                    </a:lnTo>
                    <a:lnTo>
                      <a:pt x="2381" y="18468"/>
                    </a:lnTo>
                    <a:lnTo>
                      <a:pt x="0" y="30226"/>
                    </a:lnTo>
                    <a:lnTo>
                      <a:pt x="2381" y="41987"/>
                    </a:lnTo>
                    <a:lnTo>
                      <a:pt x="8872" y="51604"/>
                    </a:lnTo>
                    <a:lnTo>
                      <a:pt x="18489" y="58095"/>
                    </a:lnTo>
                    <a:lnTo>
                      <a:pt x="30251" y="60477"/>
                    </a:lnTo>
                    <a:lnTo>
                      <a:pt x="42786" y="60477"/>
                    </a:lnTo>
                    <a:lnTo>
                      <a:pt x="42786" y="49415"/>
                    </a:lnTo>
                    <a:lnTo>
                      <a:pt x="30251" y="49415"/>
                    </a:lnTo>
                    <a:lnTo>
                      <a:pt x="22777" y="47904"/>
                    </a:lnTo>
                    <a:lnTo>
                      <a:pt x="16673" y="43788"/>
                    </a:lnTo>
                    <a:lnTo>
                      <a:pt x="12558" y="37687"/>
                    </a:lnTo>
                    <a:lnTo>
                      <a:pt x="11048" y="30226"/>
                    </a:lnTo>
                    <a:lnTo>
                      <a:pt x="12558" y="22768"/>
                    </a:lnTo>
                    <a:lnTo>
                      <a:pt x="16673" y="16676"/>
                    </a:lnTo>
                    <a:lnTo>
                      <a:pt x="22777" y="12568"/>
                    </a:lnTo>
                    <a:lnTo>
                      <a:pt x="30251" y="11061"/>
                    </a:lnTo>
                    <a:lnTo>
                      <a:pt x="42786" y="11061"/>
                    </a:lnTo>
                    <a:lnTo>
                      <a:pt x="42786" y="0"/>
                    </a:lnTo>
                    <a:close/>
                  </a:path>
                </a:pathLst>
              </a:custGeom>
              <a:solidFill>
                <a:srgbClr val="919396"/>
              </a:solidFill>
            </p:spPr>
            <p:txBody>
              <a:bodyPr wrap="square" lIns="0" tIns="0" rIns="0" bIns="0" rtlCol="0"/>
              <a:lstStyle/>
              <a:p>
                <a:endParaRPr sz="1796"/>
              </a:p>
            </p:txBody>
          </p:sp>
          <p:sp>
            <p:nvSpPr>
              <p:cNvPr id="167" name="bk object 27">
                <a:extLst>
                  <a:ext uri="{FF2B5EF4-FFF2-40B4-BE49-F238E27FC236}">
                    <a16:creationId xmlns:a16="http://schemas.microsoft.com/office/drawing/2014/main" id="{ED7E5335-1D56-493F-AF84-5490D92268F9}"/>
                  </a:ext>
                </a:extLst>
              </p:cNvPr>
              <p:cNvSpPr/>
              <p:nvPr userDrawn="1"/>
            </p:nvSpPr>
            <p:spPr>
              <a:xfrm>
                <a:off x="2675826" y="4410740"/>
                <a:ext cx="43180" cy="60960"/>
              </a:xfrm>
              <a:custGeom>
                <a:avLst/>
                <a:gdLst/>
                <a:ahLst/>
                <a:cxnLst/>
                <a:rect l="l" t="t" r="r" b="b"/>
                <a:pathLst>
                  <a:path w="43180" h="60960">
                    <a:moveTo>
                      <a:pt x="42786" y="0"/>
                    </a:moveTo>
                    <a:lnTo>
                      <a:pt x="30251" y="0"/>
                    </a:lnTo>
                    <a:lnTo>
                      <a:pt x="18489" y="2377"/>
                    </a:lnTo>
                    <a:lnTo>
                      <a:pt x="8872" y="8859"/>
                    </a:lnTo>
                    <a:lnTo>
                      <a:pt x="2381" y="18468"/>
                    </a:lnTo>
                    <a:lnTo>
                      <a:pt x="0" y="30226"/>
                    </a:lnTo>
                    <a:lnTo>
                      <a:pt x="2381" y="41987"/>
                    </a:lnTo>
                    <a:lnTo>
                      <a:pt x="8872" y="51604"/>
                    </a:lnTo>
                    <a:lnTo>
                      <a:pt x="18489" y="58095"/>
                    </a:lnTo>
                    <a:lnTo>
                      <a:pt x="30251" y="60477"/>
                    </a:lnTo>
                    <a:lnTo>
                      <a:pt x="42786" y="60477"/>
                    </a:lnTo>
                    <a:lnTo>
                      <a:pt x="42786" y="49415"/>
                    </a:lnTo>
                    <a:lnTo>
                      <a:pt x="30251" y="49415"/>
                    </a:lnTo>
                    <a:lnTo>
                      <a:pt x="22777" y="47904"/>
                    </a:lnTo>
                    <a:lnTo>
                      <a:pt x="16673" y="43788"/>
                    </a:lnTo>
                    <a:lnTo>
                      <a:pt x="12558" y="37687"/>
                    </a:lnTo>
                    <a:lnTo>
                      <a:pt x="11048" y="30226"/>
                    </a:lnTo>
                    <a:lnTo>
                      <a:pt x="12558" y="22768"/>
                    </a:lnTo>
                    <a:lnTo>
                      <a:pt x="16673" y="16676"/>
                    </a:lnTo>
                    <a:lnTo>
                      <a:pt x="22777" y="12568"/>
                    </a:lnTo>
                    <a:lnTo>
                      <a:pt x="30251" y="11061"/>
                    </a:lnTo>
                    <a:lnTo>
                      <a:pt x="42786" y="11061"/>
                    </a:lnTo>
                    <a:lnTo>
                      <a:pt x="42786" y="0"/>
                    </a:lnTo>
                    <a:close/>
                  </a:path>
                </a:pathLst>
              </a:custGeom>
              <a:solidFill>
                <a:srgbClr val="919396"/>
              </a:solidFill>
            </p:spPr>
            <p:txBody>
              <a:bodyPr wrap="square" lIns="0" tIns="0" rIns="0" bIns="0" rtlCol="0"/>
              <a:lstStyle/>
              <a:p>
                <a:endParaRPr sz="1796"/>
              </a:p>
            </p:txBody>
          </p:sp>
          <p:sp>
            <p:nvSpPr>
              <p:cNvPr id="168" name="bk object 28">
                <a:extLst>
                  <a:ext uri="{FF2B5EF4-FFF2-40B4-BE49-F238E27FC236}">
                    <a16:creationId xmlns:a16="http://schemas.microsoft.com/office/drawing/2014/main" id="{BC5A5BFF-21D3-4E82-A13B-D2D25006F428}"/>
                  </a:ext>
                </a:extLst>
              </p:cNvPr>
              <p:cNvSpPr/>
              <p:nvPr userDrawn="1"/>
            </p:nvSpPr>
            <p:spPr>
              <a:xfrm>
                <a:off x="2285194" y="4410740"/>
                <a:ext cx="43180" cy="60960"/>
              </a:xfrm>
              <a:custGeom>
                <a:avLst/>
                <a:gdLst/>
                <a:ahLst/>
                <a:cxnLst/>
                <a:rect l="l" t="t" r="r" b="b"/>
                <a:pathLst>
                  <a:path w="43180" h="60960">
                    <a:moveTo>
                      <a:pt x="42811" y="0"/>
                    </a:moveTo>
                    <a:lnTo>
                      <a:pt x="30251" y="0"/>
                    </a:lnTo>
                    <a:lnTo>
                      <a:pt x="18489" y="2377"/>
                    </a:lnTo>
                    <a:lnTo>
                      <a:pt x="8872" y="8859"/>
                    </a:lnTo>
                    <a:lnTo>
                      <a:pt x="2381" y="18468"/>
                    </a:lnTo>
                    <a:lnTo>
                      <a:pt x="0" y="30226"/>
                    </a:lnTo>
                    <a:lnTo>
                      <a:pt x="2381" y="41987"/>
                    </a:lnTo>
                    <a:lnTo>
                      <a:pt x="8872" y="51604"/>
                    </a:lnTo>
                    <a:lnTo>
                      <a:pt x="18489" y="58095"/>
                    </a:lnTo>
                    <a:lnTo>
                      <a:pt x="30251" y="60477"/>
                    </a:lnTo>
                    <a:lnTo>
                      <a:pt x="42811" y="60477"/>
                    </a:lnTo>
                    <a:lnTo>
                      <a:pt x="42811" y="49415"/>
                    </a:lnTo>
                    <a:lnTo>
                      <a:pt x="30251" y="49415"/>
                    </a:lnTo>
                    <a:lnTo>
                      <a:pt x="22789" y="47904"/>
                    </a:lnTo>
                    <a:lnTo>
                      <a:pt x="16689" y="43788"/>
                    </a:lnTo>
                    <a:lnTo>
                      <a:pt x="12572" y="37687"/>
                    </a:lnTo>
                    <a:lnTo>
                      <a:pt x="11061" y="30226"/>
                    </a:lnTo>
                    <a:lnTo>
                      <a:pt x="12572" y="22768"/>
                    </a:lnTo>
                    <a:lnTo>
                      <a:pt x="16689" y="16676"/>
                    </a:lnTo>
                    <a:lnTo>
                      <a:pt x="22789" y="12568"/>
                    </a:lnTo>
                    <a:lnTo>
                      <a:pt x="30251" y="11061"/>
                    </a:lnTo>
                    <a:lnTo>
                      <a:pt x="42811" y="11061"/>
                    </a:lnTo>
                    <a:lnTo>
                      <a:pt x="42811" y="0"/>
                    </a:lnTo>
                    <a:close/>
                  </a:path>
                </a:pathLst>
              </a:custGeom>
              <a:solidFill>
                <a:srgbClr val="919396"/>
              </a:solidFill>
            </p:spPr>
            <p:txBody>
              <a:bodyPr wrap="square" lIns="0" tIns="0" rIns="0" bIns="0" rtlCol="0"/>
              <a:lstStyle/>
              <a:p>
                <a:endParaRPr sz="1796"/>
              </a:p>
            </p:txBody>
          </p:sp>
          <p:sp>
            <p:nvSpPr>
              <p:cNvPr id="169" name="bk object 29">
                <a:extLst>
                  <a:ext uri="{FF2B5EF4-FFF2-40B4-BE49-F238E27FC236}">
                    <a16:creationId xmlns:a16="http://schemas.microsoft.com/office/drawing/2014/main" id="{5177173A-5FAC-4750-A2C0-03E293CB139B}"/>
                  </a:ext>
                </a:extLst>
              </p:cNvPr>
              <p:cNvSpPr/>
              <p:nvPr userDrawn="1"/>
            </p:nvSpPr>
            <p:spPr>
              <a:xfrm>
                <a:off x="1894589" y="4410740"/>
                <a:ext cx="43180" cy="60960"/>
              </a:xfrm>
              <a:custGeom>
                <a:avLst/>
                <a:gdLst/>
                <a:ahLst/>
                <a:cxnLst/>
                <a:rect l="l" t="t" r="r" b="b"/>
                <a:pathLst>
                  <a:path w="43180" h="60960">
                    <a:moveTo>
                      <a:pt x="42786" y="0"/>
                    </a:moveTo>
                    <a:lnTo>
                      <a:pt x="30251" y="0"/>
                    </a:lnTo>
                    <a:lnTo>
                      <a:pt x="18489" y="2377"/>
                    </a:lnTo>
                    <a:lnTo>
                      <a:pt x="8872" y="8859"/>
                    </a:lnTo>
                    <a:lnTo>
                      <a:pt x="2381" y="18468"/>
                    </a:lnTo>
                    <a:lnTo>
                      <a:pt x="0" y="30226"/>
                    </a:lnTo>
                    <a:lnTo>
                      <a:pt x="2381" y="41987"/>
                    </a:lnTo>
                    <a:lnTo>
                      <a:pt x="8872" y="51604"/>
                    </a:lnTo>
                    <a:lnTo>
                      <a:pt x="18489" y="58095"/>
                    </a:lnTo>
                    <a:lnTo>
                      <a:pt x="30251" y="60477"/>
                    </a:lnTo>
                    <a:lnTo>
                      <a:pt x="42786" y="60477"/>
                    </a:lnTo>
                    <a:lnTo>
                      <a:pt x="42786" y="49415"/>
                    </a:lnTo>
                    <a:lnTo>
                      <a:pt x="30251" y="49415"/>
                    </a:lnTo>
                    <a:lnTo>
                      <a:pt x="22795" y="47904"/>
                    </a:lnTo>
                    <a:lnTo>
                      <a:pt x="16694" y="43788"/>
                    </a:lnTo>
                    <a:lnTo>
                      <a:pt x="12574" y="37687"/>
                    </a:lnTo>
                    <a:lnTo>
                      <a:pt x="11061" y="30226"/>
                    </a:lnTo>
                    <a:lnTo>
                      <a:pt x="12574" y="22768"/>
                    </a:lnTo>
                    <a:lnTo>
                      <a:pt x="16694" y="16676"/>
                    </a:lnTo>
                    <a:lnTo>
                      <a:pt x="22795" y="12568"/>
                    </a:lnTo>
                    <a:lnTo>
                      <a:pt x="30251" y="11061"/>
                    </a:lnTo>
                    <a:lnTo>
                      <a:pt x="42786" y="11061"/>
                    </a:lnTo>
                    <a:lnTo>
                      <a:pt x="42786" y="0"/>
                    </a:lnTo>
                    <a:close/>
                  </a:path>
                </a:pathLst>
              </a:custGeom>
              <a:solidFill>
                <a:srgbClr val="919396"/>
              </a:solidFill>
            </p:spPr>
            <p:txBody>
              <a:bodyPr wrap="square" lIns="0" tIns="0" rIns="0" bIns="0" rtlCol="0"/>
              <a:lstStyle/>
              <a:p>
                <a:endParaRPr sz="1796"/>
              </a:p>
            </p:txBody>
          </p:sp>
          <p:sp>
            <p:nvSpPr>
              <p:cNvPr id="170" name="bk object 30">
                <a:extLst>
                  <a:ext uri="{FF2B5EF4-FFF2-40B4-BE49-F238E27FC236}">
                    <a16:creationId xmlns:a16="http://schemas.microsoft.com/office/drawing/2014/main" id="{D337A4AC-00A5-4754-AE20-663814BC2354}"/>
                  </a:ext>
                </a:extLst>
              </p:cNvPr>
              <p:cNvSpPr/>
              <p:nvPr userDrawn="1"/>
            </p:nvSpPr>
            <p:spPr>
              <a:xfrm>
                <a:off x="1503991" y="4410740"/>
                <a:ext cx="43180" cy="60960"/>
              </a:xfrm>
              <a:custGeom>
                <a:avLst/>
                <a:gdLst/>
                <a:ahLst/>
                <a:cxnLst/>
                <a:rect l="l" t="t" r="r" b="b"/>
                <a:pathLst>
                  <a:path w="43180" h="60960">
                    <a:moveTo>
                      <a:pt x="42786" y="0"/>
                    </a:moveTo>
                    <a:lnTo>
                      <a:pt x="30251" y="0"/>
                    </a:lnTo>
                    <a:lnTo>
                      <a:pt x="18489" y="2377"/>
                    </a:lnTo>
                    <a:lnTo>
                      <a:pt x="8872" y="8859"/>
                    </a:lnTo>
                    <a:lnTo>
                      <a:pt x="2381" y="18468"/>
                    </a:lnTo>
                    <a:lnTo>
                      <a:pt x="0" y="30226"/>
                    </a:lnTo>
                    <a:lnTo>
                      <a:pt x="2381" y="41987"/>
                    </a:lnTo>
                    <a:lnTo>
                      <a:pt x="8872" y="51604"/>
                    </a:lnTo>
                    <a:lnTo>
                      <a:pt x="18489" y="58095"/>
                    </a:lnTo>
                    <a:lnTo>
                      <a:pt x="30251" y="60477"/>
                    </a:lnTo>
                    <a:lnTo>
                      <a:pt x="42786" y="60477"/>
                    </a:lnTo>
                    <a:lnTo>
                      <a:pt x="42786" y="49415"/>
                    </a:lnTo>
                    <a:lnTo>
                      <a:pt x="30251" y="49415"/>
                    </a:lnTo>
                    <a:lnTo>
                      <a:pt x="22777" y="47904"/>
                    </a:lnTo>
                    <a:lnTo>
                      <a:pt x="16673" y="43788"/>
                    </a:lnTo>
                    <a:lnTo>
                      <a:pt x="12558" y="37687"/>
                    </a:lnTo>
                    <a:lnTo>
                      <a:pt x="11048" y="30226"/>
                    </a:lnTo>
                    <a:lnTo>
                      <a:pt x="12558" y="22768"/>
                    </a:lnTo>
                    <a:lnTo>
                      <a:pt x="16673" y="16676"/>
                    </a:lnTo>
                    <a:lnTo>
                      <a:pt x="22777" y="12568"/>
                    </a:lnTo>
                    <a:lnTo>
                      <a:pt x="30251" y="11061"/>
                    </a:lnTo>
                    <a:lnTo>
                      <a:pt x="42786" y="11061"/>
                    </a:lnTo>
                    <a:lnTo>
                      <a:pt x="42786" y="0"/>
                    </a:lnTo>
                    <a:close/>
                  </a:path>
                </a:pathLst>
              </a:custGeom>
              <a:solidFill>
                <a:srgbClr val="919396"/>
              </a:solidFill>
            </p:spPr>
            <p:txBody>
              <a:bodyPr wrap="square" lIns="0" tIns="0" rIns="0" bIns="0" rtlCol="0"/>
              <a:lstStyle/>
              <a:p>
                <a:endParaRPr sz="1796"/>
              </a:p>
            </p:txBody>
          </p:sp>
          <p:sp>
            <p:nvSpPr>
              <p:cNvPr id="171" name="bk object 31">
                <a:extLst>
                  <a:ext uri="{FF2B5EF4-FFF2-40B4-BE49-F238E27FC236}">
                    <a16:creationId xmlns:a16="http://schemas.microsoft.com/office/drawing/2014/main" id="{B8801765-F9FA-4939-A43D-9946126C29EC}"/>
                  </a:ext>
                </a:extLst>
              </p:cNvPr>
              <p:cNvSpPr/>
              <p:nvPr userDrawn="1"/>
            </p:nvSpPr>
            <p:spPr>
              <a:xfrm>
                <a:off x="1113384" y="4410740"/>
                <a:ext cx="43180" cy="60960"/>
              </a:xfrm>
              <a:custGeom>
                <a:avLst/>
                <a:gdLst/>
                <a:ahLst/>
                <a:cxnLst/>
                <a:rect l="l" t="t" r="r" b="b"/>
                <a:pathLst>
                  <a:path w="43180" h="60960">
                    <a:moveTo>
                      <a:pt x="42786" y="0"/>
                    </a:moveTo>
                    <a:lnTo>
                      <a:pt x="30251" y="0"/>
                    </a:lnTo>
                    <a:lnTo>
                      <a:pt x="18489" y="2377"/>
                    </a:lnTo>
                    <a:lnTo>
                      <a:pt x="8872" y="8859"/>
                    </a:lnTo>
                    <a:lnTo>
                      <a:pt x="2381" y="18468"/>
                    </a:lnTo>
                    <a:lnTo>
                      <a:pt x="0" y="30226"/>
                    </a:lnTo>
                    <a:lnTo>
                      <a:pt x="2381" y="41987"/>
                    </a:lnTo>
                    <a:lnTo>
                      <a:pt x="8872" y="51604"/>
                    </a:lnTo>
                    <a:lnTo>
                      <a:pt x="18489" y="58095"/>
                    </a:lnTo>
                    <a:lnTo>
                      <a:pt x="30251" y="60477"/>
                    </a:lnTo>
                    <a:lnTo>
                      <a:pt x="42786" y="60477"/>
                    </a:lnTo>
                    <a:lnTo>
                      <a:pt x="42786" y="49415"/>
                    </a:lnTo>
                    <a:lnTo>
                      <a:pt x="30251" y="49415"/>
                    </a:lnTo>
                    <a:lnTo>
                      <a:pt x="22779" y="47904"/>
                    </a:lnTo>
                    <a:lnTo>
                      <a:pt x="16679" y="43788"/>
                    </a:lnTo>
                    <a:lnTo>
                      <a:pt x="12568" y="37687"/>
                    </a:lnTo>
                    <a:lnTo>
                      <a:pt x="11061" y="30226"/>
                    </a:lnTo>
                    <a:lnTo>
                      <a:pt x="12568" y="22768"/>
                    </a:lnTo>
                    <a:lnTo>
                      <a:pt x="16679" y="16676"/>
                    </a:lnTo>
                    <a:lnTo>
                      <a:pt x="22779" y="12568"/>
                    </a:lnTo>
                    <a:lnTo>
                      <a:pt x="30251" y="11061"/>
                    </a:lnTo>
                    <a:lnTo>
                      <a:pt x="42786" y="11061"/>
                    </a:lnTo>
                    <a:lnTo>
                      <a:pt x="42786" y="0"/>
                    </a:lnTo>
                    <a:close/>
                  </a:path>
                </a:pathLst>
              </a:custGeom>
              <a:solidFill>
                <a:srgbClr val="919396"/>
              </a:solidFill>
            </p:spPr>
            <p:txBody>
              <a:bodyPr wrap="square" lIns="0" tIns="0" rIns="0" bIns="0" rtlCol="0"/>
              <a:lstStyle/>
              <a:p>
                <a:endParaRPr sz="1796"/>
              </a:p>
            </p:txBody>
          </p:sp>
          <p:sp>
            <p:nvSpPr>
              <p:cNvPr id="172" name="bk object 32">
                <a:extLst>
                  <a:ext uri="{FF2B5EF4-FFF2-40B4-BE49-F238E27FC236}">
                    <a16:creationId xmlns:a16="http://schemas.microsoft.com/office/drawing/2014/main" id="{A3D063B8-69FB-485A-810C-362AEB2625F3}"/>
                  </a:ext>
                </a:extLst>
              </p:cNvPr>
              <p:cNvSpPr/>
              <p:nvPr userDrawn="1"/>
            </p:nvSpPr>
            <p:spPr>
              <a:xfrm>
                <a:off x="722748" y="4410740"/>
                <a:ext cx="43180" cy="60960"/>
              </a:xfrm>
              <a:custGeom>
                <a:avLst/>
                <a:gdLst/>
                <a:ahLst/>
                <a:cxnLst/>
                <a:rect l="l" t="t" r="r" b="b"/>
                <a:pathLst>
                  <a:path w="43179" h="60960">
                    <a:moveTo>
                      <a:pt x="42824" y="0"/>
                    </a:moveTo>
                    <a:lnTo>
                      <a:pt x="30264" y="0"/>
                    </a:lnTo>
                    <a:lnTo>
                      <a:pt x="18505" y="2377"/>
                    </a:lnTo>
                    <a:lnTo>
                      <a:pt x="8883" y="8859"/>
                    </a:lnTo>
                    <a:lnTo>
                      <a:pt x="2385" y="18468"/>
                    </a:lnTo>
                    <a:lnTo>
                      <a:pt x="0" y="30226"/>
                    </a:lnTo>
                    <a:lnTo>
                      <a:pt x="2385" y="41987"/>
                    </a:lnTo>
                    <a:lnTo>
                      <a:pt x="8883" y="51604"/>
                    </a:lnTo>
                    <a:lnTo>
                      <a:pt x="18505" y="58095"/>
                    </a:lnTo>
                    <a:lnTo>
                      <a:pt x="30264" y="60477"/>
                    </a:lnTo>
                    <a:lnTo>
                      <a:pt x="42824" y="60477"/>
                    </a:lnTo>
                    <a:lnTo>
                      <a:pt x="42824" y="49415"/>
                    </a:lnTo>
                    <a:lnTo>
                      <a:pt x="30264" y="49415"/>
                    </a:lnTo>
                    <a:lnTo>
                      <a:pt x="22802" y="47904"/>
                    </a:lnTo>
                    <a:lnTo>
                      <a:pt x="16702" y="43788"/>
                    </a:lnTo>
                    <a:lnTo>
                      <a:pt x="12585" y="37687"/>
                    </a:lnTo>
                    <a:lnTo>
                      <a:pt x="11074" y="30226"/>
                    </a:lnTo>
                    <a:lnTo>
                      <a:pt x="12585" y="22768"/>
                    </a:lnTo>
                    <a:lnTo>
                      <a:pt x="16702" y="16676"/>
                    </a:lnTo>
                    <a:lnTo>
                      <a:pt x="22802" y="12568"/>
                    </a:lnTo>
                    <a:lnTo>
                      <a:pt x="30264" y="11061"/>
                    </a:lnTo>
                    <a:lnTo>
                      <a:pt x="42824" y="11061"/>
                    </a:lnTo>
                    <a:lnTo>
                      <a:pt x="42824" y="0"/>
                    </a:lnTo>
                    <a:close/>
                  </a:path>
                </a:pathLst>
              </a:custGeom>
              <a:solidFill>
                <a:srgbClr val="919396"/>
              </a:solidFill>
            </p:spPr>
            <p:txBody>
              <a:bodyPr wrap="square" lIns="0" tIns="0" rIns="0" bIns="0" rtlCol="0"/>
              <a:lstStyle/>
              <a:p>
                <a:endParaRPr sz="1796"/>
              </a:p>
            </p:txBody>
          </p:sp>
          <p:sp>
            <p:nvSpPr>
              <p:cNvPr id="173" name="bk object 33">
                <a:extLst>
                  <a:ext uri="{FF2B5EF4-FFF2-40B4-BE49-F238E27FC236}">
                    <a16:creationId xmlns:a16="http://schemas.microsoft.com/office/drawing/2014/main" id="{E81BA01F-94E6-45BE-B03C-B3D73AF8110D}"/>
                  </a:ext>
                </a:extLst>
              </p:cNvPr>
              <p:cNvSpPr/>
              <p:nvPr userDrawn="1"/>
            </p:nvSpPr>
            <p:spPr>
              <a:xfrm>
                <a:off x="722749" y="4799529"/>
                <a:ext cx="43180" cy="60960"/>
              </a:xfrm>
              <a:custGeom>
                <a:avLst/>
                <a:gdLst/>
                <a:ahLst/>
                <a:cxnLst/>
                <a:rect l="l" t="t" r="r" b="b"/>
                <a:pathLst>
                  <a:path w="43179" h="60960">
                    <a:moveTo>
                      <a:pt x="12560" y="0"/>
                    </a:moveTo>
                    <a:lnTo>
                      <a:pt x="0" y="0"/>
                    </a:lnTo>
                    <a:lnTo>
                      <a:pt x="0" y="11061"/>
                    </a:lnTo>
                    <a:lnTo>
                      <a:pt x="12560" y="11061"/>
                    </a:lnTo>
                    <a:lnTo>
                      <a:pt x="20019" y="12572"/>
                    </a:lnTo>
                    <a:lnTo>
                      <a:pt x="26115" y="16689"/>
                    </a:lnTo>
                    <a:lnTo>
                      <a:pt x="30228" y="22789"/>
                    </a:lnTo>
                    <a:lnTo>
                      <a:pt x="31737" y="30251"/>
                    </a:lnTo>
                    <a:lnTo>
                      <a:pt x="30228" y="37708"/>
                    </a:lnTo>
                    <a:lnTo>
                      <a:pt x="26115" y="43800"/>
                    </a:lnTo>
                    <a:lnTo>
                      <a:pt x="20019" y="47908"/>
                    </a:lnTo>
                    <a:lnTo>
                      <a:pt x="12560" y="49415"/>
                    </a:lnTo>
                    <a:lnTo>
                      <a:pt x="0" y="49415"/>
                    </a:lnTo>
                    <a:lnTo>
                      <a:pt x="0" y="60477"/>
                    </a:lnTo>
                    <a:lnTo>
                      <a:pt x="12560" y="60477"/>
                    </a:lnTo>
                    <a:lnTo>
                      <a:pt x="24323" y="58099"/>
                    </a:lnTo>
                    <a:lnTo>
                      <a:pt x="33945" y="51617"/>
                    </a:lnTo>
                    <a:lnTo>
                      <a:pt x="40440" y="42009"/>
                    </a:lnTo>
                    <a:lnTo>
                      <a:pt x="42824" y="30251"/>
                    </a:lnTo>
                    <a:lnTo>
                      <a:pt x="40440" y="18489"/>
                    </a:lnTo>
                    <a:lnTo>
                      <a:pt x="33945" y="8872"/>
                    </a:lnTo>
                    <a:lnTo>
                      <a:pt x="24323" y="2381"/>
                    </a:lnTo>
                    <a:lnTo>
                      <a:pt x="12560" y="0"/>
                    </a:lnTo>
                    <a:close/>
                  </a:path>
                </a:pathLst>
              </a:custGeom>
              <a:solidFill>
                <a:srgbClr val="919396"/>
              </a:solidFill>
            </p:spPr>
            <p:txBody>
              <a:bodyPr wrap="square" lIns="0" tIns="0" rIns="0" bIns="0" rtlCol="0"/>
              <a:lstStyle/>
              <a:p>
                <a:endParaRPr sz="1796"/>
              </a:p>
            </p:txBody>
          </p:sp>
          <p:sp>
            <p:nvSpPr>
              <p:cNvPr id="174" name="bk object 34">
                <a:extLst>
                  <a:ext uri="{FF2B5EF4-FFF2-40B4-BE49-F238E27FC236}">
                    <a16:creationId xmlns:a16="http://schemas.microsoft.com/office/drawing/2014/main" id="{BACB151F-1A99-443E-A810-2DBBB9E0C74B}"/>
                  </a:ext>
                </a:extLst>
              </p:cNvPr>
              <p:cNvSpPr/>
              <p:nvPr userDrawn="1"/>
            </p:nvSpPr>
            <p:spPr>
              <a:xfrm>
                <a:off x="1113387" y="4799529"/>
                <a:ext cx="43180" cy="60960"/>
              </a:xfrm>
              <a:custGeom>
                <a:avLst/>
                <a:gdLst/>
                <a:ahLst/>
                <a:cxnLst/>
                <a:rect l="l" t="t" r="r" b="b"/>
                <a:pathLst>
                  <a:path w="43180" h="60960">
                    <a:moveTo>
                      <a:pt x="12534" y="0"/>
                    </a:moveTo>
                    <a:lnTo>
                      <a:pt x="0" y="0"/>
                    </a:lnTo>
                    <a:lnTo>
                      <a:pt x="0" y="11061"/>
                    </a:lnTo>
                    <a:lnTo>
                      <a:pt x="12534" y="11061"/>
                    </a:lnTo>
                    <a:lnTo>
                      <a:pt x="19996" y="12572"/>
                    </a:lnTo>
                    <a:lnTo>
                      <a:pt x="26096" y="16689"/>
                    </a:lnTo>
                    <a:lnTo>
                      <a:pt x="30213" y="22789"/>
                    </a:lnTo>
                    <a:lnTo>
                      <a:pt x="31724" y="30251"/>
                    </a:lnTo>
                    <a:lnTo>
                      <a:pt x="30213" y="37708"/>
                    </a:lnTo>
                    <a:lnTo>
                      <a:pt x="26096" y="43800"/>
                    </a:lnTo>
                    <a:lnTo>
                      <a:pt x="19996" y="47908"/>
                    </a:lnTo>
                    <a:lnTo>
                      <a:pt x="12534" y="49415"/>
                    </a:lnTo>
                    <a:lnTo>
                      <a:pt x="0" y="49415"/>
                    </a:lnTo>
                    <a:lnTo>
                      <a:pt x="0" y="60477"/>
                    </a:lnTo>
                    <a:lnTo>
                      <a:pt x="12534" y="60477"/>
                    </a:lnTo>
                    <a:lnTo>
                      <a:pt x="24296" y="58099"/>
                    </a:lnTo>
                    <a:lnTo>
                      <a:pt x="33913" y="51617"/>
                    </a:lnTo>
                    <a:lnTo>
                      <a:pt x="40404" y="42009"/>
                    </a:lnTo>
                    <a:lnTo>
                      <a:pt x="42786" y="30251"/>
                    </a:lnTo>
                    <a:lnTo>
                      <a:pt x="40404" y="18489"/>
                    </a:lnTo>
                    <a:lnTo>
                      <a:pt x="33913" y="8872"/>
                    </a:lnTo>
                    <a:lnTo>
                      <a:pt x="24296" y="2381"/>
                    </a:lnTo>
                    <a:lnTo>
                      <a:pt x="12534" y="0"/>
                    </a:lnTo>
                    <a:close/>
                  </a:path>
                </a:pathLst>
              </a:custGeom>
              <a:solidFill>
                <a:srgbClr val="000000"/>
              </a:solidFill>
            </p:spPr>
            <p:txBody>
              <a:bodyPr wrap="square" lIns="0" tIns="0" rIns="0" bIns="0" rtlCol="0"/>
              <a:lstStyle/>
              <a:p>
                <a:endParaRPr sz="1796"/>
              </a:p>
            </p:txBody>
          </p:sp>
          <p:sp>
            <p:nvSpPr>
              <p:cNvPr id="175" name="bk object 35">
                <a:extLst>
                  <a:ext uri="{FF2B5EF4-FFF2-40B4-BE49-F238E27FC236}">
                    <a16:creationId xmlns:a16="http://schemas.microsoft.com/office/drawing/2014/main" id="{9E2D8D6D-EB53-4E18-AD62-82D156DEC7A6}"/>
                  </a:ext>
                </a:extLst>
              </p:cNvPr>
              <p:cNvSpPr/>
              <p:nvPr userDrawn="1"/>
            </p:nvSpPr>
            <p:spPr>
              <a:xfrm>
                <a:off x="1503992" y="4799529"/>
                <a:ext cx="43180" cy="60960"/>
              </a:xfrm>
              <a:custGeom>
                <a:avLst/>
                <a:gdLst/>
                <a:ahLst/>
                <a:cxnLst/>
                <a:rect l="l" t="t" r="r" b="b"/>
                <a:pathLst>
                  <a:path w="43180" h="60960">
                    <a:moveTo>
                      <a:pt x="12534" y="0"/>
                    </a:moveTo>
                    <a:lnTo>
                      <a:pt x="0" y="0"/>
                    </a:lnTo>
                    <a:lnTo>
                      <a:pt x="0" y="11061"/>
                    </a:lnTo>
                    <a:lnTo>
                      <a:pt x="12534" y="11061"/>
                    </a:lnTo>
                    <a:lnTo>
                      <a:pt x="20001" y="12572"/>
                    </a:lnTo>
                    <a:lnTo>
                      <a:pt x="26101" y="16689"/>
                    </a:lnTo>
                    <a:lnTo>
                      <a:pt x="30215" y="22789"/>
                    </a:lnTo>
                    <a:lnTo>
                      <a:pt x="31724" y="30251"/>
                    </a:lnTo>
                    <a:lnTo>
                      <a:pt x="30215" y="37708"/>
                    </a:lnTo>
                    <a:lnTo>
                      <a:pt x="26101" y="43800"/>
                    </a:lnTo>
                    <a:lnTo>
                      <a:pt x="20001" y="47908"/>
                    </a:lnTo>
                    <a:lnTo>
                      <a:pt x="12534" y="49415"/>
                    </a:lnTo>
                    <a:lnTo>
                      <a:pt x="0" y="49415"/>
                    </a:lnTo>
                    <a:lnTo>
                      <a:pt x="0" y="60477"/>
                    </a:lnTo>
                    <a:lnTo>
                      <a:pt x="12534" y="60477"/>
                    </a:lnTo>
                    <a:lnTo>
                      <a:pt x="24307" y="58099"/>
                    </a:lnTo>
                    <a:lnTo>
                      <a:pt x="33923" y="51617"/>
                    </a:lnTo>
                    <a:lnTo>
                      <a:pt x="40408" y="42009"/>
                    </a:lnTo>
                    <a:lnTo>
                      <a:pt x="42786" y="30251"/>
                    </a:lnTo>
                    <a:lnTo>
                      <a:pt x="40408" y="18489"/>
                    </a:lnTo>
                    <a:lnTo>
                      <a:pt x="33923" y="8872"/>
                    </a:lnTo>
                    <a:lnTo>
                      <a:pt x="24307" y="2381"/>
                    </a:lnTo>
                    <a:lnTo>
                      <a:pt x="12534" y="0"/>
                    </a:lnTo>
                    <a:close/>
                  </a:path>
                </a:pathLst>
              </a:custGeom>
              <a:solidFill>
                <a:srgbClr val="000000"/>
              </a:solidFill>
            </p:spPr>
            <p:txBody>
              <a:bodyPr wrap="square" lIns="0" tIns="0" rIns="0" bIns="0" rtlCol="0"/>
              <a:lstStyle/>
              <a:p>
                <a:endParaRPr sz="1796"/>
              </a:p>
            </p:txBody>
          </p:sp>
          <p:sp>
            <p:nvSpPr>
              <p:cNvPr id="176" name="bk object 36">
                <a:extLst>
                  <a:ext uri="{FF2B5EF4-FFF2-40B4-BE49-F238E27FC236}">
                    <a16:creationId xmlns:a16="http://schemas.microsoft.com/office/drawing/2014/main" id="{354726A8-99A8-4D15-8A76-50ECB80461BA}"/>
                  </a:ext>
                </a:extLst>
              </p:cNvPr>
              <p:cNvSpPr/>
              <p:nvPr userDrawn="1"/>
            </p:nvSpPr>
            <p:spPr>
              <a:xfrm>
                <a:off x="1894592" y="4799529"/>
                <a:ext cx="43180" cy="60960"/>
              </a:xfrm>
              <a:custGeom>
                <a:avLst/>
                <a:gdLst/>
                <a:ahLst/>
                <a:cxnLst/>
                <a:rect l="l" t="t" r="r" b="b"/>
                <a:pathLst>
                  <a:path w="43180" h="60960">
                    <a:moveTo>
                      <a:pt x="12534" y="0"/>
                    </a:moveTo>
                    <a:lnTo>
                      <a:pt x="0" y="0"/>
                    </a:lnTo>
                    <a:lnTo>
                      <a:pt x="0" y="11061"/>
                    </a:lnTo>
                    <a:lnTo>
                      <a:pt x="12534" y="11061"/>
                    </a:lnTo>
                    <a:lnTo>
                      <a:pt x="20007" y="12572"/>
                    </a:lnTo>
                    <a:lnTo>
                      <a:pt x="26106" y="16689"/>
                    </a:lnTo>
                    <a:lnTo>
                      <a:pt x="30217" y="22789"/>
                    </a:lnTo>
                    <a:lnTo>
                      <a:pt x="31724" y="30251"/>
                    </a:lnTo>
                    <a:lnTo>
                      <a:pt x="30217" y="37708"/>
                    </a:lnTo>
                    <a:lnTo>
                      <a:pt x="26106" y="43800"/>
                    </a:lnTo>
                    <a:lnTo>
                      <a:pt x="20007" y="47908"/>
                    </a:lnTo>
                    <a:lnTo>
                      <a:pt x="12534" y="49415"/>
                    </a:lnTo>
                    <a:lnTo>
                      <a:pt x="0" y="49415"/>
                    </a:lnTo>
                    <a:lnTo>
                      <a:pt x="0" y="60477"/>
                    </a:lnTo>
                    <a:lnTo>
                      <a:pt x="12534" y="60477"/>
                    </a:lnTo>
                    <a:lnTo>
                      <a:pt x="24307" y="58099"/>
                    </a:lnTo>
                    <a:lnTo>
                      <a:pt x="33923" y="51617"/>
                    </a:lnTo>
                    <a:lnTo>
                      <a:pt x="40408" y="42009"/>
                    </a:lnTo>
                    <a:lnTo>
                      <a:pt x="42786" y="30251"/>
                    </a:lnTo>
                    <a:lnTo>
                      <a:pt x="40408" y="18489"/>
                    </a:lnTo>
                    <a:lnTo>
                      <a:pt x="33923" y="8872"/>
                    </a:lnTo>
                    <a:lnTo>
                      <a:pt x="24307" y="2381"/>
                    </a:lnTo>
                    <a:lnTo>
                      <a:pt x="12534" y="0"/>
                    </a:lnTo>
                    <a:close/>
                  </a:path>
                </a:pathLst>
              </a:custGeom>
              <a:solidFill>
                <a:srgbClr val="000000"/>
              </a:solidFill>
            </p:spPr>
            <p:txBody>
              <a:bodyPr wrap="square" lIns="0" tIns="0" rIns="0" bIns="0" rtlCol="0"/>
              <a:lstStyle/>
              <a:p>
                <a:endParaRPr sz="1796"/>
              </a:p>
            </p:txBody>
          </p:sp>
          <p:sp>
            <p:nvSpPr>
              <p:cNvPr id="177" name="bk object 37">
                <a:extLst>
                  <a:ext uri="{FF2B5EF4-FFF2-40B4-BE49-F238E27FC236}">
                    <a16:creationId xmlns:a16="http://schemas.microsoft.com/office/drawing/2014/main" id="{C40BA4FC-B952-4AB7-9382-6FB91AE6EBC1}"/>
                  </a:ext>
                </a:extLst>
              </p:cNvPr>
              <p:cNvSpPr/>
              <p:nvPr userDrawn="1"/>
            </p:nvSpPr>
            <p:spPr>
              <a:xfrm>
                <a:off x="2285197" y="4799529"/>
                <a:ext cx="43180" cy="60960"/>
              </a:xfrm>
              <a:custGeom>
                <a:avLst/>
                <a:gdLst/>
                <a:ahLst/>
                <a:cxnLst/>
                <a:rect l="l" t="t" r="r" b="b"/>
                <a:pathLst>
                  <a:path w="43180" h="60960">
                    <a:moveTo>
                      <a:pt x="12534" y="0"/>
                    </a:moveTo>
                    <a:lnTo>
                      <a:pt x="0" y="0"/>
                    </a:lnTo>
                    <a:lnTo>
                      <a:pt x="0" y="11061"/>
                    </a:lnTo>
                    <a:lnTo>
                      <a:pt x="12534" y="11061"/>
                    </a:lnTo>
                    <a:lnTo>
                      <a:pt x="20001" y="12572"/>
                    </a:lnTo>
                    <a:lnTo>
                      <a:pt x="26101" y="16689"/>
                    </a:lnTo>
                    <a:lnTo>
                      <a:pt x="30215" y="22789"/>
                    </a:lnTo>
                    <a:lnTo>
                      <a:pt x="31724" y="30251"/>
                    </a:lnTo>
                    <a:lnTo>
                      <a:pt x="30215" y="37708"/>
                    </a:lnTo>
                    <a:lnTo>
                      <a:pt x="26101" y="43800"/>
                    </a:lnTo>
                    <a:lnTo>
                      <a:pt x="20001" y="47908"/>
                    </a:lnTo>
                    <a:lnTo>
                      <a:pt x="12534" y="49415"/>
                    </a:lnTo>
                    <a:lnTo>
                      <a:pt x="0" y="49415"/>
                    </a:lnTo>
                    <a:lnTo>
                      <a:pt x="0" y="60477"/>
                    </a:lnTo>
                    <a:lnTo>
                      <a:pt x="12534" y="60477"/>
                    </a:lnTo>
                    <a:lnTo>
                      <a:pt x="24311" y="58099"/>
                    </a:lnTo>
                    <a:lnTo>
                      <a:pt x="33935" y="51617"/>
                    </a:lnTo>
                    <a:lnTo>
                      <a:pt x="40429" y="42009"/>
                    </a:lnTo>
                    <a:lnTo>
                      <a:pt x="42811" y="30251"/>
                    </a:lnTo>
                    <a:lnTo>
                      <a:pt x="40429" y="18489"/>
                    </a:lnTo>
                    <a:lnTo>
                      <a:pt x="33935" y="8872"/>
                    </a:lnTo>
                    <a:lnTo>
                      <a:pt x="24311" y="2381"/>
                    </a:lnTo>
                    <a:lnTo>
                      <a:pt x="12534" y="0"/>
                    </a:lnTo>
                    <a:close/>
                  </a:path>
                </a:pathLst>
              </a:custGeom>
              <a:solidFill>
                <a:srgbClr val="919396"/>
              </a:solidFill>
            </p:spPr>
            <p:txBody>
              <a:bodyPr wrap="square" lIns="0" tIns="0" rIns="0" bIns="0" rtlCol="0"/>
              <a:lstStyle/>
              <a:p>
                <a:endParaRPr sz="1796"/>
              </a:p>
            </p:txBody>
          </p:sp>
          <p:sp>
            <p:nvSpPr>
              <p:cNvPr id="178" name="bk object 38">
                <a:extLst>
                  <a:ext uri="{FF2B5EF4-FFF2-40B4-BE49-F238E27FC236}">
                    <a16:creationId xmlns:a16="http://schemas.microsoft.com/office/drawing/2014/main" id="{016D462C-7BE9-4CDC-888D-A5C785E1CAA2}"/>
                  </a:ext>
                </a:extLst>
              </p:cNvPr>
              <p:cNvSpPr/>
              <p:nvPr userDrawn="1"/>
            </p:nvSpPr>
            <p:spPr>
              <a:xfrm>
                <a:off x="2675802" y="4799529"/>
                <a:ext cx="43180" cy="60960"/>
              </a:xfrm>
              <a:custGeom>
                <a:avLst/>
                <a:gdLst/>
                <a:ahLst/>
                <a:cxnLst/>
                <a:rect l="l" t="t" r="r" b="b"/>
                <a:pathLst>
                  <a:path w="43180" h="60960">
                    <a:moveTo>
                      <a:pt x="12560" y="0"/>
                    </a:moveTo>
                    <a:lnTo>
                      <a:pt x="0" y="0"/>
                    </a:lnTo>
                    <a:lnTo>
                      <a:pt x="0" y="11061"/>
                    </a:lnTo>
                    <a:lnTo>
                      <a:pt x="12560" y="11061"/>
                    </a:lnTo>
                    <a:lnTo>
                      <a:pt x="20021" y="12572"/>
                    </a:lnTo>
                    <a:lnTo>
                      <a:pt x="26122" y="16689"/>
                    </a:lnTo>
                    <a:lnTo>
                      <a:pt x="30239" y="22789"/>
                    </a:lnTo>
                    <a:lnTo>
                      <a:pt x="31750" y="30251"/>
                    </a:lnTo>
                    <a:lnTo>
                      <a:pt x="30239" y="37708"/>
                    </a:lnTo>
                    <a:lnTo>
                      <a:pt x="26122" y="43800"/>
                    </a:lnTo>
                    <a:lnTo>
                      <a:pt x="20021" y="47908"/>
                    </a:lnTo>
                    <a:lnTo>
                      <a:pt x="12560" y="49415"/>
                    </a:lnTo>
                    <a:lnTo>
                      <a:pt x="0" y="49415"/>
                    </a:lnTo>
                    <a:lnTo>
                      <a:pt x="0" y="60477"/>
                    </a:lnTo>
                    <a:lnTo>
                      <a:pt x="12560" y="60477"/>
                    </a:lnTo>
                    <a:lnTo>
                      <a:pt x="24321" y="58099"/>
                    </a:lnTo>
                    <a:lnTo>
                      <a:pt x="33939" y="51617"/>
                    </a:lnTo>
                    <a:lnTo>
                      <a:pt x="40429" y="42009"/>
                    </a:lnTo>
                    <a:lnTo>
                      <a:pt x="42811" y="30251"/>
                    </a:lnTo>
                    <a:lnTo>
                      <a:pt x="40429" y="18489"/>
                    </a:lnTo>
                    <a:lnTo>
                      <a:pt x="33939" y="8872"/>
                    </a:lnTo>
                    <a:lnTo>
                      <a:pt x="24321" y="2381"/>
                    </a:lnTo>
                    <a:lnTo>
                      <a:pt x="12560" y="0"/>
                    </a:lnTo>
                    <a:close/>
                  </a:path>
                </a:pathLst>
              </a:custGeom>
              <a:solidFill>
                <a:srgbClr val="919396"/>
              </a:solidFill>
            </p:spPr>
            <p:txBody>
              <a:bodyPr wrap="square" lIns="0" tIns="0" rIns="0" bIns="0" rtlCol="0"/>
              <a:lstStyle/>
              <a:p>
                <a:endParaRPr sz="1796"/>
              </a:p>
            </p:txBody>
          </p:sp>
          <p:sp>
            <p:nvSpPr>
              <p:cNvPr id="179" name="bk object 39">
                <a:extLst>
                  <a:ext uri="{FF2B5EF4-FFF2-40B4-BE49-F238E27FC236}">
                    <a16:creationId xmlns:a16="http://schemas.microsoft.com/office/drawing/2014/main" id="{7AEF7624-C35A-4C63-B1A5-F85227749EF4}"/>
                  </a:ext>
                </a:extLst>
              </p:cNvPr>
              <p:cNvSpPr/>
              <p:nvPr userDrawn="1"/>
            </p:nvSpPr>
            <p:spPr>
              <a:xfrm>
                <a:off x="3066427" y="4799529"/>
                <a:ext cx="43180" cy="60960"/>
              </a:xfrm>
              <a:custGeom>
                <a:avLst/>
                <a:gdLst/>
                <a:ahLst/>
                <a:cxnLst/>
                <a:rect l="l" t="t" r="r" b="b"/>
                <a:pathLst>
                  <a:path w="43180" h="60960">
                    <a:moveTo>
                      <a:pt x="12534" y="0"/>
                    </a:moveTo>
                    <a:lnTo>
                      <a:pt x="0" y="0"/>
                    </a:lnTo>
                    <a:lnTo>
                      <a:pt x="0" y="11061"/>
                    </a:lnTo>
                    <a:lnTo>
                      <a:pt x="12534" y="11061"/>
                    </a:lnTo>
                    <a:lnTo>
                      <a:pt x="19996" y="12572"/>
                    </a:lnTo>
                    <a:lnTo>
                      <a:pt x="26096" y="16689"/>
                    </a:lnTo>
                    <a:lnTo>
                      <a:pt x="30213" y="22789"/>
                    </a:lnTo>
                    <a:lnTo>
                      <a:pt x="31724" y="30251"/>
                    </a:lnTo>
                    <a:lnTo>
                      <a:pt x="30213" y="37708"/>
                    </a:lnTo>
                    <a:lnTo>
                      <a:pt x="26096" y="43800"/>
                    </a:lnTo>
                    <a:lnTo>
                      <a:pt x="19996" y="47908"/>
                    </a:lnTo>
                    <a:lnTo>
                      <a:pt x="12534" y="49415"/>
                    </a:lnTo>
                    <a:lnTo>
                      <a:pt x="0" y="49415"/>
                    </a:lnTo>
                    <a:lnTo>
                      <a:pt x="0" y="60477"/>
                    </a:lnTo>
                    <a:lnTo>
                      <a:pt x="12534" y="60477"/>
                    </a:lnTo>
                    <a:lnTo>
                      <a:pt x="24296" y="58099"/>
                    </a:lnTo>
                    <a:lnTo>
                      <a:pt x="33913" y="51617"/>
                    </a:lnTo>
                    <a:lnTo>
                      <a:pt x="40404" y="42009"/>
                    </a:lnTo>
                    <a:lnTo>
                      <a:pt x="42786" y="30251"/>
                    </a:lnTo>
                    <a:lnTo>
                      <a:pt x="40404" y="18489"/>
                    </a:lnTo>
                    <a:lnTo>
                      <a:pt x="33913" y="8872"/>
                    </a:lnTo>
                    <a:lnTo>
                      <a:pt x="24296" y="2381"/>
                    </a:lnTo>
                    <a:lnTo>
                      <a:pt x="12534" y="0"/>
                    </a:lnTo>
                    <a:close/>
                  </a:path>
                </a:pathLst>
              </a:custGeom>
              <a:solidFill>
                <a:srgbClr val="919396"/>
              </a:solidFill>
            </p:spPr>
            <p:txBody>
              <a:bodyPr wrap="square" lIns="0" tIns="0" rIns="0" bIns="0" rtlCol="0"/>
              <a:lstStyle/>
              <a:p>
                <a:endParaRPr sz="1796"/>
              </a:p>
            </p:txBody>
          </p:sp>
          <p:sp>
            <p:nvSpPr>
              <p:cNvPr id="180" name="bk object 40">
                <a:extLst>
                  <a:ext uri="{FF2B5EF4-FFF2-40B4-BE49-F238E27FC236}">
                    <a16:creationId xmlns:a16="http://schemas.microsoft.com/office/drawing/2014/main" id="{C0ADBCF8-8328-47A2-8BC7-48AA5E463A6B}"/>
                  </a:ext>
                </a:extLst>
              </p:cNvPr>
              <p:cNvSpPr/>
              <p:nvPr userDrawn="1"/>
            </p:nvSpPr>
            <p:spPr>
              <a:xfrm>
                <a:off x="3457032" y="4799529"/>
                <a:ext cx="43180" cy="60960"/>
              </a:xfrm>
              <a:custGeom>
                <a:avLst/>
                <a:gdLst/>
                <a:ahLst/>
                <a:cxnLst/>
                <a:rect l="l" t="t" r="r" b="b"/>
                <a:pathLst>
                  <a:path w="43179" h="60960">
                    <a:moveTo>
                      <a:pt x="12534" y="0"/>
                    </a:moveTo>
                    <a:lnTo>
                      <a:pt x="0" y="0"/>
                    </a:lnTo>
                    <a:lnTo>
                      <a:pt x="0" y="11061"/>
                    </a:lnTo>
                    <a:lnTo>
                      <a:pt x="12534" y="11061"/>
                    </a:lnTo>
                    <a:lnTo>
                      <a:pt x="20007" y="12572"/>
                    </a:lnTo>
                    <a:lnTo>
                      <a:pt x="26106" y="16689"/>
                    </a:lnTo>
                    <a:lnTo>
                      <a:pt x="30217" y="22789"/>
                    </a:lnTo>
                    <a:lnTo>
                      <a:pt x="31724" y="30251"/>
                    </a:lnTo>
                    <a:lnTo>
                      <a:pt x="30217" y="37708"/>
                    </a:lnTo>
                    <a:lnTo>
                      <a:pt x="26106" y="43800"/>
                    </a:lnTo>
                    <a:lnTo>
                      <a:pt x="20007" y="47908"/>
                    </a:lnTo>
                    <a:lnTo>
                      <a:pt x="12534" y="49415"/>
                    </a:lnTo>
                    <a:lnTo>
                      <a:pt x="0" y="49415"/>
                    </a:lnTo>
                    <a:lnTo>
                      <a:pt x="0" y="60477"/>
                    </a:lnTo>
                    <a:lnTo>
                      <a:pt x="12534" y="60477"/>
                    </a:lnTo>
                    <a:lnTo>
                      <a:pt x="24307" y="58099"/>
                    </a:lnTo>
                    <a:lnTo>
                      <a:pt x="33923" y="51617"/>
                    </a:lnTo>
                    <a:lnTo>
                      <a:pt x="40408" y="42009"/>
                    </a:lnTo>
                    <a:lnTo>
                      <a:pt x="42786" y="30251"/>
                    </a:lnTo>
                    <a:lnTo>
                      <a:pt x="40408" y="18489"/>
                    </a:lnTo>
                    <a:lnTo>
                      <a:pt x="33923" y="8872"/>
                    </a:lnTo>
                    <a:lnTo>
                      <a:pt x="24307" y="2381"/>
                    </a:lnTo>
                    <a:lnTo>
                      <a:pt x="12534" y="0"/>
                    </a:lnTo>
                    <a:close/>
                  </a:path>
                </a:pathLst>
              </a:custGeom>
              <a:solidFill>
                <a:srgbClr val="919396"/>
              </a:solidFill>
            </p:spPr>
            <p:txBody>
              <a:bodyPr wrap="square" lIns="0" tIns="0" rIns="0" bIns="0" rtlCol="0"/>
              <a:lstStyle/>
              <a:p>
                <a:endParaRPr sz="1796"/>
              </a:p>
            </p:txBody>
          </p:sp>
          <p:sp>
            <p:nvSpPr>
              <p:cNvPr id="181" name="bk object 41">
                <a:extLst>
                  <a:ext uri="{FF2B5EF4-FFF2-40B4-BE49-F238E27FC236}">
                    <a16:creationId xmlns:a16="http://schemas.microsoft.com/office/drawing/2014/main" id="{B143C1EB-CC1D-4EB4-9AAB-A542343B3C35}"/>
                  </a:ext>
                </a:extLst>
              </p:cNvPr>
              <p:cNvSpPr/>
              <p:nvPr userDrawn="1"/>
            </p:nvSpPr>
            <p:spPr>
              <a:xfrm>
                <a:off x="3847639" y="4799529"/>
                <a:ext cx="43180" cy="60960"/>
              </a:xfrm>
              <a:custGeom>
                <a:avLst/>
                <a:gdLst/>
                <a:ahLst/>
                <a:cxnLst/>
                <a:rect l="l" t="t" r="r" b="b"/>
                <a:pathLst>
                  <a:path w="43179" h="60960">
                    <a:moveTo>
                      <a:pt x="12534" y="0"/>
                    </a:moveTo>
                    <a:lnTo>
                      <a:pt x="0" y="0"/>
                    </a:lnTo>
                    <a:lnTo>
                      <a:pt x="0" y="11061"/>
                    </a:lnTo>
                    <a:lnTo>
                      <a:pt x="12534" y="11061"/>
                    </a:lnTo>
                    <a:lnTo>
                      <a:pt x="20001" y="12572"/>
                    </a:lnTo>
                    <a:lnTo>
                      <a:pt x="26101" y="16689"/>
                    </a:lnTo>
                    <a:lnTo>
                      <a:pt x="30215" y="22789"/>
                    </a:lnTo>
                    <a:lnTo>
                      <a:pt x="31724" y="30251"/>
                    </a:lnTo>
                    <a:lnTo>
                      <a:pt x="30215" y="37708"/>
                    </a:lnTo>
                    <a:lnTo>
                      <a:pt x="26101" y="43800"/>
                    </a:lnTo>
                    <a:lnTo>
                      <a:pt x="20001" y="47908"/>
                    </a:lnTo>
                    <a:lnTo>
                      <a:pt x="12534" y="49415"/>
                    </a:lnTo>
                    <a:lnTo>
                      <a:pt x="0" y="49415"/>
                    </a:lnTo>
                    <a:lnTo>
                      <a:pt x="0" y="60477"/>
                    </a:lnTo>
                    <a:lnTo>
                      <a:pt x="12534" y="60477"/>
                    </a:lnTo>
                    <a:lnTo>
                      <a:pt x="24307" y="58099"/>
                    </a:lnTo>
                    <a:lnTo>
                      <a:pt x="33923" y="51617"/>
                    </a:lnTo>
                    <a:lnTo>
                      <a:pt x="40408" y="42009"/>
                    </a:lnTo>
                    <a:lnTo>
                      <a:pt x="42786" y="30251"/>
                    </a:lnTo>
                    <a:lnTo>
                      <a:pt x="40408" y="18489"/>
                    </a:lnTo>
                    <a:lnTo>
                      <a:pt x="33923" y="8872"/>
                    </a:lnTo>
                    <a:lnTo>
                      <a:pt x="24307" y="2381"/>
                    </a:lnTo>
                    <a:lnTo>
                      <a:pt x="12534" y="0"/>
                    </a:lnTo>
                    <a:close/>
                  </a:path>
                </a:pathLst>
              </a:custGeom>
              <a:solidFill>
                <a:srgbClr val="919396"/>
              </a:solidFill>
            </p:spPr>
            <p:txBody>
              <a:bodyPr wrap="square" lIns="0" tIns="0" rIns="0" bIns="0" rtlCol="0"/>
              <a:lstStyle/>
              <a:p>
                <a:endParaRPr sz="1796"/>
              </a:p>
            </p:txBody>
          </p:sp>
          <p:sp>
            <p:nvSpPr>
              <p:cNvPr id="182" name="bk object 42">
                <a:extLst>
                  <a:ext uri="{FF2B5EF4-FFF2-40B4-BE49-F238E27FC236}">
                    <a16:creationId xmlns:a16="http://schemas.microsoft.com/office/drawing/2014/main" id="{A7E3FB1C-42F2-4B46-B58B-86E403225B6F}"/>
                  </a:ext>
                </a:extLst>
              </p:cNvPr>
              <p:cNvSpPr/>
              <p:nvPr userDrawn="1"/>
            </p:nvSpPr>
            <p:spPr>
              <a:xfrm>
                <a:off x="4238244" y="4799529"/>
                <a:ext cx="43180" cy="60960"/>
              </a:xfrm>
              <a:custGeom>
                <a:avLst/>
                <a:gdLst/>
                <a:ahLst/>
                <a:cxnLst/>
                <a:rect l="l" t="t" r="r" b="b"/>
                <a:pathLst>
                  <a:path w="43179" h="60960">
                    <a:moveTo>
                      <a:pt x="12560" y="0"/>
                    </a:moveTo>
                    <a:lnTo>
                      <a:pt x="0" y="0"/>
                    </a:lnTo>
                    <a:lnTo>
                      <a:pt x="0" y="11061"/>
                    </a:lnTo>
                    <a:lnTo>
                      <a:pt x="12560" y="11061"/>
                    </a:lnTo>
                    <a:lnTo>
                      <a:pt x="20021" y="12572"/>
                    </a:lnTo>
                    <a:lnTo>
                      <a:pt x="26122" y="16689"/>
                    </a:lnTo>
                    <a:lnTo>
                      <a:pt x="30239" y="22789"/>
                    </a:lnTo>
                    <a:lnTo>
                      <a:pt x="31749" y="30251"/>
                    </a:lnTo>
                    <a:lnTo>
                      <a:pt x="30239" y="37708"/>
                    </a:lnTo>
                    <a:lnTo>
                      <a:pt x="26122" y="43800"/>
                    </a:lnTo>
                    <a:lnTo>
                      <a:pt x="20021" y="47908"/>
                    </a:lnTo>
                    <a:lnTo>
                      <a:pt x="12560" y="49415"/>
                    </a:lnTo>
                    <a:lnTo>
                      <a:pt x="0" y="49415"/>
                    </a:lnTo>
                    <a:lnTo>
                      <a:pt x="0" y="60477"/>
                    </a:lnTo>
                    <a:lnTo>
                      <a:pt x="12560" y="60477"/>
                    </a:lnTo>
                    <a:lnTo>
                      <a:pt x="24316" y="58099"/>
                    </a:lnTo>
                    <a:lnTo>
                      <a:pt x="33934" y="51617"/>
                    </a:lnTo>
                    <a:lnTo>
                      <a:pt x="40428" y="42009"/>
                    </a:lnTo>
                    <a:lnTo>
                      <a:pt x="42811" y="30251"/>
                    </a:lnTo>
                    <a:lnTo>
                      <a:pt x="40428" y="18489"/>
                    </a:lnTo>
                    <a:lnTo>
                      <a:pt x="33934" y="8872"/>
                    </a:lnTo>
                    <a:lnTo>
                      <a:pt x="24316" y="2381"/>
                    </a:lnTo>
                    <a:lnTo>
                      <a:pt x="12560" y="0"/>
                    </a:lnTo>
                    <a:close/>
                  </a:path>
                </a:pathLst>
              </a:custGeom>
              <a:solidFill>
                <a:srgbClr val="919396"/>
              </a:solidFill>
            </p:spPr>
            <p:txBody>
              <a:bodyPr wrap="square" lIns="0" tIns="0" rIns="0" bIns="0" rtlCol="0"/>
              <a:lstStyle/>
              <a:p>
                <a:endParaRPr sz="1796"/>
              </a:p>
            </p:txBody>
          </p:sp>
          <p:sp>
            <p:nvSpPr>
              <p:cNvPr id="183" name="bk object 43">
                <a:extLst>
                  <a:ext uri="{FF2B5EF4-FFF2-40B4-BE49-F238E27FC236}">
                    <a16:creationId xmlns:a16="http://schemas.microsoft.com/office/drawing/2014/main" id="{E2E1DEF8-F072-40F7-B83D-192C454ECC57}"/>
                  </a:ext>
                </a:extLst>
              </p:cNvPr>
              <p:cNvSpPr/>
              <p:nvPr userDrawn="1"/>
            </p:nvSpPr>
            <p:spPr>
              <a:xfrm>
                <a:off x="4628868" y="4799529"/>
                <a:ext cx="43180" cy="60960"/>
              </a:xfrm>
              <a:custGeom>
                <a:avLst/>
                <a:gdLst/>
                <a:ahLst/>
                <a:cxnLst/>
                <a:rect l="l" t="t" r="r" b="b"/>
                <a:pathLst>
                  <a:path w="43179" h="60960">
                    <a:moveTo>
                      <a:pt x="12534" y="0"/>
                    </a:moveTo>
                    <a:lnTo>
                      <a:pt x="0" y="0"/>
                    </a:lnTo>
                    <a:lnTo>
                      <a:pt x="0" y="11061"/>
                    </a:lnTo>
                    <a:lnTo>
                      <a:pt x="12534" y="11061"/>
                    </a:lnTo>
                    <a:lnTo>
                      <a:pt x="19996" y="12572"/>
                    </a:lnTo>
                    <a:lnTo>
                      <a:pt x="26096" y="16689"/>
                    </a:lnTo>
                    <a:lnTo>
                      <a:pt x="30213" y="22789"/>
                    </a:lnTo>
                    <a:lnTo>
                      <a:pt x="31724" y="30251"/>
                    </a:lnTo>
                    <a:lnTo>
                      <a:pt x="30213" y="37708"/>
                    </a:lnTo>
                    <a:lnTo>
                      <a:pt x="26096" y="43800"/>
                    </a:lnTo>
                    <a:lnTo>
                      <a:pt x="19996" y="47908"/>
                    </a:lnTo>
                    <a:lnTo>
                      <a:pt x="12534" y="49415"/>
                    </a:lnTo>
                    <a:lnTo>
                      <a:pt x="0" y="49415"/>
                    </a:lnTo>
                    <a:lnTo>
                      <a:pt x="0" y="60477"/>
                    </a:lnTo>
                    <a:lnTo>
                      <a:pt x="12534" y="60477"/>
                    </a:lnTo>
                    <a:lnTo>
                      <a:pt x="24296" y="58099"/>
                    </a:lnTo>
                    <a:lnTo>
                      <a:pt x="33913" y="51617"/>
                    </a:lnTo>
                    <a:lnTo>
                      <a:pt x="40404" y="42009"/>
                    </a:lnTo>
                    <a:lnTo>
                      <a:pt x="42786" y="30251"/>
                    </a:lnTo>
                    <a:lnTo>
                      <a:pt x="40404" y="18489"/>
                    </a:lnTo>
                    <a:lnTo>
                      <a:pt x="33913" y="8872"/>
                    </a:lnTo>
                    <a:lnTo>
                      <a:pt x="24296" y="2381"/>
                    </a:lnTo>
                    <a:lnTo>
                      <a:pt x="12534" y="0"/>
                    </a:lnTo>
                    <a:close/>
                  </a:path>
                </a:pathLst>
              </a:custGeom>
              <a:solidFill>
                <a:srgbClr val="919396"/>
              </a:solidFill>
            </p:spPr>
            <p:txBody>
              <a:bodyPr wrap="square" lIns="0" tIns="0" rIns="0" bIns="0" rtlCol="0"/>
              <a:lstStyle/>
              <a:p>
                <a:endParaRPr sz="1796"/>
              </a:p>
            </p:txBody>
          </p:sp>
          <p:sp>
            <p:nvSpPr>
              <p:cNvPr id="184" name="bk object 44">
                <a:extLst>
                  <a:ext uri="{FF2B5EF4-FFF2-40B4-BE49-F238E27FC236}">
                    <a16:creationId xmlns:a16="http://schemas.microsoft.com/office/drawing/2014/main" id="{69E9B80D-44F4-4C37-82D6-C4D6A656BD17}"/>
                  </a:ext>
                </a:extLst>
              </p:cNvPr>
              <p:cNvSpPr/>
              <p:nvPr userDrawn="1"/>
            </p:nvSpPr>
            <p:spPr>
              <a:xfrm>
                <a:off x="5019474" y="4799529"/>
                <a:ext cx="43180" cy="60960"/>
              </a:xfrm>
              <a:custGeom>
                <a:avLst/>
                <a:gdLst/>
                <a:ahLst/>
                <a:cxnLst/>
                <a:rect l="l" t="t" r="r" b="b"/>
                <a:pathLst>
                  <a:path w="43179" h="60960">
                    <a:moveTo>
                      <a:pt x="12534" y="0"/>
                    </a:moveTo>
                    <a:lnTo>
                      <a:pt x="0" y="0"/>
                    </a:lnTo>
                    <a:lnTo>
                      <a:pt x="0" y="11061"/>
                    </a:lnTo>
                    <a:lnTo>
                      <a:pt x="12534" y="11061"/>
                    </a:lnTo>
                    <a:lnTo>
                      <a:pt x="20001" y="12572"/>
                    </a:lnTo>
                    <a:lnTo>
                      <a:pt x="26101" y="16689"/>
                    </a:lnTo>
                    <a:lnTo>
                      <a:pt x="30215" y="22789"/>
                    </a:lnTo>
                    <a:lnTo>
                      <a:pt x="31724" y="30251"/>
                    </a:lnTo>
                    <a:lnTo>
                      <a:pt x="30215" y="37708"/>
                    </a:lnTo>
                    <a:lnTo>
                      <a:pt x="26101" y="43800"/>
                    </a:lnTo>
                    <a:lnTo>
                      <a:pt x="20001" y="47908"/>
                    </a:lnTo>
                    <a:lnTo>
                      <a:pt x="12534" y="49415"/>
                    </a:lnTo>
                    <a:lnTo>
                      <a:pt x="0" y="49415"/>
                    </a:lnTo>
                    <a:lnTo>
                      <a:pt x="0" y="60477"/>
                    </a:lnTo>
                    <a:lnTo>
                      <a:pt x="12534" y="60477"/>
                    </a:lnTo>
                    <a:lnTo>
                      <a:pt x="24296" y="58099"/>
                    </a:lnTo>
                    <a:lnTo>
                      <a:pt x="33913" y="51617"/>
                    </a:lnTo>
                    <a:lnTo>
                      <a:pt x="40404" y="42009"/>
                    </a:lnTo>
                    <a:lnTo>
                      <a:pt x="42786" y="30251"/>
                    </a:lnTo>
                    <a:lnTo>
                      <a:pt x="40404" y="18489"/>
                    </a:lnTo>
                    <a:lnTo>
                      <a:pt x="33913" y="8872"/>
                    </a:lnTo>
                    <a:lnTo>
                      <a:pt x="24296" y="2381"/>
                    </a:lnTo>
                    <a:lnTo>
                      <a:pt x="12534" y="0"/>
                    </a:lnTo>
                    <a:close/>
                  </a:path>
                </a:pathLst>
              </a:custGeom>
              <a:solidFill>
                <a:srgbClr val="919396"/>
              </a:solidFill>
            </p:spPr>
            <p:txBody>
              <a:bodyPr wrap="square" lIns="0" tIns="0" rIns="0" bIns="0" rtlCol="0"/>
              <a:lstStyle/>
              <a:p>
                <a:endParaRPr sz="1796"/>
              </a:p>
            </p:txBody>
          </p:sp>
        </p:grpSp>
        <p:sp>
          <p:nvSpPr>
            <p:cNvPr id="125" name="bk object 21">
              <a:extLst>
                <a:ext uri="{FF2B5EF4-FFF2-40B4-BE49-F238E27FC236}">
                  <a16:creationId xmlns:a16="http://schemas.microsoft.com/office/drawing/2014/main" id="{9F6C8D2F-9186-4EA1-AA5B-7A293A1B7AA1}"/>
                </a:ext>
              </a:extLst>
            </p:cNvPr>
            <p:cNvSpPr/>
            <p:nvPr userDrawn="1"/>
          </p:nvSpPr>
          <p:spPr>
            <a:xfrm>
              <a:off x="5019471" y="4410740"/>
              <a:ext cx="43180" cy="60960"/>
            </a:xfrm>
            <a:custGeom>
              <a:avLst/>
              <a:gdLst/>
              <a:ahLst/>
              <a:cxnLst/>
              <a:rect l="l" t="t" r="r" b="b"/>
              <a:pathLst>
                <a:path w="43179" h="60960">
                  <a:moveTo>
                    <a:pt x="42786" y="0"/>
                  </a:moveTo>
                  <a:lnTo>
                    <a:pt x="30251" y="0"/>
                  </a:lnTo>
                  <a:lnTo>
                    <a:pt x="18489" y="2377"/>
                  </a:lnTo>
                  <a:lnTo>
                    <a:pt x="8872" y="8859"/>
                  </a:lnTo>
                  <a:lnTo>
                    <a:pt x="2381" y="18468"/>
                  </a:lnTo>
                  <a:lnTo>
                    <a:pt x="0" y="30226"/>
                  </a:lnTo>
                  <a:lnTo>
                    <a:pt x="2381" y="41987"/>
                  </a:lnTo>
                  <a:lnTo>
                    <a:pt x="8872" y="51604"/>
                  </a:lnTo>
                  <a:lnTo>
                    <a:pt x="18489" y="58095"/>
                  </a:lnTo>
                  <a:lnTo>
                    <a:pt x="30251" y="60477"/>
                  </a:lnTo>
                  <a:lnTo>
                    <a:pt x="42786" y="60477"/>
                  </a:lnTo>
                  <a:lnTo>
                    <a:pt x="42786" y="49415"/>
                  </a:lnTo>
                  <a:lnTo>
                    <a:pt x="30251" y="49415"/>
                  </a:lnTo>
                  <a:lnTo>
                    <a:pt x="22789" y="47904"/>
                  </a:lnTo>
                  <a:lnTo>
                    <a:pt x="16689" y="43788"/>
                  </a:lnTo>
                  <a:lnTo>
                    <a:pt x="12572" y="37687"/>
                  </a:lnTo>
                  <a:lnTo>
                    <a:pt x="11061" y="30226"/>
                  </a:lnTo>
                  <a:lnTo>
                    <a:pt x="12572" y="22768"/>
                  </a:lnTo>
                  <a:lnTo>
                    <a:pt x="16689" y="16676"/>
                  </a:lnTo>
                  <a:lnTo>
                    <a:pt x="22789" y="12568"/>
                  </a:lnTo>
                  <a:lnTo>
                    <a:pt x="30251" y="11061"/>
                  </a:lnTo>
                  <a:lnTo>
                    <a:pt x="42786" y="11061"/>
                  </a:lnTo>
                  <a:lnTo>
                    <a:pt x="42786" y="0"/>
                  </a:lnTo>
                  <a:close/>
                </a:path>
              </a:pathLst>
            </a:custGeom>
            <a:solidFill>
              <a:srgbClr val="919396"/>
            </a:solidFill>
          </p:spPr>
          <p:txBody>
            <a:bodyPr wrap="square" lIns="0" tIns="0" rIns="0" bIns="0" rtlCol="0"/>
            <a:lstStyle/>
            <a:p>
              <a:endParaRPr sz="1796"/>
            </a:p>
          </p:txBody>
        </p:sp>
        <p:sp>
          <p:nvSpPr>
            <p:cNvPr id="126" name="bk object 22">
              <a:extLst>
                <a:ext uri="{FF2B5EF4-FFF2-40B4-BE49-F238E27FC236}">
                  <a16:creationId xmlns:a16="http://schemas.microsoft.com/office/drawing/2014/main" id="{CACC50EF-AF60-4793-93E1-1BEB78CB08BD}"/>
                </a:ext>
              </a:extLst>
            </p:cNvPr>
            <p:cNvSpPr/>
            <p:nvPr userDrawn="1"/>
          </p:nvSpPr>
          <p:spPr>
            <a:xfrm>
              <a:off x="4628873" y="4410740"/>
              <a:ext cx="43180" cy="60960"/>
            </a:xfrm>
            <a:custGeom>
              <a:avLst/>
              <a:gdLst/>
              <a:ahLst/>
              <a:cxnLst/>
              <a:rect l="l" t="t" r="r" b="b"/>
              <a:pathLst>
                <a:path w="43179" h="60960">
                  <a:moveTo>
                    <a:pt x="42786" y="0"/>
                  </a:moveTo>
                  <a:lnTo>
                    <a:pt x="30251" y="0"/>
                  </a:lnTo>
                  <a:lnTo>
                    <a:pt x="18479" y="2377"/>
                  </a:lnTo>
                  <a:lnTo>
                    <a:pt x="8863" y="8859"/>
                  </a:lnTo>
                  <a:lnTo>
                    <a:pt x="2378" y="18468"/>
                  </a:lnTo>
                  <a:lnTo>
                    <a:pt x="0" y="30226"/>
                  </a:lnTo>
                  <a:lnTo>
                    <a:pt x="2378" y="41987"/>
                  </a:lnTo>
                  <a:lnTo>
                    <a:pt x="8863" y="51604"/>
                  </a:lnTo>
                  <a:lnTo>
                    <a:pt x="18479" y="58095"/>
                  </a:lnTo>
                  <a:lnTo>
                    <a:pt x="30251" y="60477"/>
                  </a:lnTo>
                  <a:lnTo>
                    <a:pt x="42786" y="60477"/>
                  </a:lnTo>
                  <a:lnTo>
                    <a:pt x="42786" y="49415"/>
                  </a:lnTo>
                  <a:lnTo>
                    <a:pt x="30251" y="49415"/>
                  </a:lnTo>
                  <a:lnTo>
                    <a:pt x="22777" y="47904"/>
                  </a:lnTo>
                  <a:lnTo>
                    <a:pt x="16673" y="43788"/>
                  </a:lnTo>
                  <a:lnTo>
                    <a:pt x="12558" y="37687"/>
                  </a:lnTo>
                  <a:lnTo>
                    <a:pt x="11048" y="30226"/>
                  </a:lnTo>
                  <a:lnTo>
                    <a:pt x="12558" y="22768"/>
                  </a:lnTo>
                  <a:lnTo>
                    <a:pt x="16673" y="16676"/>
                  </a:lnTo>
                  <a:lnTo>
                    <a:pt x="22777" y="12568"/>
                  </a:lnTo>
                  <a:lnTo>
                    <a:pt x="30251" y="11061"/>
                  </a:lnTo>
                  <a:lnTo>
                    <a:pt x="42786" y="11061"/>
                  </a:lnTo>
                  <a:lnTo>
                    <a:pt x="42786" y="0"/>
                  </a:lnTo>
                  <a:close/>
                </a:path>
              </a:pathLst>
            </a:custGeom>
            <a:solidFill>
              <a:srgbClr val="919396"/>
            </a:solidFill>
          </p:spPr>
          <p:txBody>
            <a:bodyPr wrap="square" lIns="0" tIns="0" rIns="0" bIns="0" rtlCol="0"/>
            <a:lstStyle/>
            <a:p>
              <a:endParaRPr sz="1796"/>
            </a:p>
          </p:txBody>
        </p:sp>
        <p:sp>
          <p:nvSpPr>
            <p:cNvPr id="133" name="bk object 23">
              <a:extLst>
                <a:ext uri="{FF2B5EF4-FFF2-40B4-BE49-F238E27FC236}">
                  <a16:creationId xmlns:a16="http://schemas.microsoft.com/office/drawing/2014/main" id="{AD8F7643-E102-42CB-B0FF-1F1C89177930}"/>
                </a:ext>
              </a:extLst>
            </p:cNvPr>
            <p:cNvSpPr/>
            <p:nvPr userDrawn="1"/>
          </p:nvSpPr>
          <p:spPr>
            <a:xfrm>
              <a:off x="4238241" y="4410740"/>
              <a:ext cx="43180" cy="60960"/>
            </a:xfrm>
            <a:custGeom>
              <a:avLst/>
              <a:gdLst/>
              <a:ahLst/>
              <a:cxnLst/>
              <a:rect l="l" t="t" r="r" b="b"/>
              <a:pathLst>
                <a:path w="43179" h="60960">
                  <a:moveTo>
                    <a:pt x="42811" y="0"/>
                  </a:moveTo>
                  <a:lnTo>
                    <a:pt x="30276" y="0"/>
                  </a:lnTo>
                  <a:lnTo>
                    <a:pt x="18500" y="2377"/>
                  </a:lnTo>
                  <a:lnTo>
                    <a:pt x="8875" y="8859"/>
                  </a:lnTo>
                  <a:lnTo>
                    <a:pt x="2382" y="18468"/>
                  </a:lnTo>
                  <a:lnTo>
                    <a:pt x="0" y="30226"/>
                  </a:lnTo>
                  <a:lnTo>
                    <a:pt x="2382" y="41987"/>
                  </a:lnTo>
                  <a:lnTo>
                    <a:pt x="8875" y="51604"/>
                  </a:lnTo>
                  <a:lnTo>
                    <a:pt x="18500" y="58095"/>
                  </a:lnTo>
                  <a:lnTo>
                    <a:pt x="30276" y="60477"/>
                  </a:lnTo>
                  <a:lnTo>
                    <a:pt x="42811" y="60477"/>
                  </a:lnTo>
                  <a:lnTo>
                    <a:pt x="42811" y="49415"/>
                  </a:lnTo>
                  <a:lnTo>
                    <a:pt x="30276" y="49415"/>
                  </a:lnTo>
                  <a:lnTo>
                    <a:pt x="22802" y="47904"/>
                  </a:lnTo>
                  <a:lnTo>
                    <a:pt x="16698" y="43788"/>
                  </a:lnTo>
                  <a:lnTo>
                    <a:pt x="12583" y="37687"/>
                  </a:lnTo>
                  <a:lnTo>
                    <a:pt x="11074" y="30226"/>
                  </a:lnTo>
                  <a:lnTo>
                    <a:pt x="12583" y="22768"/>
                  </a:lnTo>
                  <a:lnTo>
                    <a:pt x="16698" y="16676"/>
                  </a:lnTo>
                  <a:lnTo>
                    <a:pt x="22802" y="12568"/>
                  </a:lnTo>
                  <a:lnTo>
                    <a:pt x="30276" y="11061"/>
                  </a:lnTo>
                  <a:lnTo>
                    <a:pt x="42811" y="11061"/>
                  </a:lnTo>
                  <a:lnTo>
                    <a:pt x="42811" y="0"/>
                  </a:lnTo>
                  <a:close/>
                </a:path>
              </a:pathLst>
            </a:custGeom>
            <a:solidFill>
              <a:srgbClr val="919396"/>
            </a:solidFill>
          </p:spPr>
          <p:txBody>
            <a:bodyPr wrap="square" lIns="0" tIns="0" rIns="0" bIns="0" rtlCol="0"/>
            <a:lstStyle/>
            <a:p>
              <a:endParaRPr sz="1796"/>
            </a:p>
          </p:txBody>
        </p:sp>
        <p:sp>
          <p:nvSpPr>
            <p:cNvPr id="134" name="bk object 24">
              <a:extLst>
                <a:ext uri="{FF2B5EF4-FFF2-40B4-BE49-F238E27FC236}">
                  <a16:creationId xmlns:a16="http://schemas.microsoft.com/office/drawing/2014/main" id="{24D73FA4-2310-4338-BD2A-EB4466D4FBBD}"/>
                </a:ext>
              </a:extLst>
            </p:cNvPr>
            <p:cNvSpPr/>
            <p:nvPr userDrawn="1"/>
          </p:nvSpPr>
          <p:spPr>
            <a:xfrm>
              <a:off x="3847636" y="4410740"/>
              <a:ext cx="43180" cy="60960"/>
            </a:xfrm>
            <a:custGeom>
              <a:avLst/>
              <a:gdLst/>
              <a:ahLst/>
              <a:cxnLst/>
              <a:rect l="l" t="t" r="r" b="b"/>
              <a:pathLst>
                <a:path w="43179" h="60960">
                  <a:moveTo>
                    <a:pt x="42811" y="0"/>
                  </a:moveTo>
                  <a:lnTo>
                    <a:pt x="30251" y="0"/>
                  </a:lnTo>
                  <a:lnTo>
                    <a:pt x="18489" y="2377"/>
                  </a:lnTo>
                  <a:lnTo>
                    <a:pt x="8872" y="8859"/>
                  </a:lnTo>
                  <a:lnTo>
                    <a:pt x="2381" y="18468"/>
                  </a:lnTo>
                  <a:lnTo>
                    <a:pt x="0" y="30226"/>
                  </a:lnTo>
                  <a:lnTo>
                    <a:pt x="2381" y="41987"/>
                  </a:lnTo>
                  <a:lnTo>
                    <a:pt x="8872" y="51604"/>
                  </a:lnTo>
                  <a:lnTo>
                    <a:pt x="18489" y="58095"/>
                  </a:lnTo>
                  <a:lnTo>
                    <a:pt x="30251" y="60477"/>
                  </a:lnTo>
                  <a:lnTo>
                    <a:pt x="42811" y="60477"/>
                  </a:lnTo>
                  <a:lnTo>
                    <a:pt x="42811" y="49415"/>
                  </a:lnTo>
                  <a:lnTo>
                    <a:pt x="30251" y="49415"/>
                  </a:lnTo>
                  <a:lnTo>
                    <a:pt x="22789" y="47904"/>
                  </a:lnTo>
                  <a:lnTo>
                    <a:pt x="16689" y="43788"/>
                  </a:lnTo>
                  <a:lnTo>
                    <a:pt x="12572" y="37687"/>
                  </a:lnTo>
                  <a:lnTo>
                    <a:pt x="11061" y="30226"/>
                  </a:lnTo>
                  <a:lnTo>
                    <a:pt x="12572" y="22768"/>
                  </a:lnTo>
                  <a:lnTo>
                    <a:pt x="16689" y="16676"/>
                  </a:lnTo>
                  <a:lnTo>
                    <a:pt x="22789" y="12568"/>
                  </a:lnTo>
                  <a:lnTo>
                    <a:pt x="30251" y="11061"/>
                  </a:lnTo>
                  <a:lnTo>
                    <a:pt x="42811" y="11061"/>
                  </a:lnTo>
                  <a:lnTo>
                    <a:pt x="42811" y="0"/>
                  </a:lnTo>
                  <a:close/>
                </a:path>
              </a:pathLst>
            </a:custGeom>
            <a:solidFill>
              <a:srgbClr val="919396"/>
            </a:solidFill>
          </p:spPr>
          <p:txBody>
            <a:bodyPr wrap="square" lIns="0" tIns="0" rIns="0" bIns="0" rtlCol="0"/>
            <a:lstStyle/>
            <a:p>
              <a:endParaRPr sz="1796"/>
            </a:p>
          </p:txBody>
        </p:sp>
        <p:sp>
          <p:nvSpPr>
            <p:cNvPr id="135" name="bk object 25">
              <a:extLst>
                <a:ext uri="{FF2B5EF4-FFF2-40B4-BE49-F238E27FC236}">
                  <a16:creationId xmlns:a16="http://schemas.microsoft.com/office/drawing/2014/main" id="{2712C91A-115B-4B2A-A44B-84FCED213C46}"/>
                </a:ext>
              </a:extLst>
            </p:cNvPr>
            <p:cNvSpPr/>
            <p:nvPr userDrawn="1"/>
          </p:nvSpPr>
          <p:spPr>
            <a:xfrm>
              <a:off x="3457023" y="4410740"/>
              <a:ext cx="43180" cy="60960"/>
            </a:xfrm>
            <a:custGeom>
              <a:avLst/>
              <a:gdLst/>
              <a:ahLst/>
              <a:cxnLst/>
              <a:rect l="l" t="t" r="r" b="b"/>
              <a:pathLst>
                <a:path w="43179" h="60960">
                  <a:moveTo>
                    <a:pt x="42824" y="0"/>
                  </a:moveTo>
                  <a:lnTo>
                    <a:pt x="30264" y="0"/>
                  </a:lnTo>
                  <a:lnTo>
                    <a:pt x="18500" y="2377"/>
                  </a:lnTo>
                  <a:lnTo>
                    <a:pt x="8878" y="8859"/>
                  </a:lnTo>
                  <a:lnTo>
                    <a:pt x="2383" y="18468"/>
                  </a:lnTo>
                  <a:lnTo>
                    <a:pt x="0" y="30226"/>
                  </a:lnTo>
                  <a:lnTo>
                    <a:pt x="2383" y="41987"/>
                  </a:lnTo>
                  <a:lnTo>
                    <a:pt x="8878" y="51604"/>
                  </a:lnTo>
                  <a:lnTo>
                    <a:pt x="18500" y="58095"/>
                  </a:lnTo>
                  <a:lnTo>
                    <a:pt x="30264" y="60477"/>
                  </a:lnTo>
                  <a:lnTo>
                    <a:pt x="42824" y="60477"/>
                  </a:lnTo>
                  <a:lnTo>
                    <a:pt x="42824" y="49415"/>
                  </a:lnTo>
                  <a:lnTo>
                    <a:pt x="30264" y="49415"/>
                  </a:lnTo>
                  <a:lnTo>
                    <a:pt x="22802" y="47904"/>
                  </a:lnTo>
                  <a:lnTo>
                    <a:pt x="16702" y="43788"/>
                  </a:lnTo>
                  <a:lnTo>
                    <a:pt x="12585" y="37687"/>
                  </a:lnTo>
                  <a:lnTo>
                    <a:pt x="11074" y="30226"/>
                  </a:lnTo>
                  <a:lnTo>
                    <a:pt x="12585" y="22768"/>
                  </a:lnTo>
                  <a:lnTo>
                    <a:pt x="16702" y="16676"/>
                  </a:lnTo>
                  <a:lnTo>
                    <a:pt x="22802" y="12568"/>
                  </a:lnTo>
                  <a:lnTo>
                    <a:pt x="30264" y="11061"/>
                  </a:lnTo>
                  <a:lnTo>
                    <a:pt x="42824" y="11061"/>
                  </a:lnTo>
                  <a:lnTo>
                    <a:pt x="42824" y="0"/>
                  </a:lnTo>
                  <a:close/>
                </a:path>
              </a:pathLst>
            </a:custGeom>
            <a:solidFill>
              <a:srgbClr val="919396"/>
            </a:solidFill>
          </p:spPr>
          <p:txBody>
            <a:bodyPr wrap="square" lIns="0" tIns="0" rIns="0" bIns="0" rtlCol="0"/>
            <a:lstStyle/>
            <a:p>
              <a:endParaRPr sz="1796"/>
            </a:p>
          </p:txBody>
        </p:sp>
        <p:sp>
          <p:nvSpPr>
            <p:cNvPr id="136" name="bk object 26">
              <a:extLst>
                <a:ext uri="{FF2B5EF4-FFF2-40B4-BE49-F238E27FC236}">
                  <a16:creationId xmlns:a16="http://schemas.microsoft.com/office/drawing/2014/main" id="{A7196617-E466-4B01-ADFE-D1ACC6CE2C89}"/>
                </a:ext>
              </a:extLst>
            </p:cNvPr>
            <p:cNvSpPr/>
            <p:nvPr userDrawn="1"/>
          </p:nvSpPr>
          <p:spPr>
            <a:xfrm>
              <a:off x="3066431" y="4410740"/>
              <a:ext cx="43180" cy="60960"/>
            </a:xfrm>
            <a:custGeom>
              <a:avLst/>
              <a:gdLst/>
              <a:ahLst/>
              <a:cxnLst/>
              <a:rect l="l" t="t" r="r" b="b"/>
              <a:pathLst>
                <a:path w="43180" h="60960">
                  <a:moveTo>
                    <a:pt x="42786" y="0"/>
                  </a:moveTo>
                  <a:lnTo>
                    <a:pt x="30251" y="0"/>
                  </a:lnTo>
                  <a:lnTo>
                    <a:pt x="18489" y="2377"/>
                  </a:lnTo>
                  <a:lnTo>
                    <a:pt x="8872" y="8859"/>
                  </a:lnTo>
                  <a:lnTo>
                    <a:pt x="2381" y="18468"/>
                  </a:lnTo>
                  <a:lnTo>
                    <a:pt x="0" y="30226"/>
                  </a:lnTo>
                  <a:lnTo>
                    <a:pt x="2381" y="41987"/>
                  </a:lnTo>
                  <a:lnTo>
                    <a:pt x="8872" y="51604"/>
                  </a:lnTo>
                  <a:lnTo>
                    <a:pt x="18489" y="58095"/>
                  </a:lnTo>
                  <a:lnTo>
                    <a:pt x="30251" y="60477"/>
                  </a:lnTo>
                  <a:lnTo>
                    <a:pt x="42786" y="60477"/>
                  </a:lnTo>
                  <a:lnTo>
                    <a:pt x="42786" y="49415"/>
                  </a:lnTo>
                  <a:lnTo>
                    <a:pt x="30251" y="49415"/>
                  </a:lnTo>
                  <a:lnTo>
                    <a:pt x="22777" y="47904"/>
                  </a:lnTo>
                  <a:lnTo>
                    <a:pt x="16673" y="43788"/>
                  </a:lnTo>
                  <a:lnTo>
                    <a:pt x="12558" y="37687"/>
                  </a:lnTo>
                  <a:lnTo>
                    <a:pt x="11048" y="30226"/>
                  </a:lnTo>
                  <a:lnTo>
                    <a:pt x="12558" y="22768"/>
                  </a:lnTo>
                  <a:lnTo>
                    <a:pt x="16673" y="16676"/>
                  </a:lnTo>
                  <a:lnTo>
                    <a:pt x="22777" y="12568"/>
                  </a:lnTo>
                  <a:lnTo>
                    <a:pt x="30251" y="11061"/>
                  </a:lnTo>
                  <a:lnTo>
                    <a:pt x="42786" y="11061"/>
                  </a:lnTo>
                  <a:lnTo>
                    <a:pt x="42786" y="0"/>
                  </a:lnTo>
                  <a:close/>
                </a:path>
              </a:pathLst>
            </a:custGeom>
            <a:solidFill>
              <a:srgbClr val="919396"/>
            </a:solidFill>
          </p:spPr>
          <p:txBody>
            <a:bodyPr wrap="square" lIns="0" tIns="0" rIns="0" bIns="0" rtlCol="0"/>
            <a:lstStyle/>
            <a:p>
              <a:endParaRPr sz="1796"/>
            </a:p>
          </p:txBody>
        </p:sp>
        <p:sp>
          <p:nvSpPr>
            <p:cNvPr id="137" name="bk object 27">
              <a:extLst>
                <a:ext uri="{FF2B5EF4-FFF2-40B4-BE49-F238E27FC236}">
                  <a16:creationId xmlns:a16="http://schemas.microsoft.com/office/drawing/2014/main" id="{51701816-A641-49F3-B523-30317FCA9315}"/>
                </a:ext>
              </a:extLst>
            </p:cNvPr>
            <p:cNvSpPr/>
            <p:nvPr userDrawn="1"/>
          </p:nvSpPr>
          <p:spPr>
            <a:xfrm>
              <a:off x="2675826" y="4410740"/>
              <a:ext cx="43180" cy="60960"/>
            </a:xfrm>
            <a:custGeom>
              <a:avLst/>
              <a:gdLst/>
              <a:ahLst/>
              <a:cxnLst/>
              <a:rect l="l" t="t" r="r" b="b"/>
              <a:pathLst>
                <a:path w="43180" h="60960">
                  <a:moveTo>
                    <a:pt x="42786" y="0"/>
                  </a:moveTo>
                  <a:lnTo>
                    <a:pt x="30251" y="0"/>
                  </a:lnTo>
                  <a:lnTo>
                    <a:pt x="18489" y="2377"/>
                  </a:lnTo>
                  <a:lnTo>
                    <a:pt x="8872" y="8859"/>
                  </a:lnTo>
                  <a:lnTo>
                    <a:pt x="2381" y="18468"/>
                  </a:lnTo>
                  <a:lnTo>
                    <a:pt x="0" y="30226"/>
                  </a:lnTo>
                  <a:lnTo>
                    <a:pt x="2381" y="41987"/>
                  </a:lnTo>
                  <a:lnTo>
                    <a:pt x="8872" y="51604"/>
                  </a:lnTo>
                  <a:lnTo>
                    <a:pt x="18489" y="58095"/>
                  </a:lnTo>
                  <a:lnTo>
                    <a:pt x="30251" y="60477"/>
                  </a:lnTo>
                  <a:lnTo>
                    <a:pt x="42786" y="60477"/>
                  </a:lnTo>
                  <a:lnTo>
                    <a:pt x="42786" y="49415"/>
                  </a:lnTo>
                  <a:lnTo>
                    <a:pt x="30251" y="49415"/>
                  </a:lnTo>
                  <a:lnTo>
                    <a:pt x="22777" y="47904"/>
                  </a:lnTo>
                  <a:lnTo>
                    <a:pt x="16673" y="43788"/>
                  </a:lnTo>
                  <a:lnTo>
                    <a:pt x="12558" y="37687"/>
                  </a:lnTo>
                  <a:lnTo>
                    <a:pt x="11048" y="30226"/>
                  </a:lnTo>
                  <a:lnTo>
                    <a:pt x="12558" y="22768"/>
                  </a:lnTo>
                  <a:lnTo>
                    <a:pt x="16673" y="16676"/>
                  </a:lnTo>
                  <a:lnTo>
                    <a:pt x="22777" y="12568"/>
                  </a:lnTo>
                  <a:lnTo>
                    <a:pt x="30251" y="11061"/>
                  </a:lnTo>
                  <a:lnTo>
                    <a:pt x="42786" y="11061"/>
                  </a:lnTo>
                  <a:lnTo>
                    <a:pt x="42786" y="0"/>
                  </a:lnTo>
                  <a:close/>
                </a:path>
              </a:pathLst>
            </a:custGeom>
            <a:solidFill>
              <a:srgbClr val="919396"/>
            </a:solidFill>
          </p:spPr>
          <p:txBody>
            <a:bodyPr wrap="square" lIns="0" tIns="0" rIns="0" bIns="0" rtlCol="0"/>
            <a:lstStyle/>
            <a:p>
              <a:endParaRPr sz="1796"/>
            </a:p>
          </p:txBody>
        </p:sp>
        <p:sp>
          <p:nvSpPr>
            <p:cNvPr id="138" name="bk object 28">
              <a:extLst>
                <a:ext uri="{FF2B5EF4-FFF2-40B4-BE49-F238E27FC236}">
                  <a16:creationId xmlns:a16="http://schemas.microsoft.com/office/drawing/2014/main" id="{ACF11FCB-58F5-40A6-A777-13EC8255555B}"/>
                </a:ext>
              </a:extLst>
            </p:cNvPr>
            <p:cNvSpPr/>
            <p:nvPr userDrawn="1"/>
          </p:nvSpPr>
          <p:spPr>
            <a:xfrm>
              <a:off x="2285194" y="4410740"/>
              <a:ext cx="43180" cy="60960"/>
            </a:xfrm>
            <a:custGeom>
              <a:avLst/>
              <a:gdLst/>
              <a:ahLst/>
              <a:cxnLst/>
              <a:rect l="l" t="t" r="r" b="b"/>
              <a:pathLst>
                <a:path w="43180" h="60960">
                  <a:moveTo>
                    <a:pt x="42811" y="0"/>
                  </a:moveTo>
                  <a:lnTo>
                    <a:pt x="30251" y="0"/>
                  </a:lnTo>
                  <a:lnTo>
                    <a:pt x="18489" y="2377"/>
                  </a:lnTo>
                  <a:lnTo>
                    <a:pt x="8872" y="8859"/>
                  </a:lnTo>
                  <a:lnTo>
                    <a:pt x="2381" y="18468"/>
                  </a:lnTo>
                  <a:lnTo>
                    <a:pt x="0" y="30226"/>
                  </a:lnTo>
                  <a:lnTo>
                    <a:pt x="2381" y="41987"/>
                  </a:lnTo>
                  <a:lnTo>
                    <a:pt x="8872" y="51604"/>
                  </a:lnTo>
                  <a:lnTo>
                    <a:pt x="18489" y="58095"/>
                  </a:lnTo>
                  <a:lnTo>
                    <a:pt x="30251" y="60477"/>
                  </a:lnTo>
                  <a:lnTo>
                    <a:pt x="42811" y="60477"/>
                  </a:lnTo>
                  <a:lnTo>
                    <a:pt x="42811" y="49415"/>
                  </a:lnTo>
                  <a:lnTo>
                    <a:pt x="30251" y="49415"/>
                  </a:lnTo>
                  <a:lnTo>
                    <a:pt x="22789" y="47904"/>
                  </a:lnTo>
                  <a:lnTo>
                    <a:pt x="16689" y="43788"/>
                  </a:lnTo>
                  <a:lnTo>
                    <a:pt x="12572" y="37687"/>
                  </a:lnTo>
                  <a:lnTo>
                    <a:pt x="11061" y="30226"/>
                  </a:lnTo>
                  <a:lnTo>
                    <a:pt x="12572" y="22768"/>
                  </a:lnTo>
                  <a:lnTo>
                    <a:pt x="16689" y="16676"/>
                  </a:lnTo>
                  <a:lnTo>
                    <a:pt x="22789" y="12568"/>
                  </a:lnTo>
                  <a:lnTo>
                    <a:pt x="30251" y="11061"/>
                  </a:lnTo>
                  <a:lnTo>
                    <a:pt x="42811" y="11061"/>
                  </a:lnTo>
                  <a:lnTo>
                    <a:pt x="42811" y="0"/>
                  </a:lnTo>
                  <a:close/>
                </a:path>
              </a:pathLst>
            </a:custGeom>
            <a:solidFill>
              <a:srgbClr val="919396"/>
            </a:solidFill>
          </p:spPr>
          <p:txBody>
            <a:bodyPr wrap="square" lIns="0" tIns="0" rIns="0" bIns="0" rtlCol="0"/>
            <a:lstStyle/>
            <a:p>
              <a:endParaRPr sz="1796"/>
            </a:p>
          </p:txBody>
        </p:sp>
        <p:sp>
          <p:nvSpPr>
            <p:cNvPr id="139" name="bk object 29">
              <a:extLst>
                <a:ext uri="{FF2B5EF4-FFF2-40B4-BE49-F238E27FC236}">
                  <a16:creationId xmlns:a16="http://schemas.microsoft.com/office/drawing/2014/main" id="{E5B08E83-4FC6-4C0E-9EBC-5242114E4F0D}"/>
                </a:ext>
              </a:extLst>
            </p:cNvPr>
            <p:cNvSpPr/>
            <p:nvPr userDrawn="1"/>
          </p:nvSpPr>
          <p:spPr>
            <a:xfrm>
              <a:off x="1894589" y="4410740"/>
              <a:ext cx="43180" cy="60960"/>
            </a:xfrm>
            <a:custGeom>
              <a:avLst/>
              <a:gdLst/>
              <a:ahLst/>
              <a:cxnLst/>
              <a:rect l="l" t="t" r="r" b="b"/>
              <a:pathLst>
                <a:path w="43180" h="60960">
                  <a:moveTo>
                    <a:pt x="42786" y="0"/>
                  </a:moveTo>
                  <a:lnTo>
                    <a:pt x="30251" y="0"/>
                  </a:lnTo>
                  <a:lnTo>
                    <a:pt x="18489" y="2377"/>
                  </a:lnTo>
                  <a:lnTo>
                    <a:pt x="8872" y="8859"/>
                  </a:lnTo>
                  <a:lnTo>
                    <a:pt x="2381" y="18468"/>
                  </a:lnTo>
                  <a:lnTo>
                    <a:pt x="0" y="30226"/>
                  </a:lnTo>
                  <a:lnTo>
                    <a:pt x="2381" y="41987"/>
                  </a:lnTo>
                  <a:lnTo>
                    <a:pt x="8872" y="51604"/>
                  </a:lnTo>
                  <a:lnTo>
                    <a:pt x="18489" y="58095"/>
                  </a:lnTo>
                  <a:lnTo>
                    <a:pt x="30251" y="60477"/>
                  </a:lnTo>
                  <a:lnTo>
                    <a:pt x="42786" y="60477"/>
                  </a:lnTo>
                  <a:lnTo>
                    <a:pt x="42786" y="49415"/>
                  </a:lnTo>
                  <a:lnTo>
                    <a:pt x="30251" y="49415"/>
                  </a:lnTo>
                  <a:lnTo>
                    <a:pt x="22795" y="47904"/>
                  </a:lnTo>
                  <a:lnTo>
                    <a:pt x="16694" y="43788"/>
                  </a:lnTo>
                  <a:lnTo>
                    <a:pt x="12574" y="37687"/>
                  </a:lnTo>
                  <a:lnTo>
                    <a:pt x="11061" y="30226"/>
                  </a:lnTo>
                  <a:lnTo>
                    <a:pt x="12574" y="22768"/>
                  </a:lnTo>
                  <a:lnTo>
                    <a:pt x="16694" y="16676"/>
                  </a:lnTo>
                  <a:lnTo>
                    <a:pt x="22795" y="12568"/>
                  </a:lnTo>
                  <a:lnTo>
                    <a:pt x="30251" y="11061"/>
                  </a:lnTo>
                  <a:lnTo>
                    <a:pt x="42786" y="11061"/>
                  </a:lnTo>
                  <a:lnTo>
                    <a:pt x="42786" y="0"/>
                  </a:lnTo>
                  <a:close/>
                </a:path>
              </a:pathLst>
            </a:custGeom>
            <a:solidFill>
              <a:srgbClr val="919396"/>
            </a:solidFill>
          </p:spPr>
          <p:txBody>
            <a:bodyPr wrap="square" lIns="0" tIns="0" rIns="0" bIns="0" rtlCol="0"/>
            <a:lstStyle/>
            <a:p>
              <a:endParaRPr sz="1796"/>
            </a:p>
          </p:txBody>
        </p:sp>
        <p:sp>
          <p:nvSpPr>
            <p:cNvPr id="140" name="bk object 30">
              <a:extLst>
                <a:ext uri="{FF2B5EF4-FFF2-40B4-BE49-F238E27FC236}">
                  <a16:creationId xmlns:a16="http://schemas.microsoft.com/office/drawing/2014/main" id="{24929B3F-F2B3-4401-852A-179EA053BEE6}"/>
                </a:ext>
              </a:extLst>
            </p:cNvPr>
            <p:cNvSpPr/>
            <p:nvPr userDrawn="1"/>
          </p:nvSpPr>
          <p:spPr>
            <a:xfrm>
              <a:off x="1503991" y="4410740"/>
              <a:ext cx="43180" cy="60960"/>
            </a:xfrm>
            <a:custGeom>
              <a:avLst/>
              <a:gdLst/>
              <a:ahLst/>
              <a:cxnLst/>
              <a:rect l="l" t="t" r="r" b="b"/>
              <a:pathLst>
                <a:path w="43180" h="60960">
                  <a:moveTo>
                    <a:pt x="42786" y="0"/>
                  </a:moveTo>
                  <a:lnTo>
                    <a:pt x="30251" y="0"/>
                  </a:lnTo>
                  <a:lnTo>
                    <a:pt x="18489" y="2377"/>
                  </a:lnTo>
                  <a:lnTo>
                    <a:pt x="8872" y="8859"/>
                  </a:lnTo>
                  <a:lnTo>
                    <a:pt x="2381" y="18468"/>
                  </a:lnTo>
                  <a:lnTo>
                    <a:pt x="0" y="30226"/>
                  </a:lnTo>
                  <a:lnTo>
                    <a:pt x="2381" y="41987"/>
                  </a:lnTo>
                  <a:lnTo>
                    <a:pt x="8872" y="51604"/>
                  </a:lnTo>
                  <a:lnTo>
                    <a:pt x="18489" y="58095"/>
                  </a:lnTo>
                  <a:lnTo>
                    <a:pt x="30251" y="60477"/>
                  </a:lnTo>
                  <a:lnTo>
                    <a:pt x="42786" y="60477"/>
                  </a:lnTo>
                  <a:lnTo>
                    <a:pt x="42786" y="49415"/>
                  </a:lnTo>
                  <a:lnTo>
                    <a:pt x="30251" y="49415"/>
                  </a:lnTo>
                  <a:lnTo>
                    <a:pt x="22777" y="47904"/>
                  </a:lnTo>
                  <a:lnTo>
                    <a:pt x="16673" y="43788"/>
                  </a:lnTo>
                  <a:lnTo>
                    <a:pt x="12558" y="37687"/>
                  </a:lnTo>
                  <a:lnTo>
                    <a:pt x="11048" y="30226"/>
                  </a:lnTo>
                  <a:lnTo>
                    <a:pt x="12558" y="22768"/>
                  </a:lnTo>
                  <a:lnTo>
                    <a:pt x="16673" y="16676"/>
                  </a:lnTo>
                  <a:lnTo>
                    <a:pt x="22777" y="12568"/>
                  </a:lnTo>
                  <a:lnTo>
                    <a:pt x="30251" y="11061"/>
                  </a:lnTo>
                  <a:lnTo>
                    <a:pt x="42786" y="11061"/>
                  </a:lnTo>
                  <a:lnTo>
                    <a:pt x="42786" y="0"/>
                  </a:lnTo>
                  <a:close/>
                </a:path>
              </a:pathLst>
            </a:custGeom>
            <a:solidFill>
              <a:srgbClr val="919396"/>
            </a:solidFill>
          </p:spPr>
          <p:txBody>
            <a:bodyPr wrap="square" lIns="0" tIns="0" rIns="0" bIns="0" rtlCol="0"/>
            <a:lstStyle/>
            <a:p>
              <a:endParaRPr sz="1796"/>
            </a:p>
          </p:txBody>
        </p:sp>
        <p:sp>
          <p:nvSpPr>
            <p:cNvPr id="141" name="bk object 31">
              <a:extLst>
                <a:ext uri="{FF2B5EF4-FFF2-40B4-BE49-F238E27FC236}">
                  <a16:creationId xmlns:a16="http://schemas.microsoft.com/office/drawing/2014/main" id="{B47B721D-549E-475C-9A6A-A43FF910C98B}"/>
                </a:ext>
              </a:extLst>
            </p:cNvPr>
            <p:cNvSpPr/>
            <p:nvPr userDrawn="1"/>
          </p:nvSpPr>
          <p:spPr>
            <a:xfrm>
              <a:off x="1113384" y="4410740"/>
              <a:ext cx="43180" cy="60960"/>
            </a:xfrm>
            <a:custGeom>
              <a:avLst/>
              <a:gdLst/>
              <a:ahLst/>
              <a:cxnLst/>
              <a:rect l="l" t="t" r="r" b="b"/>
              <a:pathLst>
                <a:path w="43180" h="60960">
                  <a:moveTo>
                    <a:pt x="42786" y="0"/>
                  </a:moveTo>
                  <a:lnTo>
                    <a:pt x="30251" y="0"/>
                  </a:lnTo>
                  <a:lnTo>
                    <a:pt x="18489" y="2377"/>
                  </a:lnTo>
                  <a:lnTo>
                    <a:pt x="8872" y="8859"/>
                  </a:lnTo>
                  <a:lnTo>
                    <a:pt x="2381" y="18468"/>
                  </a:lnTo>
                  <a:lnTo>
                    <a:pt x="0" y="30226"/>
                  </a:lnTo>
                  <a:lnTo>
                    <a:pt x="2381" y="41987"/>
                  </a:lnTo>
                  <a:lnTo>
                    <a:pt x="8872" y="51604"/>
                  </a:lnTo>
                  <a:lnTo>
                    <a:pt x="18489" y="58095"/>
                  </a:lnTo>
                  <a:lnTo>
                    <a:pt x="30251" y="60477"/>
                  </a:lnTo>
                  <a:lnTo>
                    <a:pt x="42786" y="60477"/>
                  </a:lnTo>
                  <a:lnTo>
                    <a:pt x="42786" y="49415"/>
                  </a:lnTo>
                  <a:lnTo>
                    <a:pt x="30251" y="49415"/>
                  </a:lnTo>
                  <a:lnTo>
                    <a:pt x="22779" y="47904"/>
                  </a:lnTo>
                  <a:lnTo>
                    <a:pt x="16679" y="43788"/>
                  </a:lnTo>
                  <a:lnTo>
                    <a:pt x="12568" y="37687"/>
                  </a:lnTo>
                  <a:lnTo>
                    <a:pt x="11061" y="30226"/>
                  </a:lnTo>
                  <a:lnTo>
                    <a:pt x="12568" y="22768"/>
                  </a:lnTo>
                  <a:lnTo>
                    <a:pt x="16679" y="16676"/>
                  </a:lnTo>
                  <a:lnTo>
                    <a:pt x="22779" y="12568"/>
                  </a:lnTo>
                  <a:lnTo>
                    <a:pt x="30251" y="11061"/>
                  </a:lnTo>
                  <a:lnTo>
                    <a:pt x="42786" y="11061"/>
                  </a:lnTo>
                  <a:lnTo>
                    <a:pt x="42786" y="0"/>
                  </a:lnTo>
                  <a:close/>
                </a:path>
              </a:pathLst>
            </a:custGeom>
            <a:solidFill>
              <a:srgbClr val="919396"/>
            </a:solidFill>
          </p:spPr>
          <p:txBody>
            <a:bodyPr wrap="square" lIns="0" tIns="0" rIns="0" bIns="0" rtlCol="0"/>
            <a:lstStyle/>
            <a:p>
              <a:endParaRPr sz="1796"/>
            </a:p>
          </p:txBody>
        </p:sp>
        <p:sp>
          <p:nvSpPr>
            <p:cNvPr id="142" name="bk object 32">
              <a:extLst>
                <a:ext uri="{FF2B5EF4-FFF2-40B4-BE49-F238E27FC236}">
                  <a16:creationId xmlns:a16="http://schemas.microsoft.com/office/drawing/2014/main" id="{352A5567-DB71-41F5-BC07-BF84928ABD93}"/>
                </a:ext>
              </a:extLst>
            </p:cNvPr>
            <p:cNvSpPr/>
            <p:nvPr userDrawn="1"/>
          </p:nvSpPr>
          <p:spPr>
            <a:xfrm>
              <a:off x="722748" y="4410740"/>
              <a:ext cx="43180" cy="60960"/>
            </a:xfrm>
            <a:custGeom>
              <a:avLst/>
              <a:gdLst/>
              <a:ahLst/>
              <a:cxnLst/>
              <a:rect l="l" t="t" r="r" b="b"/>
              <a:pathLst>
                <a:path w="43179" h="60960">
                  <a:moveTo>
                    <a:pt x="42824" y="0"/>
                  </a:moveTo>
                  <a:lnTo>
                    <a:pt x="30264" y="0"/>
                  </a:lnTo>
                  <a:lnTo>
                    <a:pt x="18505" y="2377"/>
                  </a:lnTo>
                  <a:lnTo>
                    <a:pt x="8883" y="8859"/>
                  </a:lnTo>
                  <a:lnTo>
                    <a:pt x="2385" y="18468"/>
                  </a:lnTo>
                  <a:lnTo>
                    <a:pt x="0" y="30226"/>
                  </a:lnTo>
                  <a:lnTo>
                    <a:pt x="2385" y="41987"/>
                  </a:lnTo>
                  <a:lnTo>
                    <a:pt x="8883" y="51604"/>
                  </a:lnTo>
                  <a:lnTo>
                    <a:pt x="18505" y="58095"/>
                  </a:lnTo>
                  <a:lnTo>
                    <a:pt x="30264" y="60477"/>
                  </a:lnTo>
                  <a:lnTo>
                    <a:pt x="42824" y="60477"/>
                  </a:lnTo>
                  <a:lnTo>
                    <a:pt x="42824" y="49415"/>
                  </a:lnTo>
                  <a:lnTo>
                    <a:pt x="30264" y="49415"/>
                  </a:lnTo>
                  <a:lnTo>
                    <a:pt x="22802" y="47904"/>
                  </a:lnTo>
                  <a:lnTo>
                    <a:pt x="16702" y="43788"/>
                  </a:lnTo>
                  <a:lnTo>
                    <a:pt x="12585" y="37687"/>
                  </a:lnTo>
                  <a:lnTo>
                    <a:pt x="11074" y="30226"/>
                  </a:lnTo>
                  <a:lnTo>
                    <a:pt x="12585" y="22768"/>
                  </a:lnTo>
                  <a:lnTo>
                    <a:pt x="16702" y="16676"/>
                  </a:lnTo>
                  <a:lnTo>
                    <a:pt x="22802" y="12568"/>
                  </a:lnTo>
                  <a:lnTo>
                    <a:pt x="30264" y="11061"/>
                  </a:lnTo>
                  <a:lnTo>
                    <a:pt x="42824" y="11061"/>
                  </a:lnTo>
                  <a:lnTo>
                    <a:pt x="42824" y="0"/>
                  </a:lnTo>
                  <a:close/>
                </a:path>
              </a:pathLst>
            </a:custGeom>
            <a:solidFill>
              <a:srgbClr val="919396"/>
            </a:solidFill>
          </p:spPr>
          <p:txBody>
            <a:bodyPr wrap="square" lIns="0" tIns="0" rIns="0" bIns="0" rtlCol="0"/>
            <a:lstStyle/>
            <a:p>
              <a:endParaRPr sz="1796"/>
            </a:p>
          </p:txBody>
        </p:sp>
        <p:sp>
          <p:nvSpPr>
            <p:cNvPr id="143" name="bk object 33">
              <a:extLst>
                <a:ext uri="{FF2B5EF4-FFF2-40B4-BE49-F238E27FC236}">
                  <a16:creationId xmlns:a16="http://schemas.microsoft.com/office/drawing/2014/main" id="{956C704F-97B6-46AA-B8FA-992522C656DE}"/>
                </a:ext>
              </a:extLst>
            </p:cNvPr>
            <p:cNvSpPr/>
            <p:nvPr userDrawn="1"/>
          </p:nvSpPr>
          <p:spPr>
            <a:xfrm>
              <a:off x="722749" y="4799529"/>
              <a:ext cx="43180" cy="60960"/>
            </a:xfrm>
            <a:custGeom>
              <a:avLst/>
              <a:gdLst/>
              <a:ahLst/>
              <a:cxnLst/>
              <a:rect l="l" t="t" r="r" b="b"/>
              <a:pathLst>
                <a:path w="43179" h="60960">
                  <a:moveTo>
                    <a:pt x="12560" y="0"/>
                  </a:moveTo>
                  <a:lnTo>
                    <a:pt x="0" y="0"/>
                  </a:lnTo>
                  <a:lnTo>
                    <a:pt x="0" y="11061"/>
                  </a:lnTo>
                  <a:lnTo>
                    <a:pt x="12560" y="11061"/>
                  </a:lnTo>
                  <a:lnTo>
                    <a:pt x="20019" y="12572"/>
                  </a:lnTo>
                  <a:lnTo>
                    <a:pt x="26115" y="16689"/>
                  </a:lnTo>
                  <a:lnTo>
                    <a:pt x="30228" y="22789"/>
                  </a:lnTo>
                  <a:lnTo>
                    <a:pt x="31737" y="30251"/>
                  </a:lnTo>
                  <a:lnTo>
                    <a:pt x="30228" y="37708"/>
                  </a:lnTo>
                  <a:lnTo>
                    <a:pt x="26115" y="43800"/>
                  </a:lnTo>
                  <a:lnTo>
                    <a:pt x="20019" y="47908"/>
                  </a:lnTo>
                  <a:lnTo>
                    <a:pt x="12560" y="49415"/>
                  </a:lnTo>
                  <a:lnTo>
                    <a:pt x="0" y="49415"/>
                  </a:lnTo>
                  <a:lnTo>
                    <a:pt x="0" y="60477"/>
                  </a:lnTo>
                  <a:lnTo>
                    <a:pt x="12560" y="60477"/>
                  </a:lnTo>
                  <a:lnTo>
                    <a:pt x="24323" y="58099"/>
                  </a:lnTo>
                  <a:lnTo>
                    <a:pt x="33945" y="51617"/>
                  </a:lnTo>
                  <a:lnTo>
                    <a:pt x="40440" y="42009"/>
                  </a:lnTo>
                  <a:lnTo>
                    <a:pt x="42824" y="30251"/>
                  </a:lnTo>
                  <a:lnTo>
                    <a:pt x="40440" y="18489"/>
                  </a:lnTo>
                  <a:lnTo>
                    <a:pt x="33945" y="8872"/>
                  </a:lnTo>
                  <a:lnTo>
                    <a:pt x="24323" y="2381"/>
                  </a:lnTo>
                  <a:lnTo>
                    <a:pt x="12560" y="0"/>
                  </a:lnTo>
                  <a:close/>
                </a:path>
              </a:pathLst>
            </a:custGeom>
            <a:solidFill>
              <a:srgbClr val="919396"/>
            </a:solidFill>
          </p:spPr>
          <p:txBody>
            <a:bodyPr wrap="square" lIns="0" tIns="0" rIns="0" bIns="0" rtlCol="0"/>
            <a:lstStyle/>
            <a:p>
              <a:endParaRPr sz="1796"/>
            </a:p>
          </p:txBody>
        </p:sp>
        <p:sp>
          <p:nvSpPr>
            <p:cNvPr id="144" name="bk object 34">
              <a:extLst>
                <a:ext uri="{FF2B5EF4-FFF2-40B4-BE49-F238E27FC236}">
                  <a16:creationId xmlns:a16="http://schemas.microsoft.com/office/drawing/2014/main" id="{46B13F25-B4C9-429B-A2A3-7E89B000680F}"/>
                </a:ext>
              </a:extLst>
            </p:cNvPr>
            <p:cNvSpPr/>
            <p:nvPr userDrawn="1"/>
          </p:nvSpPr>
          <p:spPr>
            <a:xfrm>
              <a:off x="1113387" y="4799529"/>
              <a:ext cx="43180" cy="60960"/>
            </a:xfrm>
            <a:custGeom>
              <a:avLst/>
              <a:gdLst/>
              <a:ahLst/>
              <a:cxnLst/>
              <a:rect l="l" t="t" r="r" b="b"/>
              <a:pathLst>
                <a:path w="43180" h="60960">
                  <a:moveTo>
                    <a:pt x="12534" y="0"/>
                  </a:moveTo>
                  <a:lnTo>
                    <a:pt x="0" y="0"/>
                  </a:lnTo>
                  <a:lnTo>
                    <a:pt x="0" y="11061"/>
                  </a:lnTo>
                  <a:lnTo>
                    <a:pt x="12534" y="11061"/>
                  </a:lnTo>
                  <a:lnTo>
                    <a:pt x="19996" y="12572"/>
                  </a:lnTo>
                  <a:lnTo>
                    <a:pt x="26096" y="16689"/>
                  </a:lnTo>
                  <a:lnTo>
                    <a:pt x="30213" y="22789"/>
                  </a:lnTo>
                  <a:lnTo>
                    <a:pt x="31724" y="30251"/>
                  </a:lnTo>
                  <a:lnTo>
                    <a:pt x="30213" y="37708"/>
                  </a:lnTo>
                  <a:lnTo>
                    <a:pt x="26096" y="43800"/>
                  </a:lnTo>
                  <a:lnTo>
                    <a:pt x="19996" y="47908"/>
                  </a:lnTo>
                  <a:lnTo>
                    <a:pt x="12534" y="49415"/>
                  </a:lnTo>
                  <a:lnTo>
                    <a:pt x="0" y="49415"/>
                  </a:lnTo>
                  <a:lnTo>
                    <a:pt x="0" y="60477"/>
                  </a:lnTo>
                  <a:lnTo>
                    <a:pt x="12534" y="60477"/>
                  </a:lnTo>
                  <a:lnTo>
                    <a:pt x="24296" y="58099"/>
                  </a:lnTo>
                  <a:lnTo>
                    <a:pt x="33913" y="51617"/>
                  </a:lnTo>
                  <a:lnTo>
                    <a:pt x="40404" y="42009"/>
                  </a:lnTo>
                  <a:lnTo>
                    <a:pt x="42786" y="30251"/>
                  </a:lnTo>
                  <a:lnTo>
                    <a:pt x="40404" y="18489"/>
                  </a:lnTo>
                  <a:lnTo>
                    <a:pt x="33913" y="8872"/>
                  </a:lnTo>
                  <a:lnTo>
                    <a:pt x="24296" y="2381"/>
                  </a:lnTo>
                  <a:lnTo>
                    <a:pt x="12534" y="0"/>
                  </a:lnTo>
                  <a:close/>
                </a:path>
              </a:pathLst>
            </a:custGeom>
            <a:solidFill>
              <a:srgbClr val="000000"/>
            </a:solidFill>
          </p:spPr>
          <p:txBody>
            <a:bodyPr wrap="square" lIns="0" tIns="0" rIns="0" bIns="0" rtlCol="0"/>
            <a:lstStyle/>
            <a:p>
              <a:endParaRPr sz="1796"/>
            </a:p>
          </p:txBody>
        </p:sp>
        <p:sp>
          <p:nvSpPr>
            <p:cNvPr id="145" name="bk object 35">
              <a:extLst>
                <a:ext uri="{FF2B5EF4-FFF2-40B4-BE49-F238E27FC236}">
                  <a16:creationId xmlns:a16="http://schemas.microsoft.com/office/drawing/2014/main" id="{FA05B0D2-2449-468D-9553-315F35AF5595}"/>
                </a:ext>
              </a:extLst>
            </p:cNvPr>
            <p:cNvSpPr/>
            <p:nvPr userDrawn="1"/>
          </p:nvSpPr>
          <p:spPr>
            <a:xfrm>
              <a:off x="1503992" y="4799529"/>
              <a:ext cx="43180" cy="60960"/>
            </a:xfrm>
            <a:custGeom>
              <a:avLst/>
              <a:gdLst/>
              <a:ahLst/>
              <a:cxnLst/>
              <a:rect l="l" t="t" r="r" b="b"/>
              <a:pathLst>
                <a:path w="43180" h="60960">
                  <a:moveTo>
                    <a:pt x="12534" y="0"/>
                  </a:moveTo>
                  <a:lnTo>
                    <a:pt x="0" y="0"/>
                  </a:lnTo>
                  <a:lnTo>
                    <a:pt x="0" y="11061"/>
                  </a:lnTo>
                  <a:lnTo>
                    <a:pt x="12534" y="11061"/>
                  </a:lnTo>
                  <a:lnTo>
                    <a:pt x="20001" y="12572"/>
                  </a:lnTo>
                  <a:lnTo>
                    <a:pt x="26101" y="16689"/>
                  </a:lnTo>
                  <a:lnTo>
                    <a:pt x="30215" y="22789"/>
                  </a:lnTo>
                  <a:lnTo>
                    <a:pt x="31724" y="30251"/>
                  </a:lnTo>
                  <a:lnTo>
                    <a:pt x="30215" y="37708"/>
                  </a:lnTo>
                  <a:lnTo>
                    <a:pt x="26101" y="43800"/>
                  </a:lnTo>
                  <a:lnTo>
                    <a:pt x="20001" y="47908"/>
                  </a:lnTo>
                  <a:lnTo>
                    <a:pt x="12534" y="49415"/>
                  </a:lnTo>
                  <a:lnTo>
                    <a:pt x="0" y="49415"/>
                  </a:lnTo>
                  <a:lnTo>
                    <a:pt x="0" y="60477"/>
                  </a:lnTo>
                  <a:lnTo>
                    <a:pt x="12534" y="60477"/>
                  </a:lnTo>
                  <a:lnTo>
                    <a:pt x="24307" y="58099"/>
                  </a:lnTo>
                  <a:lnTo>
                    <a:pt x="33923" y="51617"/>
                  </a:lnTo>
                  <a:lnTo>
                    <a:pt x="40408" y="42009"/>
                  </a:lnTo>
                  <a:lnTo>
                    <a:pt x="42786" y="30251"/>
                  </a:lnTo>
                  <a:lnTo>
                    <a:pt x="40408" y="18489"/>
                  </a:lnTo>
                  <a:lnTo>
                    <a:pt x="33923" y="8872"/>
                  </a:lnTo>
                  <a:lnTo>
                    <a:pt x="24307" y="2381"/>
                  </a:lnTo>
                  <a:lnTo>
                    <a:pt x="12534" y="0"/>
                  </a:lnTo>
                  <a:close/>
                </a:path>
              </a:pathLst>
            </a:custGeom>
            <a:solidFill>
              <a:srgbClr val="000000"/>
            </a:solidFill>
          </p:spPr>
          <p:txBody>
            <a:bodyPr wrap="square" lIns="0" tIns="0" rIns="0" bIns="0" rtlCol="0"/>
            <a:lstStyle/>
            <a:p>
              <a:endParaRPr sz="1796"/>
            </a:p>
          </p:txBody>
        </p:sp>
        <p:sp>
          <p:nvSpPr>
            <p:cNvPr id="146" name="bk object 36">
              <a:extLst>
                <a:ext uri="{FF2B5EF4-FFF2-40B4-BE49-F238E27FC236}">
                  <a16:creationId xmlns:a16="http://schemas.microsoft.com/office/drawing/2014/main" id="{7A9E9632-349C-4129-BC45-245D738C3813}"/>
                </a:ext>
              </a:extLst>
            </p:cNvPr>
            <p:cNvSpPr/>
            <p:nvPr userDrawn="1"/>
          </p:nvSpPr>
          <p:spPr>
            <a:xfrm>
              <a:off x="1894592" y="4799529"/>
              <a:ext cx="43180" cy="60960"/>
            </a:xfrm>
            <a:custGeom>
              <a:avLst/>
              <a:gdLst/>
              <a:ahLst/>
              <a:cxnLst/>
              <a:rect l="l" t="t" r="r" b="b"/>
              <a:pathLst>
                <a:path w="43180" h="60960">
                  <a:moveTo>
                    <a:pt x="12534" y="0"/>
                  </a:moveTo>
                  <a:lnTo>
                    <a:pt x="0" y="0"/>
                  </a:lnTo>
                  <a:lnTo>
                    <a:pt x="0" y="11061"/>
                  </a:lnTo>
                  <a:lnTo>
                    <a:pt x="12534" y="11061"/>
                  </a:lnTo>
                  <a:lnTo>
                    <a:pt x="20007" y="12572"/>
                  </a:lnTo>
                  <a:lnTo>
                    <a:pt x="26106" y="16689"/>
                  </a:lnTo>
                  <a:lnTo>
                    <a:pt x="30217" y="22789"/>
                  </a:lnTo>
                  <a:lnTo>
                    <a:pt x="31724" y="30251"/>
                  </a:lnTo>
                  <a:lnTo>
                    <a:pt x="30217" y="37708"/>
                  </a:lnTo>
                  <a:lnTo>
                    <a:pt x="26106" y="43800"/>
                  </a:lnTo>
                  <a:lnTo>
                    <a:pt x="20007" y="47908"/>
                  </a:lnTo>
                  <a:lnTo>
                    <a:pt x="12534" y="49415"/>
                  </a:lnTo>
                  <a:lnTo>
                    <a:pt x="0" y="49415"/>
                  </a:lnTo>
                  <a:lnTo>
                    <a:pt x="0" y="60477"/>
                  </a:lnTo>
                  <a:lnTo>
                    <a:pt x="12534" y="60477"/>
                  </a:lnTo>
                  <a:lnTo>
                    <a:pt x="24307" y="58099"/>
                  </a:lnTo>
                  <a:lnTo>
                    <a:pt x="33923" y="51617"/>
                  </a:lnTo>
                  <a:lnTo>
                    <a:pt x="40408" y="42009"/>
                  </a:lnTo>
                  <a:lnTo>
                    <a:pt x="42786" y="30251"/>
                  </a:lnTo>
                  <a:lnTo>
                    <a:pt x="40408" y="18489"/>
                  </a:lnTo>
                  <a:lnTo>
                    <a:pt x="33923" y="8872"/>
                  </a:lnTo>
                  <a:lnTo>
                    <a:pt x="24307" y="2381"/>
                  </a:lnTo>
                  <a:lnTo>
                    <a:pt x="12534" y="0"/>
                  </a:lnTo>
                  <a:close/>
                </a:path>
              </a:pathLst>
            </a:custGeom>
            <a:solidFill>
              <a:srgbClr val="000000"/>
            </a:solidFill>
          </p:spPr>
          <p:txBody>
            <a:bodyPr wrap="square" lIns="0" tIns="0" rIns="0" bIns="0" rtlCol="0"/>
            <a:lstStyle/>
            <a:p>
              <a:endParaRPr sz="1796"/>
            </a:p>
          </p:txBody>
        </p:sp>
        <p:sp>
          <p:nvSpPr>
            <p:cNvPr id="147" name="bk object 37">
              <a:extLst>
                <a:ext uri="{FF2B5EF4-FFF2-40B4-BE49-F238E27FC236}">
                  <a16:creationId xmlns:a16="http://schemas.microsoft.com/office/drawing/2014/main" id="{D086524F-2396-4CB4-923C-9AFEB34EEAC7}"/>
                </a:ext>
              </a:extLst>
            </p:cNvPr>
            <p:cNvSpPr/>
            <p:nvPr userDrawn="1"/>
          </p:nvSpPr>
          <p:spPr>
            <a:xfrm>
              <a:off x="2285197" y="4799529"/>
              <a:ext cx="43180" cy="60960"/>
            </a:xfrm>
            <a:custGeom>
              <a:avLst/>
              <a:gdLst/>
              <a:ahLst/>
              <a:cxnLst/>
              <a:rect l="l" t="t" r="r" b="b"/>
              <a:pathLst>
                <a:path w="43180" h="60960">
                  <a:moveTo>
                    <a:pt x="12534" y="0"/>
                  </a:moveTo>
                  <a:lnTo>
                    <a:pt x="0" y="0"/>
                  </a:lnTo>
                  <a:lnTo>
                    <a:pt x="0" y="11061"/>
                  </a:lnTo>
                  <a:lnTo>
                    <a:pt x="12534" y="11061"/>
                  </a:lnTo>
                  <a:lnTo>
                    <a:pt x="20001" y="12572"/>
                  </a:lnTo>
                  <a:lnTo>
                    <a:pt x="26101" y="16689"/>
                  </a:lnTo>
                  <a:lnTo>
                    <a:pt x="30215" y="22789"/>
                  </a:lnTo>
                  <a:lnTo>
                    <a:pt x="31724" y="30251"/>
                  </a:lnTo>
                  <a:lnTo>
                    <a:pt x="30215" y="37708"/>
                  </a:lnTo>
                  <a:lnTo>
                    <a:pt x="26101" y="43800"/>
                  </a:lnTo>
                  <a:lnTo>
                    <a:pt x="20001" y="47908"/>
                  </a:lnTo>
                  <a:lnTo>
                    <a:pt x="12534" y="49415"/>
                  </a:lnTo>
                  <a:lnTo>
                    <a:pt x="0" y="49415"/>
                  </a:lnTo>
                  <a:lnTo>
                    <a:pt x="0" y="60477"/>
                  </a:lnTo>
                  <a:lnTo>
                    <a:pt x="12534" y="60477"/>
                  </a:lnTo>
                  <a:lnTo>
                    <a:pt x="24311" y="58099"/>
                  </a:lnTo>
                  <a:lnTo>
                    <a:pt x="33935" y="51617"/>
                  </a:lnTo>
                  <a:lnTo>
                    <a:pt x="40429" y="42009"/>
                  </a:lnTo>
                  <a:lnTo>
                    <a:pt x="42811" y="30251"/>
                  </a:lnTo>
                  <a:lnTo>
                    <a:pt x="40429" y="18489"/>
                  </a:lnTo>
                  <a:lnTo>
                    <a:pt x="33935" y="8872"/>
                  </a:lnTo>
                  <a:lnTo>
                    <a:pt x="24311" y="2381"/>
                  </a:lnTo>
                  <a:lnTo>
                    <a:pt x="12534" y="0"/>
                  </a:lnTo>
                  <a:close/>
                </a:path>
              </a:pathLst>
            </a:custGeom>
            <a:solidFill>
              <a:srgbClr val="919396"/>
            </a:solidFill>
          </p:spPr>
          <p:txBody>
            <a:bodyPr wrap="square" lIns="0" tIns="0" rIns="0" bIns="0" rtlCol="0"/>
            <a:lstStyle/>
            <a:p>
              <a:endParaRPr sz="1796"/>
            </a:p>
          </p:txBody>
        </p:sp>
        <p:sp>
          <p:nvSpPr>
            <p:cNvPr id="148" name="bk object 38">
              <a:extLst>
                <a:ext uri="{FF2B5EF4-FFF2-40B4-BE49-F238E27FC236}">
                  <a16:creationId xmlns:a16="http://schemas.microsoft.com/office/drawing/2014/main" id="{42FE12D4-07A6-4D7E-B165-AB7C2B50E773}"/>
                </a:ext>
              </a:extLst>
            </p:cNvPr>
            <p:cNvSpPr/>
            <p:nvPr userDrawn="1"/>
          </p:nvSpPr>
          <p:spPr>
            <a:xfrm>
              <a:off x="2675802" y="4799529"/>
              <a:ext cx="43180" cy="60960"/>
            </a:xfrm>
            <a:custGeom>
              <a:avLst/>
              <a:gdLst/>
              <a:ahLst/>
              <a:cxnLst/>
              <a:rect l="l" t="t" r="r" b="b"/>
              <a:pathLst>
                <a:path w="43180" h="60960">
                  <a:moveTo>
                    <a:pt x="12560" y="0"/>
                  </a:moveTo>
                  <a:lnTo>
                    <a:pt x="0" y="0"/>
                  </a:lnTo>
                  <a:lnTo>
                    <a:pt x="0" y="11061"/>
                  </a:lnTo>
                  <a:lnTo>
                    <a:pt x="12560" y="11061"/>
                  </a:lnTo>
                  <a:lnTo>
                    <a:pt x="20021" y="12572"/>
                  </a:lnTo>
                  <a:lnTo>
                    <a:pt x="26122" y="16689"/>
                  </a:lnTo>
                  <a:lnTo>
                    <a:pt x="30239" y="22789"/>
                  </a:lnTo>
                  <a:lnTo>
                    <a:pt x="31750" y="30251"/>
                  </a:lnTo>
                  <a:lnTo>
                    <a:pt x="30239" y="37708"/>
                  </a:lnTo>
                  <a:lnTo>
                    <a:pt x="26122" y="43800"/>
                  </a:lnTo>
                  <a:lnTo>
                    <a:pt x="20021" y="47908"/>
                  </a:lnTo>
                  <a:lnTo>
                    <a:pt x="12560" y="49415"/>
                  </a:lnTo>
                  <a:lnTo>
                    <a:pt x="0" y="49415"/>
                  </a:lnTo>
                  <a:lnTo>
                    <a:pt x="0" y="60477"/>
                  </a:lnTo>
                  <a:lnTo>
                    <a:pt x="12560" y="60477"/>
                  </a:lnTo>
                  <a:lnTo>
                    <a:pt x="24321" y="58099"/>
                  </a:lnTo>
                  <a:lnTo>
                    <a:pt x="33939" y="51617"/>
                  </a:lnTo>
                  <a:lnTo>
                    <a:pt x="40429" y="42009"/>
                  </a:lnTo>
                  <a:lnTo>
                    <a:pt x="42811" y="30251"/>
                  </a:lnTo>
                  <a:lnTo>
                    <a:pt x="40429" y="18489"/>
                  </a:lnTo>
                  <a:lnTo>
                    <a:pt x="33939" y="8872"/>
                  </a:lnTo>
                  <a:lnTo>
                    <a:pt x="24321" y="2381"/>
                  </a:lnTo>
                  <a:lnTo>
                    <a:pt x="12560" y="0"/>
                  </a:lnTo>
                  <a:close/>
                </a:path>
              </a:pathLst>
            </a:custGeom>
            <a:solidFill>
              <a:srgbClr val="919396"/>
            </a:solidFill>
          </p:spPr>
          <p:txBody>
            <a:bodyPr wrap="square" lIns="0" tIns="0" rIns="0" bIns="0" rtlCol="0"/>
            <a:lstStyle/>
            <a:p>
              <a:endParaRPr sz="1796"/>
            </a:p>
          </p:txBody>
        </p:sp>
        <p:sp>
          <p:nvSpPr>
            <p:cNvPr id="149" name="bk object 39">
              <a:extLst>
                <a:ext uri="{FF2B5EF4-FFF2-40B4-BE49-F238E27FC236}">
                  <a16:creationId xmlns:a16="http://schemas.microsoft.com/office/drawing/2014/main" id="{D89B697D-9110-4617-847B-28CA426EC169}"/>
                </a:ext>
              </a:extLst>
            </p:cNvPr>
            <p:cNvSpPr/>
            <p:nvPr userDrawn="1"/>
          </p:nvSpPr>
          <p:spPr>
            <a:xfrm>
              <a:off x="3066427" y="4799529"/>
              <a:ext cx="43180" cy="60960"/>
            </a:xfrm>
            <a:custGeom>
              <a:avLst/>
              <a:gdLst/>
              <a:ahLst/>
              <a:cxnLst/>
              <a:rect l="l" t="t" r="r" b="b"/>
              <a:pathLst>
                <a:path w="43180" h="60960">
                  <a:moveTo>
                    <a:pt x="12534" y="0"/>
                  </a:moveTo>
                  <a:lnTo>
                    <a:pt x="0" y="0"/>
                  </a:lnTo>
                  <a:lnTo>
                    <a:pt x="0" y="11061"/>
                  </a:lnTo>
                  <a:lnTo>
                    <a:pt x="12534" y="11061"/>
                  </a:lnTo>
                  <a:lnTo>
                    <a:pt x="19996" y="12572"/>
                  </a:lnTo>
                  <a:lnTo>
                    <a:pt x="26096" y="16689"/>
                  </a:lnTo>
                  <a:lnTo>
                    <a:pt x="30213" y="22789"/>
                  </a:lnTo>
                  <a:lnTo>
                    <a:pt x="31724" y="30251"/>
                  </a:lnTo>
                  <a:lnTo>
                    <a:pt x="30213" y="37708"/>
                  </a:lnTo>
                  <a:lnTo>
                    <a:pt x="26096" y="43800"/>
                  </a:lnTo>
                  <a:lnTo>
                    <a:pt x="19996" y="47908"/>
                  </a:lnTo>
                  <a:lnTo>
                    <a:pt x="12534" y="49415"/>
                  </a:lnTo>
                  <a:lnTo>
                    <a:pt x="0" y="49415"/>
                  </a:lnTo>
                  <a:lnTo>
                    <a:pt x="0" y="60477"/>
                  </a:lnTo>
                  <a:lnTo>
                    <a:pt x="12534" y="60477"/>
                  </a:lnTo>
                  <a:lnTo>
                    <a:pt x="24296" y="58099"/>
                  </a:lnTo>
                  <a:lnTo>
                    <a:pt x="33913" y="51617"/>
                  </a:lnTo>
                  <a:lnTo>
                    <a:pt x="40404" y="42009"/>
                  </a:lnTo>
                  <a:lnTo>
                    <a:pt x="42786" y="30251"/>
                  </a:lnTo>
                  <a:lnTo>
                    <a:pt x="40404" y="18489"/>
                  </a:lnTo>
                  <a:lnTo>
                    <a:pt x="33913" y="8872"/>
                  </a:lnTo>
                  <a:lnTo>
                    <a:pt x="24296" y="2381"/>
                  </a:lnTo>
                  <a:lnTo>
                    <a:pt x="12534" y="0"/>
                  </a:lnTo>
                  <a:close/>
                </a:path>
              </a:pathLst>
            </a:custGeom>
            <a:solidFill>
              <a:srgbClr val="919396"/>
            </a:solidFill>
          </p:spPr>
          <p:txBody>
            <a:bodyPr wrap="square" lIns="0" tIns="0" rIns="0" bIns="0" rtlCol="0"/>
            <a:lstStyle/>
            <a:p>
              <a:endParaRPr sz="1796"/>
            </a:p>
          </p:txBody>
        </p:sp>
        <p:sp>
          <p:nvSpPr>
            <p:cNvPr id="150" name="bk object 40">
              <a:extLst>
                <a:ext uri="{FF2B5EF4-FFF2-40B4-BE49-F238E27FC236}">
                  <a16:creationId xmlns:a16="http://schemas.microsoft.com/office/drawing/2014/main" id="{0965255D-0BA3-477C-8092-504E2B1DEE1B}"/>
                </a:ext>
              </a:extLst>
            </p:cNvPr>
            <p:cNvSpPr/>
            <p:nvPr userDrawn="1"/>
          </p:nvSpPr>
          <p:spPr>
            <a:xfrm>
              <a:off x="3457032" y="4799529"/>
              <a:ext cx="43180" cy="60960"/>
            </a:xfrm>
            <a:custGeom>
              <a:avLst/>
              <a:gdLst/>
              <a:ahLst/>
              <a:cxnLst/>
              <a:rect l="l" t="t" r="r" b="b"/>
              <a:pathLst>
                <a:path w="43179" h="60960">
                  <a:moveTo>
                    <a:pt x="12534" y="0"/>
                  </a:moveTo>
                  <a:lnTo>
                    <a:pt x="0" y="0"/>
                  </a:lnTo>
                  <a:lnTo>
                    <a:pt x="0" y="11061"/>
                  </a:lnTo>
                  <a:lnTo>
                    <a:pt x="12534" y="11061"/>
                  </a:lnTo>
                  <a:lnTo>
                    <a:pt x="20007" y="12572"/>
                  </a:lnTo>
                  <a:lnTo>
                    <a:pt x="26106" y="16689"/>
                  </a:lnTo>
                  <a:lnTo>
                    <a:pt x="30217" y="22789"/>
                  </a:lnTo>
                  <a:lnTo>
                    <a:pt x="31724" y="30251"/>
                  </a:lnTo>
                  <a:lnTo>
                    <a:pt x="30217" y="37708"/>
                  </a:lnTo>
                  <a:lnTo>
                    <a:pt x="26106" y="43800"/>
                  </a:lnTo>
                  <a:lnTo>
                    <a:pt x="20007" y="47908"/>
                  </a:lnTo>
                  <a:lnTo>
                    <a:pt x="12534" y="49415"/>
                  </a:lnTo>
                  <a:lnTo>
                    <a:pt x="0" y="49415"/>
                  </a:lnTo>
                  <a:lnTo>
                    <a:pt x="0" y="60477"/>
                  </a:lnTo>
                  <a:lnTo>
                    <a:pt x="12534" y="60477"/>
                  </a:lnTo>
                  <a:lnTo>
                    <a:pt x="24307" y="58099"/>
                  </a:lnTo>
                  <a:lnTo>
                    <a:pt x="33923" y="51617"/>
                  </a:lnTo>
                  <a:lnTo>
                    <a:pt x="40408" y="42009"/>
                  </a:lnTo>
                  <a:lnTo>
                    <a:pt x="42786" y="30251"/>
                  </a:lnTo>
                  <a:lnTo>
                    <a:pt x="40408" y="18489"/>
                  </a:lnTo>
                  <a:lnTo>
                    <a:pt x="33923" y="8872"/>
                  </a:lnTo>
                  <a:lnTo>
                    <a:pt x="24307" y="2381"/>
                  </a:lnTo>
                  <a:lnTo>
                    <a:pt x="12534" y="0"/>
                  </a:lnTo>
                  <a:close/>
                </a:path>
              </a:pathLst>
            </a:custGeom>
            <a:solidFill>
              <a:srgbClr val="919396"/>
            </a:solidFill>
          </p:spPr>
          <p:txBody>
            <a:bodyPr wrap="square" lIns="0" tIns="0" rIns="0" bIns="0" rtlCol="0"/>
            <a:lstStyle/>
            <a:p>
              <a:endParaRPr sz="1796"/>
            </a:p>
          </p:txBody>
        </p:sp>
        <p:sp>
          <p:nvSpPr>
            <p:cNvPr id="151" name="bk object 41">
              <a:extLst>
                <a:ext uri="{FF2B5EF4-FFF2-40B4-BE49-F238E27FC236}">
                  <a16:creationId xmlns:a16="http://schemas.microsoft.com/office/drawing/2014/main" id="{8506E80E-3CFA-4131-93D0-70FA99F865B3}"/>
                </a:ext>
              </a:extLst>
            </p:cNvPr>
            <p:cNvSpPr/>
            <p:nvPr userDrawn="1"/>
          </p:nvSpPr>
          <p:spPr>
            <a:xfrm>
              <a:off x="3847639" y="4799529"/>
              <a:ext cx="43180" cy="60960"/>
            </a:xfrm>
            <a:custGeom>
              <a:avLst/>
              <a:gdLst/>
              <a:ahLst/>
              <a:cxnLst/>
              <a:rect l="l" t="t" r="r" b="b"/>
              <a:pathLst>
                <a:path w="43179" h="60960">
                  <a:moveTo>
                    <a:pt x="12534" y="0"/>
                  </a:moveTo>
                  <a:lnTo>
                    <a:pt x="0" y="0"/>
                  </a:lnTo>
                  <a:lnTo>
                    <a:pt x="0" y="11061"/>
                  </a:lnTo>
                  <a:lnTo>
                    <a:pt x="12534" y="11061"/>
                  </a:lnTo>
                  <a:lnTo>
                    <a:pt x="20001" y="12572"/>
                  </a:lnTo>
                  <a:lnTo>
                    <a:pt x="26101" y="16689"/>
                  </a:lnTo>
                  <a:lnTo>
                    <a:pt x="30215" y="22789"/>
                  </a:lnTo>
                  <a:lnTo>
                    <a:pt x="31724" y="30251"/>
                  </a:lnTo>
                  <a:lnTo>
                    <a:pt x="30215" y="37708"/>
                  </a:lnTo>
                  <a:lnTo>
                    <a:pt x="26101" y="43800"/>
                  </a:lnTo>
                  <a:lnTo>
                    <a:pt x="20001" y="47908"/>
                  </a:lnTo>
                  <a:lnTo>
                    <a:pt x="12534" y="49415"/>
                  </a:lnTo>
                  <a:lnTo>
                    <a:pt x="0" y="49415"/>
                  </a:lnTo>
                  <a:lnTo>
                    <a:pt x="0" y="60477"/>
                  </a:lnTo>
                  <a:lnTo>
                    <a:pt x="12534" y="60477"/>
                  </a:lnTo>
                  <a:lnTo>
                    <a:pt x="24307" y="58099"/>
                  </a:lnTo>
                  <a:lnTo>
                    <a:pt x="33923" y="51617"/>
                  </a:lnTo>
                  <a:lnTo>
                    <a:pt x="40408" y="42009"/>
                  </a:lnTo>
                  <a:lnTo>
                    <a:pt x="42786" y="30251"/>
                  </a:lnTo>
                  <a:lnTo>
                    <a:pt x="40408" y="18489"/>
                  </a:lnTo>
                  <a:lnTo>
                    <a:pt x="33923" y="8872"/>
                  </a:lnTo>
                  <a:lnTo>
                    <a:pt x="24307" y="2381"/>
                  </a:lnTo>
                  <a:lnTo>
                    <a:pt x="12534" y="0"/>
                  </a:lnTo>
                  <a:close/>
                </a:path>
              </a:pathLst>
            </a:custGeom>
            <a:solidFill>
              <a:srgbClr val="919396"/>
            </a:solidFill>
          </p:spPr>
          <p:txBody>
            <a:bodyPr wrap="square" lIns="0" tIns="0" rIns="0" bIns="0" rtlCol="0"/>
            <a:lstStyle/>
            <a:p>
              <a:endParaRPr sz="1796"/>
            </a:p>
          </p:txBody>
        </p:sp>
        <p:sp>
          <p:nvSpPr>
            <p:cNvPr id="152" name="bk object 42">
              <a:extLst>
                <a:ext uri="{FF2B5EF4-FFF2-40B4-BE49-F238E27FC236}">
                  <a16:creationId xmlns:a16="http://schemas.microsoft.com/office/drawing/2014/main" id="{A606C512-BBB8-4358-A8D4-CEAC4FEFA3BE}"/>
                </a:ext>
              </a:extLst>
            </p:cNvPr>
            <p:cNvSpPr/>
            <p:nvPr userDrawn="1"/>
          </p:nvSpPr>
          <p:spPr>
            <a:xfrm>
              <a:off x="4238244" y="4799529"/>
              <a:ext cx="43180" cy="60960"/>
            </a:xfrm>
            <a:custGeom>
              <a:avLst/>
              <a:gdLst/>
              <a:ahLst/>
              <a:cxnLst/>
              <a:rect l="l" t="t" r="r" b="b"/>
              <a:pathLst>
                <a:path w="43179" h="60960">
                  <a:moveTo>
                    <a:pt x="12560" y="0"/>
                  </a:moveTo>
                  <a:lnTo>
                    <a:pt x="0" y="0"/>
                  </a:lnTo>
                  <a:lnTo>
                    <a:pt x="0" y="11061"/>
                  </a:lnTo>
                  <a:lnTo>
                    <a:pt x="12560" y="11061"/>
                  </a:lnTo>
                  <a:lnTo>
                    <a:pt x="20021" y="12572"/>
                  </a:lnTo>
                  <a:lnTo>
                    <a:pt x="26122" y="16689"/>
                  </a:lnTo>
                  <a:lnTo>
                    <a:pt x="30239" y="22789"/>
                  </a:lnTo>
                  <a:lnTo>
                    <a:pt x="31749" y="30251"/>
                  </a:lnTo>
                  <a:lnTo>
                    <a:pt x="30239" y="37708"/>
                  </a:lnTo>
                  <a:lnTo>
                    <a:pt x="26122" y="43800"/>
                  </a:lnTo>
                  <a:lnTo>
                    <a:pt x="20021" y="47908"/>
                  </a:lnTo>
                  <a:lnTo>
                    <a:pt x="12560" y="49415"/>
                  </a:lnTo>
                  <a:lnTo>
                    <a:pt x="0" y="49415"/>
                  </a:lnTo>
                  <a:lnTo>
                    <a:pt x="0" y="60477"/>
                  </a:lnTo>
                  <a:lnTo>
                    <a:pt x="12560" y="60477"/>
                  </a:lnTo>
                  <a:lnTo>
                    <a:pt x="24316" y="58099"/>
                  </a:lnTo>
                  <a:lnTo>
                    <a:pt x="33934" y="51617"/>
                  </a:lnTo>
                  <a:lnTo>
                    <a:pt x="40428" y="42009"/>
                  </a:lnTo>
                  <a:lnTo>
                    <a:pt x="42811" y="30251"/>
                  </a:lnTo>
                  <a:lnTo>
                    <a:pt x="40428" y="18489"/>
                  </a:lnTo>
                  <a:lnTo>
                    <a:pt x="33934" y="8872"/>
                  </a:lnTo>
                  <a:lnTo>
                    <a:pt x="24316" y="2381"/>
                  </a:lnTo>
                  <a:lnTo>
                    <a:pt x="12560" y="0"/>
                  </a:lnTo>
                  <a:close/>
                </a:path>
              </a:pathLst>
            </a:custGeom>
            <a:solidFill>
              <a:srgbClr val="919396"/>
            </a:solidFill>
          </p:spPr>
          <p:txBody>
            <a:bodyPr wrap="square" lIns="0" tIns="0" rIns="0" bIns="0" rtlCol="0"/>
            <a:lstStyle/>
            <a:p>
              <a:endParaRPr sz="1796"/>
            </a:p>
          </p:txBody>
        </p:sp>
        <p:sp>
          <p:nvSpPr>
            <p:cNvPr id="153" name="bk object 43">
              <a:extLst>
                <a:ext uri="{FF2B5EF4-FFF2-40B4-BE49-F238E27FC236}">
                  <a16:creationId xmlns:a16="http://schemas.microsoft.com/office/drawing/2014/main" id="{DD580B00-1B2D-4600-BCBE-1600E563BE36}"/>
                </a:ext>
              </a:extLst>
            </p:cNvPr>
            <p:cNvSpPr/>
            <p:nvPr userDrawn="1"/>
          </p:nvSpPr>
          <p:spPr>
            <a:xfrm>
              <a:off x="4628868" y="4799529"/>
              <a:ext cx="43180" cy="60960"/>
            </a:xfrm>
            <a:custGeom>
              <a:avLst/>
              <a:gdLst/>
              <a:ahLst/>
              <a:cxnLst/>
              <a:rect l="l" t="t" r="r" b="b"/>
              <a:pathLst>
                <a:path w="43179" h="60960">
                  <a:moveTo>
                    <a:pt x="12534" y="0"/>
                  </a:moveTo>
                  <a:lnTo>
                    <a:pt x="0" y="0"/>
                  </a:lnTo>
                  <a:lnTo>
                    <a:pt x="0" y="11061"/>
                  </a:lnTo>
                  <a:lnTo>
                    <a:pt x="12534" y="11061"/>
                  </a:lnTo>
                  <a:lnTo>
                    <a:pt x="19996" y="12572"/>
                  </a:lnTo>
                  <a:lnTo>
                    <a:pt x="26096" y="16689"/>
                  </a:lnTo>
                  <a:lnTo>
                    <a:pt x="30213" y="22789"/>
                  </a:lnTo>
                  <a:lnTo>
                    <a:pt x="31724" y="30251"/>
                  </a:lnTo>
                  <a:lnTo>
                    <a:pt x="30213" y="37708"/>
                  </a:lnTo>
                  <a:lnTo>
                    <a:pt x="26096" y="43800"/>
                  </a:lnTo>
                  <a:lnTo>
                    <a:pt x="19996" y="47908"/>
                  </a:lnTo>
                  <a:lnTo>
                    <a:pt x="12534" y="49415"/>
                  </a:lnTo>
                  <a:lnTo>
                    <a:pt x="0" y="49415"/>
                  </a:lnTo>
                  <a:lnTo>
                    <a:pt x="0" y="60477"/>
                  </a:lnTo>
                  <a:lnTo>
                    <a:pt x="12534" y="60477"/>
                  </a:lnTo>
                  <a:lnTo>
                    <a:pt x="24296" y="58099"/>
                  </a:lnTo>
                  <a:lnTo>
                    <a:pt x="33913" y="51617"/>
                  </a:lnTo>
                  <a:lnTo>
                    <a:pt x="40404" y="42009"/>
                  </a:lnTo>
                  <a:lnTo>
                    <a:pt x="42786" y="30251"/>
                  </a:lnTo>
                  <a:lnTo>
                    <a:pt x="40404" y="18489"/>
                  </a:lnTo>
                  <a:lnTo>
                    <a:pt x="33913" y="8872"/>
                  </a:lnTo>
                  <a:lnTo>
                    <a:pt x="24296" y="2381"/>
                  </a:lnTo>
                  <a:lnTo>
                    <a:pt x="12534" y="0"/>
                  </a:lnTo>
                  <a:close/>
                </a:path>
              </a:pathLst>
            </a:custGeom>
            <a:solidFill>
              <a:srgbClr val="919396"/>
            </a:solidFill>
          </p:spPr>
          <p:txBody>
            <a:bodyPr wrap="square" lIns="0" tIns="0" rIns="0" bIns="0" rtlCol="0"/>
            <a:lstStyle/>
            <a:p>
              <a:endParaRPr sz="1796"/>
            </a:p>
          </p:txBody>
        </p:sp>
        <p:sp>
          <p:nvSpPr>
            <p:cNvPr id="154" name="bk object 44">
              <a:extLst>
                <a:ext uri="{FF2B5EF4-FFF2-40B4-BE49-F238E27FC236}">
                  <a16:creationId xmlns:a16="http://schemas.microsoft.com/office/drawing/2014/main" id="{E053EF01-275C-43D9-95E5-E27D41F04B65}"/>
                </a:ext>
              </a:extLst>
            </p:cNvPr>
            <p:cNvSpPr/>
            <p:nvPr userDrawn="1"/>
          </p:nvSpPr>
          <p:spPr>
            <a:xfrm>
              <a:off x="5019474" y="4799529"/>
              <a:ext cx="43180" cy="60960"/>
            </a:xfrm>
            <a:custGeom>
              <a:avLst/>
              <a:gdLst/>
              <a:ahLst/>
              <a:cxnLst/>
              <a:rect l="l" t="t" r="r" b="b"/>
              <a:pathLst>
                <a:path w="43179" h="60960">
                  <a:moveTo>
                    <a:pt x="12534" y="0"/>
                  </a:moveTo>
                  <a:lnTo>
                    <a:pt x="0" y="0"/>
                  </a:lnTo>
                  <a:lnTo>
                    <a:pt x="0" y="11061"/>
                  </a:lnTo>
                  <a:lnTo>
                    <a:pt x="12534" y="11061"/>
                  </a:lnTo>
                  <a:lnTo>
                    <a:pt x="20001" y="12572"/>
                  </a:lnTo>
                  <a:lnTo>
                    <a:pt x="26101" y="16689"/>
                  </a:lnTo>
                  <a:lnTo>
                    <a:pt x="30215" y="22789"/>
                  </a:lnTo>
                  <a:lnTo>
                    <a:pt x="31724" y="30251"/>
                  </a:lnTo>
                  <a:lnTo>
                    <a:pt x="30215" y="37708"/>
                  </a:lnTo>
                  <a:lnTo>
                    <a:pt x="26101" y="43800"/>
                  </a:lnTo>
                  <a:lnTo>
                    <a:pt x="20001" y="47908"/>
                  </a:lnTo>
                  <a:lnTo>
                    <a:pt x="12534" y="49415"/>
                  </a:lnTo>
                  <a:lnTo>
                    <a:pt x="0" y="49415"/>
                  </a:lnTo>
                  <a:lnTo>
                    <a:pt x="0" y="60477"/>
                  </a:lnTo>
                  <a:lnTo>
                    <a:pt x="12534" y="60477"/>
                  </a:lnTo>
                  <a:lnTo>
                    <a:pt x="24296" y="58099"/>
                  </a:lnTo>
                  <a:lnTo>
                    <a:pt x="33913" y="51617"/>
                  </a:lnTo>
                  <a:lnTo>
                    <a:pt x="40404" y="42009"/>
                  </a:lnTo>
                  <a:lnTo>
                    <a:pt x="42786" y="30251"/>
                  </a:lnTo>
                  <a:lnTo>
                    <a:pt x="40404" y="18489"/>
                  </a:lnTo>
                  <a:lnTo>
                    <a:pt x="33913" y="8872"/>
                  </a:lnTo>
                  <a:lnTo>
                    <a:pt x="24296" y="2381"/>
                  </a:lnTo>
                  <a:lnTo>
                    <a:pt x="12534" y="0"/>
                  </a:lnTo>
                  <a:close/>
                </a:path>
              </a:pathLst>
            </a:custGeom>
            <a:solidFill>
              <a:srgbClr val="919396"/>
            </a:solidFill>
          </p:spPr>
          <p:txBody>
            <a:bodyPr wrap="square" lIns="0" tIns="0" rIns="0" bIns="0" rtlCol="0"/>
            <a:lstStyle/>
            <a:p>
              <a:endParaRPr sz="1796"/>
            </a:p>
          </p:txBody>
        </p:sp>
        <p:sp>
          <p:nvSpPr>
            <p:cNvPr id="155" name="bk object 21">
              <a:extLst>
                <a:ext uri="{FF2B5EF4-FFF2-40B4-BE49-F238E27FC236}">
                  <a16:creationId xmlns:a16="http://schemas.microsoft.com/office/drawing/2014/main" id="{C2EFA1F0-DDAB-4112-BA27-C980677CA9D7}"/>
                </a:ext>
              </a:extLst>
            </p:cNvPr>
            <p:cNvSpPr/>
            <p:nvPr userDrawn="1"/>
          </p:nvSpPr>
          <p:spPr>
            <a:xfrm>
              <a:off x="6191296" y="4410534"/>
              <a:ext cx="43180" cy="60960"/>
            </a:xfrm>
            <a:custGeom>
              <a:avLst/>
              <a:gdLst/>
              <a:ahLst/>
              <a:cxnLst/>
              <a:rect l="l" t="t" r="r" b="b"/>
              <a:pathLst>
                <a:path w="43179" h="60960">
                  <a:moveTo>
                    <a:pt x="42786" y="0"/>
                  </a:moveTo>
                  <a:lnTo>
                    <a:pt x="30251" y="0"/>
                  </a:lnTo>
                  <a:lnTo>
                    <a:pt x="18489" y="2377"/>
                  </a:lnTo>
                  <a:lnTo>
                    <a:pt x="8872" y="8859"/>
                  </a:lnTo>
                  <a:lnTo>
                    <a:pt x="2381" y="18468"/>
                  </a:lnTo>
                  <a:lnTo>
                    <a:pt x="0" y="30226"/>
                  </a:lnTo>
                  <a:lnTo>
                    <a:pt x="2381" y="41987"/>
                  </a:lnTo>
                  <a:lnTo>
                    <a:pt x="8872" y="51604"/>
                  </a:lnTo>
                  <a:lnTo>
                    <a:pt x="18489" y="58095"/>
                  </a:lnTo>
                  <a:lnTo>
                    <a:pt x="30251" y="60477"/>
                  </a:lnTo>
                  <a:lnTo>
                    <a:pt x="42786" y="60477"/>
                  </a:lnTo>
                  <a:lnTo>
                    <a:pt x="42786" y="49415"/>
                  </a:lnTo>
                  <a:lnTo>
                    <a:pt x="30251" y="49415"/>
                  </a:lnTo>
                  <a:lnTo>
                    <a:pt x="22789" y="47904"/>
                  </a:lnTo>
                  <a:lnTo>
                    <a:pt x="16689" y="43788"/>
                  </a:lnTo>
                  <a:lnTo>
                    <a:pt x="12572" y="37687"/>
                  </a:lnTo>
                  <a:lnTo>
                    <a:pt x="11061" y="30226"/>
                  </a:lnTo>
                  <a:lnTo>
                    <a:pt x="12572" y="22768"/>
                  </a:lnTo>
                  <a:lnTo>
                    <a:pt x="16689" y="16676"/>
                  </a:lnTo>
                  <a:lnTo>
                    <a:pt x="22789" y="12568"/>
                  </a:lnTo>
                  <a:lnTo>
                    <a:pt x="30251" y="11061"/>
                  </a:lnTo>
                  <a:lnTo>
                    <a:pt x="42786" y="11061"/>
                  </a:lnTo>
                  <a:lnTo>
                    <a:pt x="42786" y="0"/>
                  </a:lnTo>
                  <a:close/>
                </a:path>
              </a:pathLst>
            </a:custGeom>
            <a:solidFill>
              <a:srgbClr val="919396"/>
            </a:solidFill>
          </p:spPr>
          <p:txBody>
            <a:bodyPr wrap="square" lIns="0" tIns="0" rIns="0" bIns="0" rtlCol="0"/>
            <a:lstStyle/>
            <a:p>
              <a:endParaRPr sz="1796"/>
            </a:p>
          </p:txBody>
        </p:sp>
        <p:sp>
          <p:nvSpPr>
            <p:cNvPr id="156" name="bk object 22">
              <a:extLst>
                <a:ext uri="{FF2B5EF4-FFF2-40B4-BE49-F238E27FC236}">
                  <a16:creationId xmlns:a16="http://schemas.microsoft.com/office/drawing/2014/main" id="{72F557CA-B8BA-48B0-B474-55392A0E912D}"/>
                </a:ext>
              </a:extLst>
            </p:cNvPr>
            <p:cNvSpPr/>
            <p:nvPr userDrawn="1"/>
          </p:nvSpPr>
          <p:spPr>
            <a:xfrm>
              <a:off x="5800698" y="4410534"/>
              <a:ext cx="43180" cy="60960"/>
            </a:xfrm>
            <a:custGeom>
              <a:avLst/>
              <a:gdLst/>
              <a:ahLst/>
              <a:cxnLst/>
              <a:rect l="l" t="t" r="r" b="b"/>
              <a:pathLst>
                <a:path w="43179" h="60960">
                  <a:moveTo>
                    <a:pt x="42786" y="0"/>
                  </a:moveTo>
                  <a:lnTo>
                    <a:pt x="30251" y="0"/>
                  </a:lnTo>
                  <a:lnTo>
                    <a:pt x="18479" y="2377"/>
                  </a:lnTo>
                  <a:lnTo>
                    <a:pt x="8863" y="8859"/>
                  </a:lnTo>
                  <a:lnTo>
                    <a:pt x="2378" y="18468"/>
                  </a:lnTo>
                  <a:lnTo>
                    <a:pt x="0" y="30226"/>
                  </a:lnTo>
                  <a:lnTo>
                    <a:pt x="2378" y="41987"/>
                  </a:lnTo>
                  <a:lnTo>
                    <a:pt x="8863" y="51604"/>
                  </a:lnTo>
                  <a:lnTo>
                    <a:pt x="18479" y="58095"/>
                  </a:lnTo>
                  <a:lnTo>
                    <a:pt x="30251" y="60477"/>
                  </a:lnTo>
                  <a:lnTo>
                    <a:pt x="42786" y="60477"/>
                  </a:lnTo>
                  <a:lnTo>
                    <a:pt x="42786" y="49415"/>
                  </a:lnTo>
                  <a:lnTo>
                    <a:pt x="30251" y="49415"/>
                  </a:lnTo>
                  <a:lnTo>
                    <a:pt x="22777" y="47904"/>
                  </a:lnTo>
                  <a:lnTo>
                    <a:pt x="16673" y="43788"/>
                  </a:lnTo>
                  <a:lnTo>
                    <a:pt x="12558" y="37687"/>
                  </a:lnTo>
                  <a:lnTo>
                    <a:pt x="11048" y="30226"/>
                  </a:lnTo>
                  <a:lnTo>
                    <a:pt x="12558" y="22768"/>
                  </a:lnTo>
                  <a:lnTo>
                    <a:pt x="16673" y="16676"/>
                  </a:lnTo>
                  <a:lnTo>
                    <a:pt x="22777" y="12568"/>
                  </a:lnTo>
                  <a:lnTo>
                    <a:pt x="30251" y="11061"/>
                  </a:lnTo>
                  <a:lnTo>
                    <a:pt x="42786" y="11061"/>
                  </a:lnTo>
                  <a:lnTo>
                    <a:pt x="42786" y="0"/>
                  </a:lnTo>
                  <a:close/>
                </a:path>
              </a:pathLst>
            </a:custGeom>
            <a:solidFill>
              <a:srgbClr val="919396"/>
            </a:solidFill>
          </p:spPr>
          <p:txBody>
            <a:bodyPr wrap="square" lIns="0" tIns="0" rIns="0" bIns="0" rtlCol="0"/>
            <a:lstStyle/>
            <a:p>
              <a:endParaRPr sz="1796"/>
            </a:p>
          </p:txBody>
        </p:sp>
        <p:sp>
          <p:nvSpPr>
            <p:cNvPr id="157" name="bk object 23">
              <a:extLst>
                <a:ext uri="{FF2B5EF4-FFF2-40B4-BE49-F238E27FC236}">
                  <a16:creationId xmlns:a16="http://schemas.microsoft.com/office/drawing/2014/main" id="{952E5043-56FF-421C-B846-14C84E8D3A0D}"/>
                </a:ext>
              </a:extLst>
            </p:cNvPr>
            <p:cNvSpPr/>
            <p:nvPr userDrawn="1"/>
          </p:nvSpPr>
          <p:spPr>
            <a:xfrm>
              <a:off x="5410066" y="4410534"/>
              <a:ext cx="43180" cy="60960"/>
            </a:xfrm>
            <a:custGeom>
              <a:avLst/>
              <a:gdLst/>
              <a:ahLst/>
              <a:cxnLst/>
              <a:rect l="l" t="t" r="r" b="b"/>
              <a:pathLst>
                <a:path w="43179" h="60960">
                  <a:moveTo>
                    <a:pt x="42811" y="0"/>
                  </a:moveTo>
                  <a:lnTo>
                    <a:pt x="30276" y="0"/>
                  </a:lnTo>
                  <a:lnTo>
                    <a:pt x="18500" y="2377"/>
                  </a:lnTo>
                  <a:lnTo>
                    <a:pt x="8875" y="8859"/>
                  </a:lnTo>
                  <a:lnTo>
                    <a:pt x="2382" y="18468"/>
                  </a:lnTo>
                  <a:lnTo>
                    <a:pt x="0" y="30226"/>
                  </a:lnTo>
                  <a:lnTo>
                    <a:pt x="2382" y="41987"/>
                  </a:lnTo>
                  <a:lnTo>
                    <a:pt x="8875" y="51604"/>
                  </a:lnTo>
                  <a:lnTo>
                    <a:pt x="18500" y="58095"/>
                  </a:lnTo>
                  <a:lnTo>
                    <a:pt x="30276" y="60477"/>
                  </a:lnTo>
                  <a:lnTo>
                    <a:pt x="42811" y="60477"/>
                  </a:lnTo>
                  <a:lnTo>
                    <a:pt x="42811" y="49415"/>
                  </a:lnTo>
                  <a:lnTo>
                    <a:pt x="30276" y="49415"/>
                  </a:lnTo>
                  <a:lnTo>
                    <a:pt x="22802" y="47904"/>
                  </a:lnTo>
                  <a:lnTo>
                    <a:pt x="16698" y="43788"/>
                  </a:lnTo>
                  <a:lnTo>
                    <a:pt x="12583" y="37687"/>
                  </a:lnTo>
                  <a:lnTo>
                    <a:pt x="11074" y="30226"/>
                  </a:lnTo>
                  <a:lnTo>
                    <a:pt x="12583" y="22768"/>
                  </a:lnTo>
                  <a:lnTo>
                    <a:pt x="16698" y="16676"/>
                  </a:lnTo>
                  <a:lnTo>
                    <a:pt x="22802" y="12568"/>
                  </a:lnTo>
                  <a:lnTo>
                    <a:pt x="30276" y="11061"/>
                  </a:lnTo>
                  <a:lnTo>
                    <a:pt x="42811" y="11061"/>
                  </a:lnTo>
                  <a:lnTo>
                    <a:pt x="42811" y="0"/>
                  </a:lnTo>
                  <a:close/>
                </a:path>
              </a:pathLst>
            </a:custGeom>
            <a:solidFill>
              <a:srgbClr val="919396"/>
            </a:solidFill>
          </p:spPr>
          <p:txBody>
            <a:bodyPr wrap="square" lIns="0" tIns="0" rIns="0" bIns="0" rtlCol="0"/>
            <a:lstStyle/>
            <a:p>
              <a:endParaRPr sz="1796"/>
            </a:p>
          </p:txBody>
        </p:sp>
        <p:sp>
          <p:nvSpPr>
            <p:cNvPr id="158" name="bk object 42">
              <a:extLst>
                <a:ext uri="{FF2B5EF4-FFF2-40B4-BE49-F238E27FC236}">
                  <a16:creationId xmlns:a16="http://schemas.microsoft.com/office/drawing/2014/main" id="{0DD25B10-2107-4059-90DA-A96B2B3B8489}"/>
                </a:ext>
              </a:extLst>
            </p:cNvPr>
            <p:cNvSpPr/>
            <p:nvPr userDrawn="1"/>
          </p:nvSpPr>
          <p:spPr>
            <a:xfrm>
              <a:off x="5410069" y="4799323"/>
              <a:ext cx="43180" cy="60960"/>
            </a:xfrm>
            <a:custGeom>
              <a:avLst/>
              <a:gdLst/>
              <a:ahLst/>
              <a:cxnLst/>
              <a:rect l="l" t="t" r="r" b="b"/>
              <a:pathLst>
                <a:path w="43179" h="60960">
                  <a:moveTo>
                    <a:pt x="12560" y="0"/>
                  </a:moveTo>
                  <a:lnTo>
                    <a:pt x="0" y="0"/>
                  </a:lnTo>
                  <a:lnTo>
                    <a:pt x="0" y="11061"/>
                  </a:lnTo>
                  <a:lnTo>
                    <a:pt x="12560" y="11061"/>
                  </a:lnTo>
                  <a:lnTo>
                    <a:pt x="20021" y="12572"/>
                  </a:lnTo>
                  <a:lnTo>
                    <a:pt x="26122" y="16689"/>
                  </a:lnTo>
                  <a:lnTo>
                    <a:pt x="30239" y="22789"/>
                  </a:lnTo>
                  <a:lnTo>
                    <a:pt x="31749" y="30251"/>
                  </a:lnTo>
                  <a:lnTo>
                    <a:pt x="30239" y="37708"/>
                  </a:lnTo>
                  <a:lnTo>
                    <a:pt x="26122" y="43800"/>
                  </a:lnTo>
                  <a:lnTo>
                    <a:pt x="20021" y="47908"/>
                  </a:lnTo>
                  <a:lnTo>
                    <a:pt x="12560" y="49415"/>
                  </a:lnTo>
                  <a:lnTo>
                    <a:pt x="0" y="49415"/>
                  </a:lnTo>
                  <a:lnTo>
                    <a:pt x="0" y="60477"/>
                  </a:lnTo>
                  <a:lnTo>
                    <a:pt x="12560" y="60477"/>
                  </a:lnTo>
                  <a:lnTo>
                    <a:pt x="24316" y="58099"/>
                  </a:lnTo>
                  <a:lnTo>
                    <a:pt x="33934" y="51617"/>
                  </a:lnTo>
                  <a:lnTo>
                    <a:pt x="40428" y="42009"/>
                  </a:lnTo>
                  <a:lnTo>
                    <a:pt x="42811" y="30251"/>
                  </a:lnTo>
                  <a:lnTo>
                    <a:pt x="40428" y="18489"/>
                  </a:lnTo>
                  <a:lnTo>
                    <a:pt x="33934" y="8872"/>
                  </a:lnTo>
                  <a:lnTo>
                    <a:pt x="24316" y="2381"/>
                  </a:lnTo>
                  <a:lnTo>
                    <a:pt x="12560" y="0"/>
                  </a:lnTo>
                  <a:close/>
                </a:path>
              </a:pathLst>
            </a:custGeom>
            <a:solidFill>
              <a:srgbClr val="919396"/>
            </a:solidFill>
          </p:spPr>
          <p:txBody>
            <a:bodyPr wrap="square" lIns="0" tIns="0" rIns="0" bIns="0" rtlCol="0"/>
            <a:lstStyle/>
            <a:p>
              <a:endParaRPr sz="1796"/>
            </a:p>
          </p:txBody>
        </p:sp>
        <p:sp>
          <p:nvSpPr>
            <p:cNvPr id="159" name="bk object 43">
              <a:extLst>
                <a:ext uri="{FF2B5EF4-FFF2-40B4-BE49-F238E27FC236}">
                  <a16:creationId xmlns:a16="http://schemas.microsoft.com/office/drawing/2014/main" id="{5EF52658-7EF4-44F1-9450-24C1A509CD41}"/>
                </a:ext>
              </a:extLst>
            </p:cNvPr>
            <p:cNvSpPr/>
            <p:nvPr userDrawn="1"/>
          </p:nvSpPr>
          <p:spPr>
            <a:xfrm>
              <a:off x="5800693" y="4799323"/>
              <a:ext cx="43180" cy="60960"/>
            </a:xfrm>
            <a:custGeom>
              <a:avLst/>
              <a:gdLst/>
              <a:ahLst/>
              <a:cxnLst/>
              <a:rect l="l" t="t" r="r" b="b"/>
              <a:pathLst>
                <a:path w="43179" h="60960">
                  <a:moveTo>
                    <a:pt x="12534" y="0"/>
                  </a:moveTo>
                  <a:lnTo>
                    <a:pt x="0" y="0"/>
                  </a:lnTo>
                  <a:lnTo>
                    <a:pt x="0" y="11061"/>
                  </a:lnTo>
                  <a:lnTo>
                    <a:pt x="12534" y="11061"/>
                  </a:lnTo>
                  <a:lnTo>
                    <a:pt x="19996" y="12572"/>
                  </a:lnTo>
                  <a:lnTo>
                    <a:pt x="26096" y="16689"/>
                  </a:lnTo>
                  <a:lnTo>
                    <a:pt x="30213" y="22789"/>
                  </a:lnTo>
                  <a:lnTo>
                    <a:pt x="31724" y="30251"/>
                  </a:lnTo>
                  <a:lnTo>
                    <a:pt x="30213" y="37708"/>
                  </a:lnTo>
                  <a:lnTo>
                    <a:pt x="26096" y="43800"/>
                  </a:lnTo>
                  <a:lnTo>
                    <a:pt x="19996" y="47908"/>
                  </a:lnTo>
                  <a:lnTo>
                    <a:pt x="12534" y="49415"/>
                  </a:lnTo>
                  <a:lnTo>
                    <a:pt x="0" y="49415"/>
                  </a:lnTo>
                  <a:lnTo>
                    <a:pt x="0" y="60477"/>
                  </a:lnTo>
                  <a:lnTo>
                    <a:pt x="12534" y="60477"/>
                  </a:lnTo>
                  <a:lnTo>
                    <a:pt x="24296" y="58099"/>
                  </a:lnTo>
                  <a:lnTo>
                    <a:pt x="33913" y="51617"/>
                  </a:lnTo>
                  <a:lnTo>
                    <a:pt x="40404" y="42009"/>
                  </a:lnTo>
                  <a:lnTo>
                    <a:pt x="42786" y="30251"/>
                  </a:lnTo>
                  <a:lnTo>
                    <a:pt x="40404" y="18489"/>
                  </a:lnTo>
                  <a:lnTo>
                    <a:pt x="33913" y="8872"/>
                  </a:lnTo>
                  <a:lnTo>
                    <a:pt x="24296" y="2381"/>
                  </a:lnTo>
                  <a:lnTo>
                    <a:pt x="12534" y="0"/>
                  </a:lnTo>
                  <a:close/>
                </a:path>
              </a:pathLst>
            </a:custGeom>
            <a:solidFill>
              <a:srgbClr val="919396"/>
            </a:solidFill>
          </p:spPr>
          <p:txBody>
            <a:bodyPr wrap="square" lIns="0" tIns="0" rIns="0" bIns="0" rtlCol="0"/>
            <a:lstStyle/>
            <a:p>
              <a:endParaRPr sz="1796"/>
            </a:p>
          </p:txBody>
        </p:sp>
        <p:sp>
          <p:nvSpPr>
            <p:cNvPr id="160" name="bk object 44">
              <a:extLst>
                <a:ext uri="{FF2B5EF4-FFF2-40B4-BE49-F238E27FC236}">
                  <a16:creationId xmlns:a16="http://schemas.microsoft.com/office/drawing/2014/main" id="{F0A02D97-C710-42C3-9502-283289862C7A}"/>
                </a:ext>
              </a:extLst>
            </p:cNvPr>
            <p:cNvSpPr/>
            <p:nvPr userDrawn="1"/>
          </p:nvSpPr>
          <p:spPr>
            <a:xfrm>
              <a:off x="6191299" y="4799323"/>
              <a:ext cx="43180" cy="60960"/>
            </a:xfrm>
            <a:custGeom>
              <a:avLst/>
              <a:gdLst/>
              <a:ahLst/>
              <a:cxnLst/>
              <a:rect l="l" t="t" r="r" b="b"/>
              <a:pathLst>
                <a:path w="43179" h="60960">
                  <a:moveTo>
                    <a:pt x="12534" y="0"/>
                  </a:moveTo>
                  <a:lnTo>
                    <a:pt x="0" y="0"/>
                  </a:lnTo>
                  <a:lnTo>
                    <a:pt x="0" y="11061"/>
                  </a:lnTo>
                  <a:lnTo>
                    <a:pt x="12534" y="11061"/>
                  </a:lnTo>
                  <a:lnTo>
                    <a:pt x="20001" y="12572"/>
                  </a:lnTo>
                  <a:lnTo>
                    <a:pt x="26101" y="16689"/>
                  </a:lnTo>
                  <a:lnTo>
                    <a:pt x="30215" y="22789"/>
                  </a:lnTo>
                  <a:lnTo>
                    <a:pt x="31724" y="30251"/>
                  </a:lnTo>
                  <a:lnTo>
                    <a:pt x="30215" y="37708"/>
                  </a:lnTo>
                  <a:lnTo>
                    <a:pt x="26101" y="43800"/>
                  </a:lnTo>
                  <a:lnTo>
                    <a:pt x="20001" y="47908"/>
                  </a:lnTo>
                  <a:lnTo>
                    <a:pt x="12534" y="49415"/>
                  </a:lnTo>
                  <a:lnTo>
                    <a:pt x="0" y="49415"/>
                  </a:lnTo>
                  <a:lnTo>
                    <a:pt x="0" y="60477"/>
                  </a:lnTo>
                  <a:lnTo>
                    <a:pt x="12534" y="60477"/>
                  </a:lnTo>
                  <a:lnTo>
                    <a:pt x="24296" y="58099"/>
                  </a:lnTo>
                  <a:lnTo>
                    <a:pt x="33913" y="51617"/>
                  </a:lnTo>
                  <a:lnTo>
                    <a:pt x="40404" y="42009"/>
                  </a:lnTo>
                  <a:lnTo>
                    <a:pt x="42786" y="30251"/>
                  </a:lnTo>
                  <a:lnTo>
                    <a:pt x="40404" y="18489"/>
                  </a:lnTo>
                  <a:lnTo>
                    <a:pt x="33913" y="8872"/>
                  </a:lnTo>
                  <a:lnTo>
                    <a:pt x="24296" y="2381"/>
                  </a:lnTo>
                  <a:lnTo>
                    <a:pt x="12534" y="0"/>
                  </a:lnTo>
                  <a:close/>
                </a:path>
              </a:pathLst>
            </a:custGeom>
            <a:solidFill>
              <a:srgbClr val="919396"/>
            </a:solidFill>
          </p:spPr>
          <p:txBody>
            <a:bodyPr wrap="square" lIns="0" tIns="0" rIns="0" bIns="0" rtlCol="0"/>
            <a:lstStyle/>
            <a:p>
              <a:endParaRPr sz="1796"/>
            </a:p>
          </p:txBody>
        </p:sp>
      </p:grpSp>
    </p:spTree>
    <p:extLst>
      <p:ext uri="{BB962C8B-B14F-4D97-AF65-F5344CB8AC3E}">
        <p14:creationId xmlns:p14="http://schemas.microsoft.com/office/powerpoint/2010/main" val="207859956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userDrawn="1">
  <p:cSld name="6_Пользовательский макет">
    <p:spTree>
      <p:nvGrpSpPr>
        <p:cNvPr id="1" name=""/>
        <p:cNvGrpSpPr/>
        <p:nvPr/>
      </p:nvGrpSpPr>
      <p:grpSpPr>
        <a:xfrm>
          <a:off x="0" y="0"/>
          <a:ext cx="0" cy="0"/>
          <a:chOff x="0" y="0"/>
          <a:chExt cx="0" cy="0"/>
        </a:xfrm>
      </p:grpSpPr>
      <p:sp>
        <p:nvSpPr>
          <p:cNvPr id="7" name="bk object 16"/>
          <p:cNvSpPr/>
          <p:nvPr userDrawn="1"/>
        </p:nvSpPr>
        <p:spPr>
          <a:xfrm>
            <a:off x="-236" y="4"/>
            <a:ext cx="13440014" cy="7559991"/>
          </a:xfrm>
          <a:prstGeom prst="rect">
            <a:avLst/>
          </a:prstGeom>
          <a:blipFill>
            <a:blip r:embed="rId4" cstate="email">
              <a:extLst>
                <a:ext uri="{28A0092B-C50C-407E-A947-70E740481C1C}">
                  <a14:useLocalDpi xmlns:a14="http://schemas.microsoft.com/office/drawing/2010/main"/>
                </a:ext>
              </a:extLst>
            </a:blip>
            <a:stretch>
              <a:fillRect/>
            </a:stretch>
          </a:blipFill>
        </p:spPr>
        <p:txBody>
          <a:bodyPr wrap="square" lIns="0" tIns="0" rIns="0" bIns="0" rtlCol="0"/>
          <a:lstStyle/>
          <a:p>
            <a:endParaRPr sz="2464"/>
          </a:p>
        </p:txBody>
      </p:sp>
      <p:graphicFrame>
        <p:nvGraphicFramePr>
          <p:cNvPr id="3" name="Объект 2" hidden="1"/>
          <p:cNvGraphicFramePr>
            <a:graphicFrameLocks noChangeAspect="1"/>
          </p:cNvGraphicFramePr>
          <p:nvPr userDrawn="1">
            <p:custDataLst>
              <p:tags r:id="rId1"/>
            </p:custDataLst>
          </p:nvPr>
        </p:nvGraphicFramePr>
        <p:xfrm>
          <a:off x="1997" y="1593"/>
          <a:ext cx="1996" cy="1590"/>
        </p:xfrm>
        <a:graphic>
          <a:graphicData uri="http://schemas.openxmlformats.org/presentationml/2006/ole">
            <mc:AlternateContent xmlns:mc="http://schemas.openxmlformats.org/markup-compatibility/2006">
              <mc:Choice xmlns:v="urn:schemas-microsoft-com:vml" Requires="v">
                <p:oleObj name="Слайд think-cell" r:id="rId5" imgW="360" imgH="360" progId="TCLayout.ActiveDocument.1">
                  <p:embed/>
                </p:oleObj>
              </mc:Choice>
              <mc:Fallback>
                <p:oleObj name="Слайд think-cell" r:id="rId5" imgW="360" imgH="360" progId="TCLayout.ActiveDocument.1">
                  <p:embed/>
                  <p:pic>
                    <p:nvPicPr>
                      <p:cNvPr id="3" name="Объект 2" hidden="1"/>
                      <p:cNvPicPr/>
                      <p:nvPr/>
                    </p:nvPicPr>
                    <p:blipFill>
                      <a:blip r:embed="rId6"/>
                      <a:stretch>
                        <a:fillRect/>
                      </a:stretch>
                    </p:blipFill>
                    <p:spPr>
                      <a:xfrm>
                        <a:off x="1997" y="1593"/>
                        <a:ext cx="1996" cy="1590"/>
                      </a:xfrm>
                      <a:prstGeom prst="rect">
                        <a:avLst/>
                      </a:prstGeom>
                    </p:spPr>
                  </p:pic>
                </p:oleObj>
              </mc:Fallback>
            </mc:AlternateContent>
          </a:graphicData>
        </a:graphic>
      </p:graphicFrame>
      <p:sp>
        <p:nvSpPr>
          <p:cNvPr id="2" name="Прямоугольник 1" hidden="1"/>
          <p:cNvSpPr/>
          <p:nvPr userDrawn="1">
            <p:custDataLst>
              <p:tags r:id="rId2"/>
            </p:custDataLst>
          </p:nvPr>
        </p:nvSpPr>
        <p:spPr>
          <a:xfrm>
            <a:off x="2" y="4"/>
            <a:ext cx="19955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ru-RU" sz="4704" b="1" i="0" baseline="0">
              <a:latin typeface="Calibri" panose="020F0502020204030204" pitchFamily="34" charset="0"/>
              <a:ea typeface="+mj-ea"/>
              <a:cs typeface="+mj-cs"/>
              <a:sym typeface="Calibri" panose="020F0502020204030204" pitchFamily="34" charset="0"/>
            </a:endParaRPr>
          </a:p>
        </p:txBody>
      </p:sp>
      <p:sp>
        <p:nvSpPr>
          <p:cNvPr id="9" name="Прямоугольник 8"/>
          <p:cNvSpPr/>
          <p:nvPr userDrawn="1"/>
        </p:nvSpPr>
        <p:spPr>
          <a:xfrm>
            <a:off x="618310" y="-1500"/>
            <a:ext cx="56605" cy="3979816"/>
          </a:xfrm>
          <a:prstGeom prst="rect">
            <a:avLst/>
          </a:prstGeom>
          <a:solidFill>
            <a:srgbClr val="FED1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ru-RU" sz="1796"/>
          </a:p>
        </p:txBody>
      </p:sp>
      <p:sp>
        <p:nvSpPr>
          <p:cNvPr id="10" name="Текст 12"/>
          <p:cNvSpPr>
            <a:spLocks noGrp="1"/>
          </p:cNvSpPr>
          <p:nvPr>
            <p:ph type="body" sz="quarter" idx="11" hasCustomPrompt="1"/>
          </p:nvPr>
        </p:nvSpPr>
        <p:spPr>
          <a:xfrm>
            <a:off x="697816" y="373618"/>
            <a:ext cx="5394329" cy="4904555"/>
          </a:xfrm>
          <a:prstGeom prst="rect">
            <a:avLst/>
          </a:prstGeom>
        </p:spPr>
        <p:txBody>
          <a:bodyPr/>
          <a:lstStyle>
            <a:lvl1pPr>
              <a:defRPr sz="2998">
                <a:solidFill>
                  <a:srgbClr val="000000"/>
                </a:solidFill>
              </a:defRPr>
            </a:lvl1pPr>
            <a:lvl2pPr>
              <a:defRPr sz="2597">
                <a:solidFill>
                  <a:srgbClr val="000000"/>
                </a:solidFill>
              </a:defRPr>
            </a:lvl2pPr>
            <a:lvl3pPr>
              <a:defRPr sz="2004">
                <a:solidFill>
                  <a:srgbClr val="000000"/>
                </a:solidFill>
              </a:defRPr>
            </a:lvl3pPr>
            <a:lvl4pPr>
              <a:defRPr sz="1796">
                <a:solidFill>
                  <a:srgbClr val="000000"/>
                </a:solidFill>
              </a:defRPr>
            </a:lvl4pPr>
            <a:lvl5pPr>
              <a:defRPr sz="1796">
                <a:solidFill>
                  <a:srgbClr val="000000"/>
                </a:solidFill>
              </a:defRPr>
            </a:lvl5pPr>
          </a:lstStyle>
          <a:p>
            <a:pPr lvl="0"/>
            <a:r>
              <a:rPr lang="ru-RU" err="1"/>
              <a:t>Зміст</a:t>
            </a:r>
            <a:endParaRPr lang="ru-RU"/>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132126480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Title and 4 x content - no sub heading">
    <p:spTree>
      <p:nvGrpSpPr>
        <p:cNvPr id="1" name=""/>
        <p:cNvGrpSpPr/>
        <p:nvPr/>
      </p:nvGrpSpPr>
      <p:grpSpPr>
        <a:xfrm>
          <a:off x="0" y="0"/>
          <a:ext cx="0" cy="0"/>
          <a:chOff x="0" y="0"/>
          <a:chExt cx="0" cy="0"/>
        </a:xfrm>
      </p:grpSpPr>
      <p:sp>
        <p:nvSpPr>
          <p:cNvPr id="10" name="Content Placeholder 2"/>
          <p:cNvSpPr>
            <a:spLocks noGrp="1"/>
          </p:cNvSpPr>
          <p:nvPr>
            <p:ph idx="1" hasCustomPrompt="1"/>
          </p:nvPr>
        </p:nvSpPr>
        <p:spPr>
          <a:xfrm>
            <a:off x="396842" y="1882921"/>
            <a:ext cx="2992201" cy="4413311"/>
          </a:xfrm>
        </p:spPr>
        <p:txBody>
          <a:bodyPr>
            <a:noAutofit/>
          </a:bodyPr>
          <a:lstStyle>
            <a:lvl1pPr>
              <a:defRPr sz="1547" b="0">
                <a:solidFill>
                  <a:schemeClr val="tx1"/>
                </a:solidFill>
              </a:defRPr>
            </a:lvl1pPr>
            <a:lvl2pPr>
              <a:spcBef>
                <a:spcPts val="660"/>
              </a:spcBef>
              <a:defRPr sz="1547">
                <a:solidFill>
                  <a:schemeClr val="tx1"/>
                </a:solidFill>
              </a:defRPr>
            </a:lvl2pPr>
            <a:lvl3pPr>
              <a:spcBef>
                <a:spcPts val="660"/>
              </a:spcBef>
              <a:defRPr sz="1547">
                <a:solidFill>
                  <a:schemeClr val="tx1"/>
                </a:solidFill>
              </a:defRPr>
            </a:lvl3pPr>
            <a:lvl4pPr>
              <a:spcBef>
                <a:spcPts val="660"/>
              </a:spcBef>
              <a:defRPr sz="1547">
                <a:solidFill>
                  <a:schemeClr val="tx1"/>
                </a:solidFill>
              </a:defRPr>
            </a:lvl4pPr>
            <a:lvl5pPr>
              <a:spcBef>
                <a:spcPts val="660"/>
              </a:spcBef>
              <a:defRPr sz="1547">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1" name="Content Placeholder 2"/>
          <p:cNvSpPr>
            <a:spLocks noGrp="1"/>
          </p:cNvSpPr>
          <p:nvPr>
            <p:ph idx="14" hasCustomPrompt="1"/>
          </p:nvPr>
        </p:nvSpPr>
        <p:spPr>
          <a:xfrm>
            <a:off x="3610391" y="1882921"/>
            <a:ext cx="2992201" cy="4413311"/>
          </a:xfrm>
        </p:spPr>
        <p:txBody>
          <a:bodyPr>
            <a:noAutofit/>
          </a:bodyPr>
          <a:lstStyle>
            <a:lvl1pPr>
              <a:defRPr sz="1547" b="0">
                <a:solidFill>
                  <a:schemeClr val="tx1"/>
                </a:solidFill>
              </a:defRPr>
            </a:lvl1pPr>
            <a:lvl2pPr>
              <a:spcBef>
                <a:spcPts val="660"/>
              </a:spcBef>
              <a:defRPr sz="1547">
                <a:solidFill>
                  <a:schemeClr val="tx1"/>
                </a:solidFill>
              </a:defRPr>
            </a:lvl2pPr>
            <a:lvl3pPr>
              <a:spcBef>
                <a:spcPts val="660"/>
              </a:spcBef>
              <a:defRPr sz="1547">
                <a:solidFill>
                  <a:schemeClr val="tx1"/>
                </a:solidFill>
              </a:defRPr>
            </a:lvl3pPr>
            <a:lvl4pPr>
              <a:spcBef>
                <a:spcPts val="660"/>
              </a:spcBef>
              <a:defRPr sz="1547">
                <a:solidFill>
                  <a:schemeClr val="tx1"/>
                </a:solidFill>
              </a:defRPr>
            </a:lvl4pPr>
            <a:lvl5pPr>
              <a:spcBef>
                <a:spcPts val="660"/>
              </a:spcBef>
              <a:defRPr sz="1547">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Content Placeholder 2"/>
          <p:cNvSpPr>
            <a:spLocks noGrp="1"/>
          </p:cNvSpPr>
          <p:nvPr>
            <p:ph idx="15" hasCustomPrompt="1"/>
          </p:nvPr>
        </p:nvSpPr>
        <p:spPr>
          <a:xfrm>
            <a:off x="6823934" y="1882921"/>
            <a:ext cx="2992201" cy="4413311"/>
          </a:xfrm>
        </p:spPr>
        <p:txBody>
          <a:bodyPr>
            <a:noAutofit/>
          </a:bodyPr>
          <a:lstStyle>
            <a:lvl1pPr>
              <a:defRPr sz="1547" b="0">
                <a:solidFill>
                  <a:schemeClr val="tx1"/>
                </a:solidFill>
              </a:defRPr>
            </a:lvl1pPr>
            <a:lvl2pPr>
              <a:spcBef>
                <a:spcPts val="660"/>
              </a:spcBef>
              <a:defRPr sz="1547">
                <a:solidFill>
                  <a:schemeClr val="tx1"/>
                </a:solidFill>
              </a:defRPr>
            </a:lvl2pPr>
            <a:lvl3pPr>
              <a:spcBef>
                <a:spcPts val="660"/>
              </a:spcBef>
              <a:defRPr sz="1547">
                <a:solidFill>
                  <a:schemeClr val="tx1"/>
                </a:solidFill>
              </a:defRPr>
            </a:lvl3pPr>
            <a:lvl4pPr>
              <a:spcBef>
                <a:spcPts val="660"/>
              </a:spcBef>
              <a:defRPr sz="1547">
                <a:solidFill>
                  <a:schemeClr val="tx1"/>
                </a:solidFill>
              </a:defRPr>
            </a:lvl4pPr>
            <a:lvl5pPr>
              <a:spcBef>
                <a:spcPts val="660"/>
              </a:spcBef>
              <a:defRPr sz="1547">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8" name="Content Placeholder 2"/>
          <p:cNvSpPr>
            <a:spLocks noGrp="1"/>
          </p:cNvSpPr>
          <p:nvPr>
            <p:ph idx="16" hasCustomPrompt="1"/>
          </p:nvPr>
        </p:nvSpPr>
        <p:spPr>
          <a:xfrm>
            <a:off x="10037480" y="1882921"/>
            <a:ext cx="2992201" cy="4413311"/>
          </a:xfrm>
        </p:spPr>
        <p:txBody>
          <a:bodyPr>
            <a:noAutofit/>
          </a:bodyPr>
          <a:lstStyle>
            <a:lvl1pPr>
              <a:defRPr sz="1547" b="0">
                <a:solidFill>
                  <a:schemeClr val="tx1"/>
                </a:solidFill>
              </a:defRPr>
            </a:lvl1pPr>
            <a:lvl2pPr>
              <a:spcBef>
                <a:spcPts val="660"/>
              </a:spcBef>
              <a:defRPr sz="1547">
                <a:solidFill>
                  <a:schemeClr val="tx1"/>
                </a:solidFill>
              </a:defRPr>
            </a:lvl2pPr>
            <a:lvl3pPr>
              <a:spcBef>
                <a:spcPts val="660"/>
              </a:spcBef>
              <a:defRPr sz="1547">
                <a:solidFill>
                  <a:schemeClr val="tx1"/>
                </a:solidFill>
              </a:defRPr>
            </a:lvl3pPr>
            <a:lvl4pPr>
              <a:spcBef>
                <a:spcPts val="660"/>
              </a:spcBef>
              <a:defRPr sz="1547">
                <a:solidFill>
                  <a:schemeClr val="tx1"/>
                </a:solidFill>
              </a:defRPr>
            </a:lvl4pPr>
            <a:lvl5pPr>
              <a:spcBef>
                <a:spcPts val="660"/>
              </a:spcBef>
              <a:defRPr sz="1547">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9" name="Title Placeholder 1"/>
          <p:cNvSpPr>
            <a:spLocks noGrp="1"/>
          </p:cNvSpPr>
          <p:nvPr>
            <p:ph type="title" hasCustomPrompt="1"/>
          </p:nvPr>
        </p:nvSpPr>
        <p:spPr>
          <a:xfrm>
            <a:off x="396845" y="474789"/>
            <a:ext cx="12640438" cy="445466"/>
          </a:xfrm>
          <a:prstGeom prst="rect">
            <a:avLst/>
          </a:prstGeom>
        </p:spPr>
        <p:txBody>
          <a:bodyPr vert="horz" lIns="0" tIns="0" rIns="0" bIns="0" rtlCol="0" anchor="t">
            <a:noAutofit/>
          </a:bodyPr>
          <a:lstStyle>
            <a:lvl1pPr>
              <a:defRPr/>
            </a:lvl1pPr>
          </a:lstStyle>
          <a:p>
            <a:r>
              <a:rPr lang="en-GB"/>
              <a:t>Click to edit master title style</a:t>
            </a:r>
          </a:p>
        </p:txBody>
      </p:sp>
      <p:sp>
        <p:nvSpPr>
          <p:cNvPr id="21" name="Text Placeholder 17"/>
          <p:cNvSpPr>
            <a:spLocks noGrp="1"/>
          </p:cNvSpPr>
          <p:nvPr>
            <p:ph type="body" sz="quarter" idx="19" hasCustomPrompt="1"/>
          </p:nvPr>
        </p:nvSpPr>
        <p:spPr>
          <a:xfrm>
            <a:off x="6719893" y="7047662"/>
            <a:ext cx="5148803" cy="218029"/>
          </a:xfrm>
        </p:spPr>
        <p:txBody>
          <a:bodyPr anchor="ctr">
            <a:noAutofit/>
          </a:bodyPr>
          <a:lstStyle>
            <a:lvl1pPr>
              <a:spcBef>
                <a:spcPts val="660"/>
              </a:spcBef>
              <a:defRPr sz="886">
                <a:solidFill>
                  <a:schemeClr val="tx1"/>
                </a:solidFill>
              </a:defRPr>
            </a:lvl1pPr>
          </a:lstStyle>
          <a:p>
            <a:pPr lvl="0"/>
            <a:r>
              <a:rPr lang="en-US"/>
              <a:t>Click to add footer text</a:t>
            </a:r>
          </a:p>
        </p:txBody>
      </p:sp>
    </p:spTree>
    <p:extLst>
      <p:ext uri="{BB962C8B-B14F-4D97-AF65-F5344CB8AC3E}">
        <p14:creationId xmlns:p14="http://schemas.microsoft.com/office/powerpoint/2010/main" val="27787373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Title + text 2">
  <p:cSld name="Title + text 2">
    <p:spTree>
      <p:nvGrpSpPr>
        <p:cNvPr id="1" name="Shape 49"/>
        <p:cNvGrpSpPr/>
        <p:nvPr/>
      </p:nvGrpSpPr>
      <p:grpSpPr>
        <a:xfrm>
          <a:off x="0" y="0"/>
          <a:ext cx="0" cy="0"/>
          <a:chOff x="0" y="0"/>
          <a:chExt cx="0" cy="0"/>
        </a:xfrm>
      </p:grpSpPr>
      <p:sp>
        <p:nvSpPr>
          <p:cNvPr id="50" name="Google Shape;50;p7"/>
          <p:cNvSpPr txBox="1">
            <a:spLocks noGrp="1"/>
          </p:cNvSpPr>
          <p:nvPr>
            <p:ph type="ctrTitle"/>
          </p:nvPr>
        </p:nvSpPr>
        <p:spPr>
          <a:xfrm>
            <a:off x="7983908" y="1044517"/>
            <a:ext cx="4244905" cy="3019020"/>
          </a:xfrm>
          <a:prstGeom prst="rect">
            <a:avLst/>
          </a:prstGeom>
        </p:spPr>
        <p:txBody>
          <a:bodyPr spcFirstLastPara="1" wrap="square" lIns="91425" tIns="91425" rIns="91425" bIns="91425" anchor="b" anchorCtr="0">
            <a:noAutofit/>
          </a:bodyPr>
          <a:lstStyle>
            <a:lvl1pPr lvl="0" algn="r" rtl="0">
              <a:spcBef>
                <a:spcPts val="0"/>
              </a:spcBef>
              <a:spcAft>
                <a:spcPts val="0"/>
              </a:spcAft>
              <a:buSzPts val="2800"/>
              <a:buNone/>
              <a:defRPr/>
            </a:lvl1pPr>
            <a:lvl2pPr lvl="1" algn="r" rtl="0">
              <a:spcBef>
                <a:spcPts val="0"/>
              </a:spcBef>
              <a:spcAft>
                <a:spcPts val="0"/>
              </a:spcAft>
              <a:buClr>
                <a:srgbClr val="000000"/>
              </a:buClr>
              <a:buSzPts val="1600"/>
              <a:buNone/>
              <a:defRPr sz="2352">
                <a:solidFill>
                  <a:srgbClr val="000000"/>
                </a:solidFill>
              </a:defRPr>
            </a:lvl2pPr>
            <a:lvl3pPr lvl="2" algn="r" rtl="0">
              <a:spcBef>
                <a:spcPts val="0"/>
              </a:spcBef>
              <a:spcAft>
                <a:spcPts val="0"/>
              </a:spcAft>
              <a:buClr>
                <a:srgbClr val="000000"/>
              </a:buClr>
              <a:buSzPts val="1600"/>
              <a:buNone/>
              <a:defRPr sz="2352">
                <a:solidFill>
                  <a:srgbClr val="000000"/>
                </a:solidFill>
              </a:defRPr>
            </a:lvl3pPr>
            <a:lvl4pPr lvl="3" algn="r" rtl="0">
              <a:spcBef>
                <a:spcPts val="0"/>
              </a:spcBef>
              <a:spcAft>
                <a:spcPts val="0"/>
              </a:spcAft>
              <a:buClr>
                <a:srgbClr val="000000"/>
              </a:buClr>
              <a:buSzPts val="1600"/>
              <a:buNone/>
              <a:defRPr sz="2352">
                <a:solidFill>
                  <a:srgbClr val="000000"/>
                </a:solidFill>
              </a:defRPr>
            </a:lvl4pPr>
            <a:lvl5pPr lvl="4" algn="r" rtl="0">
              <a:spcBef>
                <a:spcPts val="0"/>
              </a:spcBef>
              <a:spcAft>
                <a:spcPts val="0"/>
              </a:spcAft>
              <a:buClr>
                <a:srgbClr val="000000"/>
              </a:buClr>
              <a:buSzPts val="1600"/>
              <a:buNone/>
              <a:defRPr sz="2352">
                <a:solidFill>
                  <a:srgbClr val="000000"/>
                </a:solidFill>
              </a:defRPr>
            </a:lvl5pPr>
            <a:lvl6pPr lvl="5" algn="r" rtl="0">
              <a:spcBef>
                <a:spcPts val="0"/>
              </a:spcBef>
              <a:spcAft>
                <a:spcPts val="0"/>
              </a:spcAft>
              <a:buClr>
                <a:srgbClr val="000000"/>
              </a:buClr>
              <a:buSzPts val="1600"/>
              <a:buNone/>
              <a:defRPr sz="2352">
                <a:solidFill>
                  <a:srgbClr val="000000"/>
                </a:solidFill>
              </a:defRPr>
            </a:lvl6pPr>
            <a:lvl7pPr lvl="6" algn="r" rtl="0">
              <a:spcBef>
                <a:spcPts val="0"/>
              </a:spcBef>
              <a:spcAft>
                <a:spcPts val="0"/>
              </a:spcAft>
              <a:buClr>
                <a:srgbClr val="000000"/>
              </a:buClr>
              <a:buSzPts val="1600"/>
              <a:buNone/>
              <a:defRPr sz="2352">
                <a:solidFill>
                  <a:srgbClr val="000000"/>
                </a:solidFill>
              </a:defRPr>
            </a:lvl7pPr>
            <a:lvl8pPr lvl="7" algn="r" rtl="0">
              <a:spcBef>
                <a:spcPts val="0"/>
              </a:spcBef>
              <a:spcAft>
                <a:spcPts val="0"/>
              </a:spcAft>
              <a:buClr>
                <a:srgbClr val="000000"/>
              </a:buClr>
              <a:buSzPts val="1600"/>
              <a:buNone/>
              <a:defRPr sz="2352">
                <a:solidFill>
                  <a:srgbClr val="000000"/>
                </a:solidFill>
              </a:defRPr>
            </a:lvl8pPr>
            <a:lvl9pPr lvl="8" algn="r" rtl="0">
              <a:spcBef>
                <a:spcPts val="0"/>
              </a:spcBef>
              <a:spcAft>
                <a:spcPts val="0"/>
              </a:spcAft>
              <a:buClr>
                <a:srgbClr val="000000"/>
              </a:buClr>
              <a:buSzPts val="1600"/>
              <a:buNone/>
              <a:defRPr sz="2352">
                <a:solidFill>
                  <a:srgbClr val="000000"/>
                </a:solidFill>
              </a:defRPr>
            </a:lvl9pPr>
          </a:lstStyle>
          <a:p>
            <a:endParaRPr/>
          </a:p>
        </p:txBody>
      </p:sp>
      <p:sp>
        <p:nvSpPr>
          <p:cNvPr id="51" name="Google Shape;51;p7"/>
          <p:cNvSpPr txBox="1">
            <a:spLocks noGrp="1"/>
          </p:cNvSpPr>
          <p:nvPr>
            <p:ph type="subTitle" idx="1"/>
          </p:nvPr>
        </p:nvSpPr>
        <p:spPr>
          <a:xfrm>
            <a:off x="7883301" y="4004526"/>
            <a:ext cx="4345439" cy="2622627"/>
          </a:xfrm>
          <a:prstGeom prst="rect">
            <a:avLst/>
          </a:prstGeom>
        </p:spPr>
        <p:txBody>
          <a:bodyPr spcFirstLastPara="1" wrap="square" lIns="91425" tIns="91425" rIns="91425" bIns="91425" anchor="t" anchorCtr="0">
            <a:noAutofit/>
          </a:bodyPr>
          <a:lstStyle>
            <a:lvl1pPr lvl="0" algn="r" rtl="0">
              <a:lnSpc>
                <a:spcPct val="100000"/>
              </a:lnSpc>
              <a:spcBef>
                <a:spcPts val="0"/>
              </a:spcBef>
              <a:spcAft>
                <a:spcPts val="0"/>
              </a:spcAft>
              <a:buSzPts val="1200"/>
              <a:buNone/>
              <a:defRPr/>
            </a:lvl1pPr>
            <a:lvl2pPr lvl="1" algn="r" rtl="0">
              <a:lnSpc>
                <a:spcPct val="100000"/>
              </a:lnSpc>
              <a:spcBef>
                <a:spcPts val="0"/>
              </a:spcBef>
              <a:spcAft>
                <a:spcPts val="0"/>
              </a:spcAft>
              <a:buSzPts val="1200"/>
              <a:buNone/>
              <a:defRPr/>
            </a:lvl2pPr>
            <a:lvl3pPr lvl="2" algn="r" rtl="0">
              <a:lnSpc>
                <a:spcPct val="100000"/>
              </a:lnSpc>
              <a:spcBef>
                <a:spcPts val="0"/>
              </a:spcBef>
              <a:spcAft>
                <a:spcPts val="0"/>
              </a:spcAft>
              <a:buSzPts val="1200"/>
              <a:buNone/>
              <a:defRPr/>
            </a:lvl3pPr>
            <a:lvl4pPr lvl="3" algn="r" rtl="0">
              <a:lnSpc>
                <a:spcPct val="100000"/>
              </a:lnSpc>
              <a:spcBef>
                <a:spcPts val="0"/>
              </a:spcBef>
              <a:spcAft>
                <a:spcPts val="0"/>
              </a:spcAft>
              <a:buSzPts val="1200"/>
              <a:buNone/>
              <a:defRPr/>
            </a:lvl4pPr>
            <a:lvl5pPr lvl="4" algn="r" rtl="0">
              <a:lnSpc>
                <a:spcPct val="100000"/>
              </a:lnSpc>
              <a:spcBef>
                <a:spcPts val="0"/>
              </a:spcBef>
              <a:spcAft>
                <a:spcPts val="0"/>
              </a:spcAft>
              <a:buSzPts val="1200"/>
              <a:buNone/>
              <a:defRPr/>
            </a:lvl5pPr>
            <a:lvl6pPr lvl="5" algn="r" rtl="0">
              <a:lnSpc>
                <a:spcPct val="100000"/>
              </a:lnSpc>
              <a:spcBef>
                <a:spcPts val="0"/>
              </a:spcBef>
              <a:spcAft>
                <a:spcPts val="0"/>
              </a:spcAft>
              <a:buSzPts val="1200"/>
              <a:buNone/>
              <a:defRPr/>
            </a:lvl6pPr>
            <a:lvl7pPr lvl="6" algn="r" rtl="0">
              <a:lnSpc>
                <a:spcPct val="100000"/>
              </a:lnSpc>
              <a:spcBef>
                <a:spcPts val="0"/>
              </a:spcBef>
              <a:spcAft>
                <a:spcPts val="0"/>
              </a:spcAft>
              <a:buSzPts val="1200"/>
              <a:buNone/>
              <a:defRPr/>
            </a:lvl7pPr>
            <a:lvl8pPr lvl="7" algn="r" rtl="0">
              <a:lnSpc>
                <a:spcPct val="100000"/>
              </a:lnSpc>
              <a:spcBef>
                <a:spcPts val="0"/>
              </a:spcBef>
              <a:spcAft>
                <a:spcPts val="0"/>
              </a:spcAft>
              <a:buSzPts val="1200"/>
              <a:buNone/>
              <a:defRPr/>
            </a:lvl8pPr>
            <a:lvl9pPr lvl="8" algn="r" rtl="0">
              <a:lnSpc>
                <a:spcPct val="100000"/>
              </a:lnSpc>
              <a:spcBef>
                <a:spcPts val="0"/>
              </a:spcBef>
              <a:spcAft>
                <a:spcPts val="0"/>
              </a:spcAft>
              <a:buSzPts val="1200"/>
              <a:buNone/>
              <a:defRPr/>
            </a:lvl9pPr>
          </a:lstStyle>
          <a:p>
            <a:endParaRPr/>
          </a:p>
        </p:txBody>
      </p:sp>
    </p:spTree>
    <p:extLst>
      <p:ext uri="{BB962C8B-B14F-4D97-AF65-F5344CB8AC3E}">
        <p14:creationId xmlns:p14="http://schemas.microsoft.com/office/powerpoint/2010/main" val="327065772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Title and 3 x Content (7)">
    <p:spTree>
      <p:nvGrpSpPr>
        <p:cNvPr id="1" name=""/>
        <p:cNvGrpSpPr/>
        <p:nvPr/>
      </p:nvGrpSpPr>
      <p:grpSpPr>
        <a:xfrm>
          <a:off x="0" y="0"/>
          <a:ext cx="0" cy="0"/>
          <a:chOff x="0" y="0"/>
          <a:chExt cx="0" cy="0"/>
        </a:xfrm>
      </p:grpSpPr>
      <p:sp>
        <p:nvSpPr>
          <p:cNvPr id="9" name="Content Placeholder 2"/>
          <p:cNvSpPr>
            <a:spLocks noGrp="1"/>
          </p:cNvSpPr>
          <p:nvPr>
            <p:ph idx="1"/>
          </p:nvPr>
        </p:nvSpPr>
        <p:spPr>
          <a:xfrm>
            <a:off x="396845" y="1882921"/>
            <a:ext cx="4055742" cy="4413311"/>
          </a:xfrm>
        </p:spPr>
        <p:txBody>
          <a:bodyPr>
            <a:noAutofit/>
          </a:bodyPr>
          <a:lstStyle>
            <a:lvl1pPr>
              <a:defRPr sz="1547" b="0">
                <a:solidFill>
                  <a:schemeClr val="tx2"/>
                </a:solidFill>
              </a:defRPr>
            </a:lvl1pPr>
            <a:lvl2pPr>
              <a:spcBef>
                <a:spcPts val="660"/>
              </a:spcBef>
              <a:defRPr sz="1547">
                <a:solidFill>
                  <a:schemeClr val="tx2"/>
                </a:solidFill>
              </a:defRPr>
            </a:lvl2pPr>
            <a:lvl3pPr>
              <a:spcBef>
                <a:spcPts val="660"/>
              </a:spcBef>
              <a:defRPr sz="1547">
                <a:solidFill>
                  <a:schemeClr val="tx2"/>
                </a:solidFill>
              </a:defRPr>
            </a:lvl3pPr>
            <a:lvl4pPr>
              <a:spcBef>
                <a:spcPts val="660"/>
              </a:spcBef>
              <a:defRPr sz="1547">
                <a:solidFill>
                  <a:schemeClr val="tx2"/>
                </a:solidFill>
              </a:defRPr>
            </a:lvl4pPr>
            <a:lvl5pPr>
              <a:spcBef>
                <a:spcPts val="660"/>
              </a:spcBef>
              <a:defRPr sz="1547">
                <a:solidFill>
                  <a:schemeClr val="tx2"/>
                </a:solidFill>
              </a:defRPr>
            </a:lvl5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GB"/>
          </a:p>
        </p:txBody>
      </p:sp>
      <p:sp>
        <p:nvSpPr>
          <p:cNvPr id="10" name="Content Placeholder 2"/>
          <p:cNvSpPr>
            <a:spLocks noGrp="1"/>
          </p:cNvSpPr>
          <p:nvPr>
            <p:ph idx="14"/>
          </p:nvPr>
        </p:nvSpPr>
        <p:spPr>
          <a:xfrm>
            <a:off x="4686425" y="1882921"/>
            <a:ext cx="4055742" cy="4413311"/>
          </a:xfrm>
        </p:spPr>
        <p:txBody>
          <a:bodyPr>
            <a:noAutofit/>
          </a:bodyPr>
          <a:lstStyle>
            <a:lvl1pPr>
              <a:defRPr sz="1547" b="0">
                <a:solidFill>
                  <a:schemeClr val="tx2"/>
                </a:solidFill>
              </a:defRPr>
            </a:lvl1pPr>
            <a:lvl2pPr>
              <a:spcBef>
                <a:spcPts val="660"/>
              </a:spcBef>
              <a:defRPr sz="1547">
                <a:solidFill>
                  <a:schemeClr val="tx2"/>
                </a:solidFill>
              </a:defRPr>
            </a:lvl2pPr>
            <a:lvl3pPr>
              <a:spcBef>
                <a:spcPts val="660"/>
              </a:spcBef>
              <a:defRPr sz="1547">
                <a:solidFill>
                  <a:schemeClr val="tx2"/>
                </a:solidFill>
              </a:defRPr>
            </a:lvl3pPr>
            <a:lvl4pPr>
              <a:spcBef>
                <a:spcPts val="660"/>
              </a:spcBef>
              <a:defRPr sz="1547">
                <a:solidFill>
                  <a:schemeClr val="tx2"/>
                </a:solidFill>
              </a:defRPr>
            </a:lvl4pPr>
            <a:lvl5pPr>
              <a:spcBef>
                <a:spcPts val="660"/>
              </a:spcBef>
              <a:defRPr sz="1547">
                <a:solidFill>
                  <a:schemeClr val="tx2"/>
                </a:solidFill>
              </a:defRPr>
            </a:lvl5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GB"/>
          </a:p>
        </p:txBody>
      </p:sp>
      <p:sp>
        <p:nvSpPr>
          <p:cNvPr id="11" name="Content Placeholder 2"/>
          <p:cNvSpPr>
            <a:spLocks noGrp="1"/>
          </p:cNvSpPr>
          <p:nvPr>
            <p:ph idx="15"/>
          </p:nvPr>
        </p:nvSpPr>
        <p:spPr>
          <a:xfrm>
            <a:off x="8976002" y="1882921"/>
            <a:ext cx="4053680" cy="4413311"/>
          </a:xfrm>
        </p:spPr>
        <p:txBody>
          <a:bodyPr>
            <a:noAutofit/>
          </a:bodyPr>
          <a:lstStyle>
            <a:lvl1pPr>
              <a:defRPr sz="1547" b="0">
                <a:solidFill>
                  <a:schemeClr val="tx2"/>
                </a:solidFill>
              </a:defRPr>
            </a:lvl1pPr>
            <a:lvl2pPr>
              <a:spcBef>
                <a:spcPts val="660"/>
              </a:spcBef>
              <a:defRPr sz="1547">
                <a:solidFill>
                  <a:schemeClr val="tx2"/>
                </a:solidFill>
              </a:defRPr>
            </a:lvl2pPr>
            <a:lvl3pPr>
              <a:spcBef>
                <a:spcPts val="660"/>
              </a:spcBef>
              <a:defRPr sz="1547">
                <a:solidFill>
                  <a:schemeClr val="tx2"/>
                </a:solidFill>
              </a:defRPr>
            </a:lvl3pPr>
            <a:lvl4pPr>
              <a:spcBef>
                <a:spcPts val="660"/>
              </a:spcBef>
              <a:defRPr sz="1547">
                <a:solidFill>
                  <a:schemeClr val="tx2"/>
                </a:solidFill>
              </a:defRPr>
            </a:lvl4pPr>
            <a:lvl5pPr>
              <a:spcBef>
                <a:spcPts val="660"/>
              </a:spcBef>
              <a:defRPr sz="1547">
                <a:solidFill>
                  <a:schemeClr val="tx2"/>
                </a:solidFill>
              </a:defRPr>
            </a:lvl5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GB"/>
          </a:p>
        </p:txBody>
      </p:sp>
      <p:sp>
        <p:nvSpPr>
          <p:cNvPr id="16" name="Title Placeholder 1"/>
          <p:cNvSpPr>
            <a:spLocks noGrp="1"/>
          </p:cNvSpPr>
          <p:nvPr>
            <p:ph type="title"/>
          </p:nvPr>
        </p:nvSpPr>
        <p:spPr>
          <a:xfrm>
            <a:off x="396845" y="474789"/>
            <a:ext cx="12640438" cy="445466"/>
          </a:xfrm>
          <a:prstGeom prst="rect">
            <a:avLst/>
          </a:prstGeom>
        </p:spPr>
        <p:txBody>
          <a:bodyPr vert="horz" lIns="0" tIns="0" rIns="0" bIns="0" rtlCol="0" anchor="t">
            <a:noAutofit/>
          </a:bodyPr>
          <a:lstStyle>
            <a:lvl1pPr>
              <a:defRPr>
                <a:solidFill>
                  <a:schemeClr val="tx2"/>
                </a:solidFill>
              </a:defRPr>
            </a:lvl1pPr>
          </a:lstStyle>
          <a:p>
            <a:r>
              <a:rPr lang="es-ES"/>
              <a:t>Haga clic para modificar el estilo de título del patrón</a:t>
            </a:r>
            <a:endParaRPr lang="en-GB"/>
          </a:p>
        </p:txBody>
      </p:sp>
      <p:sp>
        <p:nvSpPr>
          <p:cNvPr id="17" name="Text Placeholder 2"/>
          <p:cNvSpPr>
            <a:spLocks noGrp="1"/>
          </p:cNvSpPr>
          <p:nvPr>
            <p:ph type="body" sz="quarter" idx="17"/>
          </p:nvPr>
        </p:nvSpPr>
        <p:spPr>
          <a:xfrm>
            <a:off x="393747" y="1002707"/>
            <a:ext cx="12651964" cy="437481"/>
          </a:xfrm>
        </p:spPr>
        <p:txBody>
          <a:bodyPr/>
          <a:lstStyle>
            <a:lvl1pPr>
              <a:defRPr sz="1989">
                <a:solidFill>
                  <a:schemeClr val="tx2"/>
                </a:solidFill>
              </a:defRPr>
            </a:lvl1pPr>
          </a:lstStyle>
          <a:p>
            <a:pPr lvl="0"/>
            <a:r>
              <a:rPr lang="es-ES"/>
              <a:t>Haga clic para modificar el estilo de texto del patrón</a:t>
            </a:r>
          </a:p>
        </p:txBody>
      </p:sp>
      <p:sp>
        <p:nvSpPr>
          <p:cNvPr id="18" name="Text Placeholder 17"/>
          <p:cNvSpPr>
            <a:spLocks noGrp="1"/>
          </p:cNvSpPr>
          <p:nvPr>
            <p:ph type="body" sz="quarter" idx="18" hasCustomPrompt="1"/>
          </p:nvPr>
        </p:nvSpPr>
        <p:spPr>
          <a:xfrm>
            <a:off x="6719893" y="7047662"/>
            <a:ext cx="5148803" cy="218029"/>
          </a:xfrm>
        </p:spPr>
        <p:txBody>
          <a:bodyPr anchor="ctr">
            <a:noAutofit/>
          </a:bodyPr>
          <a:lstStyle>
            <a:lvl1pPr>
              <a:spcBef>
                <a:spcPts val="660"/>
              </a:spcBef>
              <a:defRPr sz="886">
                <a:solidFill>
                  <a:schemeClr val="tx2"/>
                </a:solidFill>
              </a:defRPr>
            </a:lvl1pPr>
          </a:lstStyle>
          <a:p>
            <a:pPr lvl="0"/>
            <a:r>
              <a:rPr lang="en-US"/>
              <a:t>Click to add footer text</a:t>
            </a:r>
          </a:p>
        </p:txBody>
      </p:sp>
    </p:spTree>
    <p:extLst>
      <p:ext uri="{BB962C8B-B14F-4D97-AF65-F5344CB8AC3E}">
        <p14:creationId xmlns:p14="http://schemas.microsoft.com/office/powerpoint/2010/main" val="973781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1_Standart - White">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7C077CBE-DA7F-F74A-8177-72CDAD2A0178}"/>
              </a:ext>
            </a:extLst>
          </p:cNvPr>
          <p:cNvGrpSpPr/>
          <p:nvPr userDrawn="1"/>
        </p:nvGrpSpPr>
        <p:grpSpPr>
          <a:xfrm>
            <a:off x="12900954" y="6753314"/>
            <a:ext cx="538820" cy="554376"/>
            <a:chOff x="11703204" y="6126480"/>
            <a:chExt cx="488794" cy="502920"/>
          </a:xfrm>
        </p:grpSpPr>
        <p:sp>
          <p:nvSpPr>
            <p:cNvPr id="11" name="Rectangle 10">
              <a:extLst>
                <a:ext uri="{FF2B5EF4-FFF2-40B4-BE49-F238E27FC236}">
                  <a16:creationId xmlns:a16="http://schemas.microsoft.com/office/drawing/2014/main" id="{9EAFD1CD-2A3C-B044-A930-C58A54400FDE}"/>
                </a:ext>
              </a:extLst>
            </p:cNvPr>
            <p:cNvSpPr>
              <a:spLocks noChangeAspect="1"/>
            </p:cNvSpPr>
            <p:nvPr userDrawn="1"/>
          </p:nvSpPr>
          <p:spPr>
            <a:xfrm>
              <a:off x="11703204" y="6126480"/>
              <a:ext cx="488794" cy="5029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9"/>
            </a:p>
          </p:txBody>
        </p:sp>
        <p:pic>
          <p:nvPicPr>
            <p:cNvPr id="12" name="Picture Placeholder 3">
              <a:extLst>
                <a:ext uri="{FF2B5EF4-FFF2-40B4-BE49-F238E27FC236}">
                  <a16:creationId xmlns:a16="http://schemas.microsoft.com/office/drawing/2014/main" id="{1A1F7DCF-8D99-8541-825F-5B0AE1668039}"/>
                </a:ext>
              </a:extLst>
            </p:cNvPr>
            <p:cNvPicPr>
              <a:picLocks noChangeAspect="1"/>
            </p:cNvPicPr>
            <p:nvPr userDrawn="1"/>
          </p:nvPicPr>
          <p:blipFill>
            <a:blip r:embed="rId2">
              <a:alphaModFix/>
            </a:blip>
            <a:srcRect l="29" r="29"/>
            <a:stretch>
              <a:fillRect/>
            </a:stretch>
          </p:blipFill>
          <p:spPr>
            <a:xfrm>
              <a:off x="11810443" y="6230065"/>
              <a:ext cx="274320" cy="308225"/>
            </a:xfrm>
            <a:prstGeom prst="rect">
              <a:avLst/>
            </a:prstGeom>
          </p:spPr>
        </p:pic>
      </p:grpSp>
      <p:grpSp>
        <p:nvGrpSpPr>
          <p:cNvPr id="13" name="Group 12">
            <a:extLst>
              <a:ext uri="{FF2B5EF4-FFF2-40B4-BE49-F238E27FC236}">
                <a16:creationId xmlns:a16="http://schemas.microsoft.com/office/drawing/2014/main" id="{BD809E54-FDCD-EF40-B110-C92666930F0A}"/>
              </a:ext>
            </a:extLst>
          </p:cNvPr>
          <p:cNvGrpSpPr/>
          <p:nvPr userDrawn="1"/>
        </p:nvGrpSpPr>
        <p:grpSpPr>
          <a:xfrm>
            <a:off x="12901745" y="6749817"/>
            <a:ext cx="538820" cy="554376"/>
            <a:chOff x="11703204" y="6126480"/>
            <a:chExt cx="488794" cy="502920"/>
          </a:xfrm>
        </p:grpSpPr>
        <p:sp>
          <p:nvSpPr>
            <p:cNvPr id="14" name="Rectangle 13">
              <a:extLst>
                <a:ext uri="{FF2B5EF4-FFF2-40B4-BE49-F238E27FC236}">
                  <a16:creationId xmlns:a16="http://schemas.microsoft.com/office/drawing/2014/main" id="{8E3F8845-1276-9D4D-8967-6FF2D06ED52A}"/>
                </a:ext>
              </a:extLst>
            </p:cNvPr>
            <p:cNvSpPr>
              <a:spLocks noChangeAspect="1"/>
            </p:cNvSpPr>
            <p:nvPr userDrawn="1"/>
          </p:nvSpPr>
          <p:spPr>
            <a:xfrm>
              <a:off x="11703204" y="6126480"/>
              <a:ext cx="488794" cy="5029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9"/>
            </a:p>
          </p:txBody>
        </p:sp>
        <p:pic>
          <p:nvPicPr>
            <p:cNvPr id="15" name="Picture Placeholder 3">
              <a:extLst>
                <a:ext uri="{FF2B5EF4-FFF2-40B4-BE49-F238E27FC236}">
                  <a16:creationId xmlns:a16="http://schemas.microsoft.com/office/drawing/2014/main" id="{EA72983C-61EE-9546-BB21-8A209FDB0247}"/>
                </a:ext>
              </a:extLst>
            </p:cNvPr>
            <p:cNvPicPr>
              <a:picLocks noChangeAspect="1"/>
            </p:cNvPicPr>
            <p:nvPr userDrawn="1"/>
          </p:nvPicPr>
          <p:blipFill>
            <a:blip r:embed="rId2">
              <a:alphaModFix/>
            </a:blip>
            <a:srcRect l="29" r="29"/>
            <a:stretch>
              <a:fillRect/>
            </a:stretch>
          </p:blipFill>
          <p:spPr>
            <a:xfrm>
              <a:off x="11810443" y="6230065"/>
              <a:ext cx="274320" cy="308225"/>
            </a:xfrm>
            <a:prstGeom prst="rect">
              <a:avLst/>
            </a:prstGeom>
          </p:spPr>
        </p:pic>
      </p:grpSp>
      <p:sp>
        <p:nvSpPr>
          <p:cNvPr id="48" name="Text Placeholder 17">
            <a:extLst>
              <a:ext uri="{FF2B5EF4-FFF2-40B4-BE49-F238E27FC236}">
                <a16:creationId xmlns:a16="http://schemas.microsoft.com/office/drawing/2014/main" id="{DF50FE8A-4A1D-A947-B91C-AFDF0B63FD9B}"/>
              </a:ext>
            </a:extLst>
          </p:cNvPr>
          <p:cNvSpPr>
            <a:spLocks noGrp="1"/>
          </p:cNvSpPr>
          <p:nvPr>
            <p:ph type="body" sz="quarter" idx="23" hasCustomPrompt="1"/>
          </p:nvPr>
        </p:nvSpPr>
        <p:spPr>
          <a:xfrm>
            <a:off x="6767744" y="6894008"/>
            <a:ext cx="5650975" cy="272988"/>
          </a:xfrm>
        </p:spPr>
        <p:txBody>
          <a:bodyPr lIns="0" tIns="0" rIns="0" bIns="0" anchor="ctr" anchorCtr="0">
            <a:noAutofit/>
          </a:bodyPr>
          <a:lstStyle>
            <a:lvl1pPr marL="0" indent="0" algn="r">
              <a:lnSpc>
                <a:spcPct val="100000"/>
              </a:lnSpc>
              <a:buNone/>
              <a:defRPr sz="1102">
                <a:solidFill>
                  <a:schemeClr val="accent2"/>
                </a:solidFill>
              </a:defRPr>
            </a:lvl1pPr>
          </a:lstStyle>
          <a:p>
            <a:pPr lvl="0"/>
            <a:r>
              <a:rPr lang="en-US"/>
              <a:t>Title or section title</a:t>
            </a:r>
          </a:p>
        </p:txBody>
      </p:sp>
      <p:sp>
        <p:nvSpPr>
          <p:cNvPr id="52" name="Slide Number Placeholder 1">
            <a:extLst>
              <a:ext uri="{FF2B5EF4-FFF2-40B4-BE49-F238E27FC236}">
                <a16:creationId xmlns:a16="http://schemas.microsoft.com/office/drawing/2014/main" id="{FB444D8B-48BE-CE4F-9CD6-DF8882160C4C}"/>
              </a:ext>
            </a:extLst>
          </p:cNvPr>
          <p:cNvSpPr>
            <a:spLocks noGrp="1"/>
          </p:cNvSpPr>
          <p:nvPr>
            <p:ph type="sldNum" sz="quarter" idx="24"/>
          </p:nvPr>
        </p:nvSpPr>
        <p:spPr>
          <a:xfrm>
            <a:off x="12608721" y="6894245"/>
            <a:ext cx="285066" cy="273105"/>
          </a:xfrm>
        </p:spPr>
        <p:txBody>
          <a:bodyPr/>
          <a:lstStyle>
            <a:lvl1pPr algn="l">
              <a:defRPr>
                <a:solidFill>
                  <a:schemeClr val="accent2"/>
                </a:solidFill>
              </a:defRPr>
            </a:lvl1pPr>
          </a:lstStyle>
          <a:p>
            <a:fld id="{A5132229-90DA-6E40-99A7-7C8C601681A9}" type="slidenum">
              <a:rPr lang="en-US" smtClean="0"/>
              <a:pPr/>
              <a:t>‹№›</a:t>
            </a:fld>
            <a:endParaRPr lang="en-US"/>
          </a:p>
        </p:txBody>
      </p:sp>
      <p:sp>
        <p:nvSpPr>
          <p:cNvPr id="53" name="Rectangle 52">
            <a:extLst>
              <a:ext uri="{FF2B5EF4-FFF2-40B4-BE49-F238E27FC236}">
                <a16:creationId xmlns:a16="http://schemas.microsoft.com/office/drawing/2014/main" id="{82EA28B8-5080-C448-990A-EE575F182310}"/>
              </a:ext>
            </a:extLst>
          </p:cNvPr>
          <p:cNvSpPr/>
          <p:nvPr userDrawn="1"/>
        </p:nvSpPr>
        <p:spPr>
          <a:xfrm>
            <a:off x="12509073" y="6894008"/>
            <a:ext cx="10079" cy="27251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9">
              <a:solidFill>
                <a:schemeClr val="accent2"/>
              </a:solidFill>
            </a:endParaRPr>
          </a:p>
        </p:txBody>
      </p:sp>
      <p:sp>
        <p:nvSpPr>
          <p:cNvPr id="3" name="Объект 2">
            <a:extLst>
              <a:ext uri="{FF2B5EF4-FFF2-40B4-BE49-F238E27FC236}">
                <a16:creationId xmlns:a16="http://schemas.microsoft.com/office/drawing/2014/main" id="{D15CBEE1-6F4B-4CC8-8285-AA874AF97E99}"/>
              </a:ext>
            </a:extLst>
          </p:cNvPr>
          <p:cNvSpPr>
            <a:spLocks noGrp="1"/>
          </p:cNvSpPr>
          <p:nvPr>
            <p:ph sz="quarter" idx="25"/>
          </p:nvPr>
        </p:nvSpPr>
        <p:spPr>
          <a:xfrm>
            <a:off x="545992" y="1977878"/>
            <a:ext cx="12356546" cy="446003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uk-UA"/>
          </a:p>
        </p:txBody>
      </p:sp>
      <p:sp>
        <p:nvSpPr>
          <p:cNvPr id="19" name="Text Placeholder 13">
            <a:extLst>
              <a:ext uri="{FF2B5EF4-FFF2-40B4-BE49-F238E27FC236}">
                <a16:creationId xmlns:a16="http://schemas.microsoft.com/office/drawing/2014/main" id="{5C84C300-E7B0-481D-910D-CAD9003D160D}"/>
              </a:ext>
            </a:extLst>
          </p:cNvPr>
          <p:cNvSpPr>
            <a:spLocks noGrp="1"/>
          </p:cNvSpPr>
          <p:nvPr>
            <p:ph type="body" sz="quarter" idx="26" hasCustomPrompt="1"/>
          </p:nvPr>
        </p:nvSpPr>
        <p:spPr>
          <a:xfrm>
            <a:off x="548319" y="6957167"/>
            <a:ext cx="5670428" cy="209595"/>
          </a:xfrm>
        </p:spPr>
        <p:txBody>
          <a:bodyPr lIns="0" tIns="0" rIns="0" bIns="0">
            <a:noAutofit/>
          </a:bodyPr>
          <a:lstStyle>
            <a:lvl1pPr marL="0" indent="0">
              <a:buNone/>
              <a:defRPr sz="886">
                <a:solidFill>
                  <a:schemeClr val="accent2"/>
                </a:solidFill>
              </a:defRPr>
            </a:lvl1pPr>
          </a:lstStyle>
          <a:p>
            <a:pPr lvl="0"/>
            <a:r>
              <a:rPr lang="en-US"/>
              <a:t>* Footnote with data source goes here</a:t>
            </a:r>
          </a:p>
        </p:txBody>
      </p:sp>
      <p:sp>
        <p:nvSpPr>
          <p:cNvPr id="17" name="Text Placeholder 6">
            <a:extLst>
              <a:ext uri="{FF2B5EF4-FFF2-40B4-BE49-F238E27FC236}">
                <a16:creationId xmlns:a16="http://schemas.microsoft.com/office/drawing/2014/main" id="{612C4527-A84C-49C6-BE80-8E001A7A91F8}"/>
              </a:ext>
            </a:extLst>
          </p:cNvPr>
          <p:cNvSpPr>
            <a:spLocks noGrp="1"/>
          </p:cNvSpPr>
          <p:nvPr>
            <p:ph type="body" sz="quarter" idx="13" hasCustomPrompt="1"/>
          </p:nvPr>
        </p:nvSpPr>
        <p:spPr>
          <a:xfrm>
            <a:off x="545995" y="503978"/>
            <a:ext cx="12354962" cy="1007957"/>
          </a:xfrm>
        </p:spPr>
        <p:txBody>
          <a:bodyPr lIns="0" tIns="0" rIns="0" bIns="0" anchor="t" anchorCtr="0">
            <a:noAutofit/>
          </a:bodyPr>
          <a:lstStyle>
            <a:lvl1pPr marL="0" indent="0">
              <a:lnSpc>
                <a:spcPts val="3524"/>
              </a:lnSpc>
              <a:spcBef>
                <a:spcPts val="0"/>
              </a:spcBef>
              <a:buNone/>
              <a:defRPr sz="3091" b="1">
                <a:solidFill>
                  <a:schemeClr val="accent1"/>
                </a:solidFill>
              </a:defRPr>
            </a:lvl1pPr>
          </a:lstStyle>
          <a:p>
            <a:pPr lvl="0"/>
            <a:r>
              <a:rPr lang="en-US"/>
              <a:t>Headline goes here and can extend onto two or three lines</a:t>
            </a:r>
          </a:p>
        </p:txBody>
      </p:sp>
    </p:spTree>
    <p:extLst>
      <p:ext uri="{BB962C8B-B14F-4D97-AF65-F5344CB8AC3E}">
        <p14:creationId xmlns:p14="http://schemas.microsoft.com/office/powerpoint/2010/main" val="396423682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accent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25C416-A3A2-4CF9-9532-2C0BFB51CFDF}"/>
              </a:ext>
            </a:extLst>
          </p:cNvPr>
          <p:cNvSpPr>
            <a:spLocks noGrp="1"/>
          </p:cNvSpPr>
          <p:nvPr>
            <p:ph type="ctrTitle" hasCustomPrompt="1"/>
          </p:nvPr>
        </p:nvSpPr>
        <p:spPr>
          <a:xfrm>
            <a:off x="783013" y="1809204"/>
            <a:ext cx="6263552" cy="1650163"/>
          </a:xfrm>
        </p:spPr>
        <p:txBody>
          <a:bodyPr anchor="b">
            <a:noAutofit/>
          </a:bodyPr>
          <a:lstStyle>
            <a:lvl1pPr algn="l">
              <a:defRPr sz="4184" b="1" baseline="0"/>
            </a:lvl1pPr>
          </a:lstStyle>
          <a:p>
            <a:r>
              <a:rPr lang="en-US"/>
              <a:t>Business-to-business marketing priorities </a:t>
            </a:r>
          </a:p>
        </p:txBody>
      </p:sp>
      <p:sp>
        <p:nvSpPr>
          <p:cNvPr id="3" name="Subtitle 2">
            <a:extLst>
              <a:ext uri="{FF2B5EF4-FFF2-40B4-BE49-F238E27FC236}">
                <a16:creationId xmlns:a16="http://schemas.microsoft.com/office/drawing/2014/main" id="{43D32955-BB06-40DE-A14A-2170FD41AD52}"/>
              </a:ext>
            </a:extLst>
          </p:cNvPr>
          <p:cNvSpPr>
            <a:spLocks noGrp="1"/>
          </p:cNvSpPr>
          <p:nvPr>
            <p:ph type="subTitle" idx="1" hasCustomPrompt="1"/>
          </p:nvPr>
        </p:nvSpPr>
        <p:spPr>
          <a:xfrm>
            <a:off x="783013" y="3527444"/>
            <a:ext cx="6263552" cy="1562607"/>
          </a:xfrm>
        </p:spPr>
        <p:txBody>
          <a:bodyPr>
            <a:normAutofit/>
          </a:bodyPr>
          <a:lstStyle>
            <a:lvl1pPr marL="0" indent="0" algn="l">
              <a:buNone/>
              <a:defRPr sz="1989"/>
            </a:lvl1pPr>
            <a:lvl2pPr marL="504031" indent="0" algn="ctr">
              <a:buNone/>
              <a:defRPr sz="2207"/>
            </a:lvl2pPr>
            <a:lvl3pPr marL="1008063" indent="0" algn="ctr">
              <a:buNone/>
              <a:defRPr sz="1989"/>
            </a:lvl3pPr>
            <a:lvl4pPr marL="1512094" indent="0" algn="ctr">
              <a:buNone/>
              <a:defRPr sz="1763"/>
            </a:lvl4pPr>
            <a:lvl5pPr marL="2016127" indent="0" algn="ctr">
              <a:buNone/>
              <a:defRPr sz="1763"/>
            </a:lvl5pPr>
            <a:lvl6pPr marL="2520158" indent="0" algn="ctr">
              <a:buNone/>
              <a:defRPr sz="1763"/>
            </a:lvl6pPr>
            <a:lvl7pPr marL="3024189" indent="0" algn="ctr">
              <a:buNone/>
              <a:defRPr sz="1763"/>
            </a:lvl7pPr>
            <a:lvl8pPr marL="3528219" indent="0" algn="ctr">
              <a:buNone/>
              <a:defRPr sz="1763"/>
            </a:lvl8pPr>
            <a:lvl9pPr marL="4032251" indent="0" algn="ctr">
              <a:buNone/>
              <a:defRPr sz="1763"/>
            </a:lvl9pPr>
          </a:lstStyle>
          <a:p>
            <a:r>
              <a:rPr lang="en-US"/>
              <a:t>Click to add text</a:t>
            </a:r>
          </a:p>
        </p:txBody>
      </p:sp>
      <p:pic>
        <p:nvPicPr>
          <p:cNvPr id="4" name="Picture 2">
            <a:extLst>
              <a:ext uri="{FF2B5EF4-FFF2-40B4-BE49-F238E27FC236}">
                <a16:creationId xmlns:a16="http://schemas.microsoft.com/office/drawing/2014/main" id="{55FE7A41-57A2-7C9D-7BA4-B12D9D718630}"/>
              </a:ext>
            </a:extLst>
          </p:cNvPr>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r="6070"/>
          <a:stretch/>
        </p:blipFill>
        <p:spPr bwMode="auto">
          <a:xfrm>
            <a:off x="820988" y="0"/>
            <a:ext cx="12618787" cy="75596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79978083"/>
      </p:ext>
    </p:extLst>
  </p:cSld>
  <p:clrMapOvr>
    <a:masterClrMapping/>
  </p:clrMapOvr>
  <p:extLst>
    <p:ext uri="{DCECCB84-F9BA-43D5-87BE-67443E8EF086}">
      <p15:sldGuideLst xmlns:p15="http://schemas.microsoft.com/office/powerpoint/2012/main">
        <p15:guide id="1" pos="7391">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type="blank">
  <p:cSld name="Пустой слайд">
    <p:spTree>
      <p:nvGrpSpPr>
        <p:cNvPr id="1" name=""/>
        <p:cNvGrpSpPr/>
        <p:nvPr/>
      </p:nvGrpSpPr>
      <p:grpSpPr>
        <a:xfrm>
          <a:off x="0" y="0"/>
          <a:ext cx="0" cy="0"/>
          <a:chOff x="0" y="0"/>
          <a:chExt cx="0" cy="0"/>
        </a:xfrm>
      </p:grpSpPr>
      <p:sp>
        <p:nvSpPr>
          <p:cNvPr id="2" name="Дата 1">
            <a:extLst>
              <a:ext uri="{FF2B5EF4-FFF2-40B4-BE49-F238E27FC236}">
                <a16:creationId xmlns:a16="http://schemas.microsoft.com/office/drawing/2014/main" id="{57D03A5E-3472-E87B-BE34-96B3B4098054}"/>
              </a:ext>
            </a:extLst>
          </p:cNvPr>
          <p:cNvSpPr>
            <a:spLocks noGrp="1"/>
          </p:cNvSpPr>
          <p:nvPr>
            <p:ph type="dt" sz="half" idx="10"/>
          </p:nvPr>
        </p:nvSpPr>
        <p:spPr/>
        <p:txBody>
          <a:bodyPr/>
          <a:lstStyle/>
          <a:p>
            <a:endParaRPr lang="ru-RU"/>
          </a:p>
        </p:txBody>
      </p:sp>
      <p:sp>
        <p:nvSpPr>
          <p:cNvPr id="3" name="Нижний колонтитул 2">
            <a:extLst>
              <a:ext uri="{FF2B5EF4-FFF2-40B4-BE49-F238E27FC236}">
                <a16:creationId xmlns:a16="http://schemas.microsoft.com/office/drawing/2014/main" id="{064D4AE5-D489-3708-45DF-07959557F91B}"/>
              </a:ext>
            </a:extLst>
          </p:cNvPr>
          <p:cNvSpPr>
            <a:spLocks noGrp="1"/>
          </p:cNvSpPr>
          <p:nvPr>
            <p:ph type="ftr" sz="quarter" idx="11"/>
          </p:nvPr>
        </p:nvSpPr>
        <p:spPr/>
        <p:txBody>
          <a:bodyPr/>
          <a:lstStyle/>
          <a:p>
            <a:endParaRPr lang="ru-RU"/>
          </a:p>
        </p:txBody>
      </p:sp>
      <p:sp>
        <p:nvSpPr>
          <p:cNvPr id="4" name="Номер слайда 3">
            <a:extLst>
              <a:ext uri="{FF2B5EF4-FFF2-40B4-BE49-F238E27FC236}">
                <a16:creationId xmlns:a16="http://schemas.microsoft.com/office/drawing/2014/main" id="{D507A13A-7614-8A05-4DEF-B7B11F2D781D}"/>
              </a:ext>
            </a:extLst>
          </p:cNvPr>
          <p:cNvSpPr>
            <a:spLocks noGrp="1"/>
          </p:cNvSpPr>
          <p:nvPr>
            <p:ph type="sldNum" sz="quarter" idx="12"/>
          </p:nvPr>
        </p:nvSpPr>
        <p:spPr/>
        <p:txBody>
          <a:bodyPr/>
          <a:lstStyle/>
          <a:p>
            <a:fld id="{95923FBB-E5A5-49E3-9B46-92FA806845D2}" type="slidenum">
              <a:rPr lang="ru-RU" smtClean="0"/>
              <a:t>‹№›</a:t>
            </a:fld>
            <a:endParaRPr lang="ru-RU"/>
          </a:p>
        </p:txBody>
      </p:sp>
    </p:spTree>
    <p:extLst>
      <p:ext uri="{BB962C8B-B14F-4D97-AF65-F5344CB8AC3E}">
        <p14:creationId xmlns:p14="http://schemas.microsoft.com/office/powerpoint/2010/main" val="389207632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userDrawn="1">
  <p:cSld name="2_Пользовательский макет">
    <p:spTree>
      <p:nvGrpSpPr>
        <p:cNvPr id="1" name=""/>
        <p:cNvGrpSpPr/>
        <p:nvPr/>
      </p:nvGrpSpPr>
      <p:grpSpPr>
        <a:xfrm>
          <a:off x="0" y="0"/>
          <a:ext cx="0" cy="0"/>
          <a:chOff x="0" y="0"/>
          <a:chExt cx="0" cy="0"/>
        </a:xfrm>
      </p:grpSpPr>
      <p:graphicFrame>
        <p:nvGraphicFramePr>
          <p:cNvPr id="3" name="Объект 2" hidden="1"/>
          <p:cNvGraphicFramePr>
            <a:graphicFrameLocks noChangeAspect="1"/>
          </p:cNvGraphicFramePr>
          <p:nvPr userDrawn="1">
            <p:custDataLst>
              <p:tags r:id="rId1"/>
            </p:custDataLst>
          </p:nvPr>
        </p:nvGraphicFramePr>
        <p:xfrm>
          <a:off x="1997" y="1593"/>
          <a:ext cx="1996" cy="1590"/>
        </p:xfrm>
        <a:graphic>
          <a:graphicData uri="http://schemas.openxmlformats.org/presentationml/2006/ole">
            <mc:AlternateContent xmlns:mc="http://schemas.openxmlformats.org/markup-compatibility/2006">
              <mc:Choice xmlns:v="urn:schemas-microsoft-com:vml" Requires="v">
                <p:oleObj name="Слайд think-cell" r:id="rId4" imgW="360" imgH="360" progId="TCLayout.ActiveDocument.1">
                  <p:embed/>
                </p:oleObj>
              </mc:Choice>
              <mc:Fallback>
                <p:oleObj name="Слайд think-cell" r:id="rId4" imgW="360" imgH="360" progId="TCLayout.ActiveDocument.1">
                  <p:embed/>
                  <p:pic>
                    <p:nvPicPr>
                      <p:cNvPr id="3" name="Объект 2" hidden="1"/>
                      <p:cNvPicPr/>
                      <p:nvPr/>
                    </p:nvPicPr>
                    <p:blipFill>
                      <a:blip r:embed="rId5"/>
                      <a:stretch>
                        <a:fillRect/>
                      </a:stretch>
                    </p:blipFill>
                    <p:spPr>
                      <a:xfrm>
                        <a:off x="1997" y="1593"/>
                        <a:ext cx="1996" cy="1590"/>
                      </a:xfrm>
                      <a:prstGeom prst="rect">
                        <a:avLst/>
                      </a:prstGeom>
                    </p:spPr>
                  </p:pic>
                </p:oleObj>
              </mc:Fallback>
            </mc:AlternateContent>
          </a:graphicData>
        </a:graphic>
      </p:graphicFrame>
      <p:sp>
        <p:nvSpPr>
          <p:cNvPr id="2" name="Прямоугольник 1" hidden="1"/>
          <p:cNvSpPr/>
          <p:nvPr userDrawn="1">
            <p:custDataLst>
              <p:tags r:id="rId2"/>
            </p:custDataLst>
          </p:nvPr>
        </p:nvSpPr>
        <p:spPr>
          <a:xfrm>
            <a:off x="2" y="4"/>
            <a:ext cx="19955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ru-RU" sz="4704" b="1" i="0" baseline="0">
              <a:latin typeface="Calibri" panose="020F0502020204030204" pitchFamily="34" charset="0"/>
              <a:ea typeface="+mj-ea"/>
              <a:cs typeface="+mj-cs"/>
              <a:sym typeface="Calibri" panose="020F0502020204030204" pitchFamily="34" charset="0"/>
            </a:endParaRPr>
          </a:p>
        </p:txBody>
      </p:sp>
      <p:sp>
        <p:nvSpPr>
          <p:cNvPr id="36" name="Прямоугольник 35"/>
          <p:cNvSpPr/>
          <p:nvPr userDrawn="1"/>
        </p:nvSpPr>
        <p:spPr>
          <a:xfrm>
            <a:off x="618310" y="-1500"/>
            <a:ext cx="56605" cy="3979816"/>
          </a:xfrm>
          <a:prstGeom prst="rect">
            <a:avLst/>
          </a:prstGeom>
          <a:solidFill>
            <a:srgbClr val="FED1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ru-RU" sz="1796"/>
          </a:p>
        </p:txBody>
      </p:sp>
      <p:pic>
        <p:nvPicPr>
          <p:cNvPr id="37" name="Рисунок 36"/>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2018775" y="6917893"/>
            <a:ext cx="935877" cy="318774"/>
          </a:xfrm>
          <a:prstGeom prst="rect">
            <a:avLst/>
          </a:prstGeom>
        </p:spPr>
      </p:pic>
      <p:sp>
        <p:nvSpPr>
          <p:cNvPr id="64" name="Текст 4"/>
          <p:cNvSpPr>
            <a:spLocks noGrp="1"/>
          </p:cNvSpPr>
          <p:nvPr>
            <p:ph type="body" sz="quarter" idx="10" hasCustomPrompt="1"/>
          </p:nvPr>
        </p:nvSpPr>
        <p:spPr>
          <a:xfrm>
            <a:off x="697820" y="2100263"/>
            <a:ext cx="5338293" cy="1204252"/>
          </a:xfrm>
          <a:prstGeom prst="rect">
            <a:avLst/>
          </a:prstGeom>
        </p:spPr>
        <p:txBody>
          <a:bodyPr/>
          <a:lstStyle>
            <a:lvl1pPr marL="0" marR="0" indent="0" algn="l" defTabSz="1007428" rtl="0" eaLnBrk="1" fontAlgn="auto" latinLnBrk="0" hangingPunct="1">
              <a:lnSpc>
                <a:spcPct val="100000"/>
              </a:lnSpc>
              <a:spcBef>
                <a:spcPts val="0"/>
              </a:spcBef>
              <a:spcAft>
                <a:spcPts val="0"/>
              </a:spcAft>
              <a:buClrTx/>
              <a:buSzTx/>
              <a:buFont typeface="Arial" panose="020B0604020202020204" pitchFamily="34" charset="0"/>
              <a:buNone/>
              <a:tabLst/>
              <a:defRPr sz="3601" baseline="0">
                <a:solidFill>
                  <a:srgbClr val="000000"/>
                </a:solidFill>
              </a:defRPr>
            </a:lvl1pPr>
          </a:lstStyle>
          <a:p>
            <a:pPr lvl="0"/>
            <a:r>
              <a:rPr lang="uk-UA"/>
              <a:t>Назва розділу</a:t>
            </a:r>
            <a:endParaRPr lang="en-US"/>
          </a:p>
          <a:p>
            <a:pPr lvl="0"/>
            <a:endParaRPr lang="ru-RU"/>
          </a:p>
        </p:txBody>
      </p:sp>
      <p:sp>
        <p:nvSpPr>
          <p:cNvPr id="65" name="Текст 4"/>
          <p:cNvSpPr>
            <a:spLocks noGrp="1"/>
          </p:cNvSpPr>
          <p:nvPr>
            <p:ph type="body" sz="quarter" idx="11" hasCustomPrompt="1"/>
          </p:nvPr>
        </p:nvSpPr>
        <p:spPr>
          <a:xfrm>
            <a:off x="697820" y="3354124"/>
            <a:ext cx="5338293" cy="624196"/>
          </a:xfrm>
          <a:prstGeom prst="rect">
            <a:avLst/>
          </a:prstGeom>
        </p:spPr>
        <p:txBody>
          <a:bodyPr/>
          <a:lstStyle>
            <a:lvl1pPr marL="0" marR="0" indent="0" algn="l" defTabSz="1007428" rtl="0" eaLnBrk="1" fontAlgn="auto" latinLnBrk="0" hangingPunct="1">
              <a:lnSpc>
                <a:spcPct val="100000"/>
              </a:lnSpc>
              <a:spcBef>
                <a:spcPts val="0"/>
              </a:spcBef>
              <a:spcAft>
                <a:spcPts val="0"/>
              </a:spcAft>
              <a:buClrTx/>
              <a:buSzTx/>
              <a:buFont typeface="Arial" panose="020B0604020202020204" pitchFamily="34" charset="0"/>
              <a:buNone/>
              <a:tabLst/>
              <a:defRPr lang="ru-RU" sz="2004" kern="1200" baseline="0" dirty="0" smtClean="0">
                <a:solidFill>
                  <a:srgbClr val="000000"/>
                </a:solidFill>
                <a:latin typeface="+mn-lt"/>
                <a:ea typeface="+mn-ea"/>
                <a:cs typeface="+mn-cs"/>
              </a:defRPr>
            </a:lvl1pPr>
          </a:lstStyle>
          <a:p>
            <a:pPr marL="0" marR="0" lvl="0" indent="0" algn="l" defTabSz="1007428" rtl="0" eaLnBrk="1" fontAlgn="auto" latinLnBrk="0" hangingPunct="1">
              <a:lnSpc>
                <a:spcPct val="100000"/>
              </a:lnSpc>
              <a:spcBef>
                <a:spcPts val="0"/>
              </a:spcBef>
              <a:spcAft>
                <a:spcPts val="0"/>
              </a:spcAft>
              <a:buClrTx/>
              <a:buSzTx/>
              <a:buFont typeface="Arial" panose="020B0604020202020204" pitchFamily="34" charset="0"/>
              <a:buNone/>
              <a:tabLst/>
              <a:defRPr/>
            </a:pPr>
            <a:r>
              <a:rPr lang="uk-UA"/>
              <a:t>Підзаголовок слайда</a:t>
            </a:r>
            <a:endParaRPr lang="ru-RU"/>
          </a:p>
          <a:p>
            <a:pPr marL="0" marR="0" lvl="0" indent="0" algn="l" defTabSz="1007428" rtl="0" eaLnBrk="1" fontAlgn="auto" latinLnBrk="0" hangingPunct="1">
              <a:lnSpc>
                <a:spcPct val="100000"/>
              </a:lnSpc>
              <a:spcBef>
                <a:spcPts val="0"/>
              </a:spcBef>
              <a:spcAft>
                <a:spcPts val="0"/>
              </a:spcAft>
              <a:buClrTx/>
              <a:buSzTx/>
              <a:buFont typeface="Arial" panose="020B0604020202020204" pitchFamily="34" charset="0"/>
              <a:buNone/>
              <a:tabLst/>
              <a:defRPr/>
            </a:pPr>
            <a:endParaRPr lang="ru-RU"/>
          </a:p>
        </p:txBody>
      </p:sp>
      <p:grpSp>
        <p:nvGrpSpPr>
          <p:cNvPr id="4" name="Группа 3"/>
          <p:cNvGrpSpPr/>
          <p:nvPr userDrawn="1"/>
        </p:nvGrpSpPr>
        <p:grpSpPr>
          <a:xfrm>
            <a:off x="764722" y="4231907"/>
            <a:ext cx="5380026" cy="435129"/>
            <a:chOff x="764722" y="4231906"/>
            <a:chExt cx="5380025" cy="435129"/>
          </a:xfrm>
        </p:grpSpPr>
        <p:grpSp>
          <p:nvGrpSpPr>
            <p:cNvPr id="39" name="Группа 38"/>
            <p:cNvGrpSpPr/>
            <p:nvPr userDrawn="1"/>
          </p:nvGrpSpPr>
          <p:grpSpPr>
            <a:xfrm>
              <a:off x="764722" y="4231906"/>
              <a:ext cx="4236148" cy="435129"/>
              <a:chOff x="764722" y="4231906"/>
              <a:chExt cx="4236148" cy="435129"/>
            </a:xfrm>
          </p:grpSpPr>
          <p:sp>
            <p:nvSpPr>
              <p:cNvPr id="40" name="object 6"/>
              <p:cNvSpPr/>
              <p:nvPr userDrawn="1"/>
            </p:nvSpPr>
            <p:spPr>
              <a:xfrm>
                <a:off x="4958960" y="4231906"/>
                <a:ext cx="41910" cy="55880"/>
              </a:xfrm>
              <a:custGeom>
                <a:avLst/>
                <a:gdLst/>
                <a:ahLst/>
                <a:cxnLst/>
                <a:rect l="l" t="t" r="r" b="b"/>
                <a:pathLst>
                  <a:path w="41910" h="55879">
                    <a:moveTo>
                      <a:pt x="41770" y="0"/>
                    </a:moveTo>
                    <a:lnTo>
                      <a:pt x="16391" y="0"/>
                    </a:lnTo>
                    <a:lnTo>
                      <a:pt x="8664" y="5207"/>
                    </a:lnTo>
                    <a:lnTo>
                      <a:pt x="2326" y="14585"/>
                    </a:lnTo>
                    <a:lnTo>
                      <a:pt x="0" y="26058"/>
                    </a:lnTo>
                    <a:lnTo>
                      <a:pt x="2326" y="37541"/>
                    </a:lnTo>
                    <a:lnTo>
                      <a:pt x="8664" y="46928"/>
                    </a:lnTo>
                    <a:lnTo>
                      <a:pt x="18055" y="53262"/>
                    </a:lnTo>
                    <a:lnTo>
                      <a:pt x="29540" y="55586"/>
                    </a:lnTo>
                    <a:lnTo>
                      <a:pt x="41770" y="55586"/>
                    </a:lnTo>
                    <a:lnTo>
                      <a:pt x="41770" y="44791"/>
                    </a:lnTo>
                    <a:lnTo>
                      <a:pt x="29540" y="44791"/>
                    </a:lnTo>
                    <a:lnTo>
                      <a:pt x="22251" y="43316"/>
                    </a:lnTo>
                    <a:lnTo>
                      <a:pt x="16297" y="39297"/>
                    </a:lnTo>
                    <a:lnTo>
                      <a:pt x="12280" y="33341"/>
                    </a:lnTo>
                    <a:lnTo>
                      <a:pt x="10807" y="26058"/>
                    </a:lnTo>
                    <a:lnTo>
                      <a:pt x="12280" y="18780"/>
                    </a:lnTo>
                    <a:lnTo>
                      <a:pt x="16297" y="12833"/>
                    </a:lnTo>
                    <a:lnTo>
                      <a:pt x="22251" y="8822"/>
                    </a:lnTo>
                    <a:lnTo>
                      <a:pt x="29540" y="7351"/>
                    </a:lnTo>
                    <a:lnTo>
                      <a:pt x="41770" y="7351"/>
                    </a:lnTo>
                    <a:lnTo>
                      <a:pt x="41770" y="0"/>
                    </a:lnTo>
                    <a:close/>
                  </a:path>
                </a:pathLst>
              </a:custGeom>
              <a:solidFill>
                <a:srgbClr val="9B9B9A"/>
              </a:solidFill>
            </p:spPr>
            <p:txBody>
              <a:bodyPr wrap="square" lIns="0" tIns="0" rIns="0" bIns="0" rtlCol="0"/>
              <a:lstStyle/>
              <a:p>
                <a:endParaRPr sz="1796"/>
              </a:p>
            </p:txBody>
          </p:sp>
          <p:sp>
            <p:nvSpPr>
              <p:cNvPr id="41" name="object 7"/>
              <p:cNvSpPr/>
              <p:nvPr userDrawn="1"/>
            </p:nvSpPr>
            <p:spPr>
              <a:xfrm>
                <a:off x="4577674" y="4231906"/>
                <a:ext cx="41910" cy="55880"/>
              </a:xfrm>
              <a:custGeom>
                <a:avLst/>
                <a:gdLst/>
                <a:ahLst/>
                <a:cxnLst/>
                <a:rect l="l" t="t" r="r" b="b"/>
                <a:pathLst>
                  <a:path w="41910" h="55879">
                    <a:moveTo>
                      <a:pt x="41770" y="0"/>
                    </a:moveTo>
                    <a:lnTo>
                      <a:pt x="16376" y="0"/>
                    </a:lnTo>
                    <a:lnTo>
                      <a:pt x="8653" y="5207"/>
                    </a:lnTo>
                    <a:lnTo>
                      <a:pt x="2322" y="14585"/>
                    </a:lnTo>
                    <a:lnTo>
                      <a:pt x="0" y="26058"/>
                    </a:lnTo>
                    <a:lnTo>
                      <a:pt x="2322" y="37541"/>
                    </a:lnTo>
                    <a:lnTo>
                      <a:pt x="8653" y="46928"/>
                    </a:lnTo>
                    <a:lnTo>
                      <a:pt x="18039" y="53262"/>
                    </a:lnTo>
                    <a:lnTo>
                      <a:pt x="29527" y="55586"/>
                    </a:lnTo>
                    <a:lnTo>
                      <a:pt x="41770" y="55586"/>
                    </a:lnTo>
                    <a:lnTo>
                      <a:pt x="41770" y="44791"/>
                    </a:lnTo>
                    <a:lnTo>
                      <a:pt x="29527" y="44791"/>
                    </a:lnTo>
                    <a:lnTo>
                      <a:pt x="22233" y="43316"/>
                    </a:lnTo>
                    <a:lnTo>
                      <a:pt x="16279" y="39297"/>
                    </a:lnTo>
                    <a:lnTo>
                      <a:pt x="12266" y="33341"/>
                    </a:lnTo>
                    <a:lnTo>
                      <a:pt x="10794" y="26058"/>
                    </a:lnTo>
                    <a:lnTo>
                      <a:pt x="12266" y="18780"/>
                    </a:lnTo>
                    <a:lnTo>
                      <a:pt x="16279" y="12833"/>
                    </a:lnTo>
                    <a:lnTo>
                      <a:pt x="22233" y="8822"/>
                    </a:lnTo>
                    <a:lnTo>
                      <a:pt x="29527" y="7351"/>
                    </a:lnTo>
                    <a:lnTo>
                      <a:pt x="41770" y="7351"/>
                    </a:lnTo>
                    <a:lnTo>
                      <a:pt x="41770" y="0"/>
                    </a:lnTo>
                    <a:close/>
                  </a:path>
                </a:pathLst>
              </a:custGeom>
              <a:solidFill>
                <a:srgbClr val="9B9B9A"/>
              </a:solidFill>
            </p:spPr>
            <p:txBody>
              <a:bodyPr wrap="square" lIns="0" tIns="0" rIns="0" bIns="0" rtlCol="0"/>
              <a:lstStyle/>
              <a:p>
                <a:endParaRPr sz="1796"/>
              </a:p>
            </p:txBody>
          </p:sp>
          <p:sp>
            <p:nvSpPr>
              <p:cNvPr id="42" name="object 8"/>
              <p:cNvSpPr/>
              <p:nvPr userDrawn="1"/>
            </p:nvSpPr>
            <p:spPr>
              <a:xfrm>
                <a:off x="4196358" y="4231906"/>
                <a:ext cx="41910" cy="55880"/>
              </a:xfrm>
              <a:custGeom>
                <a:avLst/>
                <a:gdLst/>
                <a:ahLst/>
                <a:cxnLst/>
                <a:rect l="l" t="t" r="r" b="b"/>
                <a:pathLst>
                  <a:path w="41910" h="55879">
                    <a:moveTo>
                      <a:pt x="41795" y="0"/>
                    </a:moveTo>
                    <a:lnTo>
                      <a:pt x="16396" y="0"/>
                    </a:lnTo>
                    <a:lnTo>
                      <a:pt x="8666" y="5207"/>
                    </a:lnTo>
                    <a:lnTo>
                      <a:pt x="2326" y="14585"/>
                    </a:lnTo>
                    <a:lnTo>
                      <a:pt x="0" y="26058"/>
                    </a:lnTo>
                    <a:lnTo>
                      <a:pt x="2326" y="37541"/>
                    </a:lnTo>
                    <a:lnTo>
                      <a:pt x="8666" y="46928"/>
                    </a:lnTo>
                    <a:lnTo>
                      <a:pt x="18061" y="53262"/>
                    </a:lnTo>
                    <a:lnTo>
                      <a:pt x="29552" y="55586"/>
                    </a:lnTo>
                    <a:lnTo>
                      <a:pt x="41795" y="55586"/>
                    </a:lnTo>
                    <a:lnTo>
                      <a:pt x="41795" y="44791"/>
                    </a:lnTo>
                    <a:lnTo>
                      <a:pt x="29552" y="44791"/>
                    </a:lnTo>
                    <a:lnTo>
                      <a:pt x="22264" y="43316"/>
                    </a:lnTo>
                    <a:lnTo>
                      <a:pt x="16309" y="39297"/>
                    </a:lnTo>
                    <a:lnTo>
                      <a:pt x="12293" y="33341"/>
                    </a:lnTo>
                    <a:lnTo>
                      <a:pt x="10820" y="26058"/>
                    </a:lnTo>
                    <a:lnTo>
                      <a:pt x="12293" y="18780"/>
                    </a:lnTo>
                    <a:lnTo>
                      <a:pt x="16309" y="12833"/>
                    </a:lnTo>
                    <a:lnTo>
                      <a:pt x="22264" y="8822"/>
                    </a:lnTo>
                    <a:lnTo>
                      <a:pt x="29552" y="7351"/>
                    </a:lnTo>
                    <a:lnTo>
                      <a:pt x="41795" y="7351"/>
                    </a:lnTo>
                    <a:lnTo>
                      <a:pt x="41795" y="0"/>
                    </a:lnTo>
                    <a:close/>
                  </a:path>
                </a:pathLst>
              </a:custGeom>
              <a:solidFill>
                <a:srgbClr val="9B9B9A"/>
              </a:solidFill>
            </p:spPr>
            <p:txBody>
              <a:bodyPr wrap="square" lIns="0" tIns="0" rIns="0" bIns="0" rtlCol="0"/>
              <a:lstStyle/>
              <a:p>
                <a:endParaRPr sz="1796"/>
              </a:p>
            </p:txBody>
          </p:sp>
          <p:sp>
            <p:nvSpPr>
              <p:cNvPr id="43" name="object 9"/>
              <p:cNvSpPr/>
              <p:nvPr userDrawn="1"/>
            </p:nvSpPr>
            <p:spPr>
              <a:xfrm>
                <a:off x="3815065" y="4231906"/>
                <a:ext cx="41910" cy="55880"/>
              </a:xfrm>
              <a:custGeom>
                <a:avLst/>
                <a:gdLst/>
                <a:ahLst/>
                <a:cxnLst/>
                <a:rect l="l" t="t" r="r" b="b"/>
                <a:pathLst>
                  <a:path w="41910" h="55879">
                    <a:moveTo>
                      <a:pt x="41795" y="0"/>
                    </a:moveTo>
                    <a:lnTo>
                      <a:pt x="16391" y="0"/>
                    </a:lnTo>
                    <a:lnTo>
                      <a:pt x="8664" y="5207"/>
                    </a:lnTo>
                    <a:lnTo>
                      <a:pt x="2326" y="14585"/>
                    </a:lnTo>
                    <a:lnTo>
                      <a:pt x="0" y="26058"/>
                    </a:lnTo>
                    <a:lnTo>
                      <a:pt x="2326" y="37541"/>
                    </a:lnTo>
                    <a:lnTo>
                      <a:pt x="8664" y="46928"/>
                    </a:lnTo>
                    <a:lnTo>
                      <a:pt x="18055" y="53262"/>
                    </a:lnTo>
                    <a:lnTo>
                      <a:pt x="29540" y="55586"/>
                    </a:lnTo>
                    <a:lnTo>
                      <a:pt x="41795" y="55586"/>
                    </a:lnTo>
                    <a:lnTo>
                      <a:pt x="41795" y="44791"/>
                    </a:lnTo>
                    <a:lnTo>
                      <a:pt x="29540" y="44791"/>
                    </a:lnTo>
                    <a:lnTo>
                      <a:pt x="22257" y="43316"/>
                    </a:lnTo>
                    <a:lnTo>
                      <a:pt x="16302" y="39297"/>
                    </a:lnTo>
                    <a:lnTo>
                      <a:pt x="12282" y="33341"/>
                    </a:lnTo>
                    <a:lnTo>
                      <a:pt x="10807" y="26058"/>
                    </a:lnTo>
                    <a:lnTo>
                      <a:pt x="12282" y="18780"/>
                    </a:lnTo>
                    <a:lnTo>
                      <a:pt x="16302" y="12833"/>
                    </a:lnTo>
                    <a:lnTo>
                      <a:pt x="22257" y="8822"/>
                    </a:lnTo>
                    <a:lnTo>
                      <a:pt x="29540" y="7351"/>
                    </a:lnTo>
                    <a:lnTo>
                      <a:pt x="41795" y="7351"/>
                    </a:lnTo>
                    <a:lnTo>
                      <a:pt x="41795" y="0"/>
                    </a:lnTo>
                    <a:close/>
                  </a:path>
                </a:pathLst>
              </a:custGeom>
              <a:solidFill>
                <a:srgbClr val="9B9B9A"/>
              </a:solidFill>
            </p:spPr>
            <p:txBody>
              <a:bodyPr wrap="square" lIns="0" tIns="0" rIns="0" bIns="0" rtlCol="0"/>
              <a:lstStyle/>
              <a:p>
                <a:endParaRPr sz="1796"/>
              </a:p>
            </p:txBody>
          </p:sp>
          <p:sp>
            <p:nvSpPr>
              <p:cNvPr id="44" name="object 10"/>
              <p:cNvSpPr/>
              <p:nvPr userDrawn="1"/>
            </p:nvSpPr>
            <p:spPr>
              <a:xfrm>
                <a:off x="3433788" y="4231906"/>
                <a:ext cx="41910" cy="55880"/>
              </a:xfrm>
              <a:custGeom>
                <a:avLst/>
                <a:gdLst/>
                <a:ahLst/>
                <a:cxnLst/>
                <a:rect l="l" t="t" r="r" b="b"/>
                <a:pathLst>
                  <a:path w="41910" h="55879">
                    <a:moveTo>
                      <a:pt x="41795" y="0"/>
                    </a:moveTo>
                    <a:lnTo>
                      <a:pt x="16382" y="0"/>
                    </a:lnTo>
                    <a:lnTo>
                      <a:pt x="8658" y="5207"/>
                    </a:lnTo>
                    <a:lnTo>
                      <a:pt x="2324" y="14585"/>
                    </a:lnTo>
                    <a:lnTo>
                      <a:pt x="0" y="26058"/>
                    </a:lnTo>
                    <a:lnTo>
                      <a:pt x="2324" y="37541"/>
                    </a:lnTo>
                    <a:lnTo>
                      <a:pt x="8658" y="46928"/>
                    </a:lnTo>
                    <a:lnTo>
                      <a:pt x="18045" y="53262"/>
                    </a:lnTo>
                    <a:lnTo>
                      <a:pt x="29527" y="55586"/>
                    </a:lnTo>
                    <a:lnTo>
                      <a:pt x="41795" y="55586"/>
                    </a:lnTo>
                    <a:lnTo>
                      <a:pt x="41795" y="44791"/>
                    </a:lnTo>
                    <a:lnTo>
                      <a:pt x="29527" y="44791"/>
                    </a:lnTo>
                    <a:lnTo>
                      <a:pt x="22244" y="43316"/>
                    </a:lnTo>
                    <a:lnTo>
                      <a:pt x="16289" y="39297"/>
                    </a:lnTo>
                    <a:lnTo>
                      <a:pt x="12269" y="33341"/>
                    </a:lnTo>
                    <a:lnTo>
                      <a:pt x="10794" y="26058"/>
                    </a:lnTo>
                    <a:lnTo>
                      <a:pt x="12269" y="18780"/>
                    </a:lnTo>
                    <a:lnTo>
                      <a:pt x="16289" y="12833"/>
                    </a:lnTo>
                    <a:lnTo>
                      <a:pt x="22244" y="8822"/>
                    </a:lnTo>
                    <a:lnTo>
                      <a:pt x="29527" y="7351"/>
                    </a:lnTo>
                    <a:lnTo>
                      <a:pt x="41795" y="7351"/>
                    </a:lnTo>
                    <a:lnTo>
                      <a:pt x="41795" y="0"/>
                    </a:lnTo>
                    <a:close/>
                  </a:path>
                </a:pathLst>
              </a:custGeom>
              <a:solidFill>
                <a:srgbClr val="9B9B9A"/>
              </a:solidFill>
            </p:spPr>
            <p:txBody>
              <a:bodyPr wrap="square" lIns="0" tIns="0" rIns="0" bIns="0" rtlCol="0"/>
              <a:lstStyle/>
              <a:p>
                <a:endParaRPr sz="1796"/>
              </a:p>
            </p:txBody>
          </p:sp>
          <p:sp>
            <p:nvSpPr>
              <p:cNvPr id="45" name="object 11"/>
              <p:cNvSpPr/>
              <p:nvPr userDrawn="1"/>
            </p:nvSpPr>
            <p:spPr>
              <a:xfrm>
                <a:off x="3052497" y="4231906"/>
                <a:ext cx="41910" cy="55880"/>
              </a:xfrm>
              <a:custGeom>
                <a:avLst/>
                <a:gdLst/>
                <a:ahLst/>
                <a:cxnLst/>
                <a:rect l="l" t="t" r="r" b="b"/>
                <a:pathLst>
                  <a:path w="41910" h="55879">
                    <a:moveTo>
                      <a:pt x="41770" y="0"/>
                    </a:moveTo>
                    <a:lnTo>
                      <a:pt x="16382" y="0"/>
                    </a:lnTo>
                    <a:lnTo>
                      <a:pt x="8658" y="5207"/>
                    </a:lnTo>
                    <a:lnTo>
                      <a:pt x="2324" y="14585"/>
                    </a:lnTo>
                    <a:lnTo>
                      <a:pt x="0" y="26058"/>
                    </a:lnTo>
                    <a:lnTo>
                      <a:pt x="2324" y="37541"/>
                    </a:lnTo>
                    <a:lnTo>
                      <a:pt x="8658" y="46928"/>
                    </a:lnTo>
                    <a:lnTo>
                      <a:pt x="18045" y="53262"/>
                    </a:lnTo>
                    <a:lnTo>
                      <a:pt x="29527" y="55586"/>
                    </a:lnTo>
                    <a:lnTo>
                      <a:pt x="41770" y="55586"/>
                    </a:lnTo>
                    <a:lnTo>
                      <a:pt x="41770" y="44791"/>
                    </a:lnTo>
                    <a:lnTo>
                      <a:pt x="29527" y="44791"/>
                    </a:lnTo>
                    <a:lnTo>
                      <a:pt x="22239" y="43316"/>
                    </a:lnTo>
                    <a:lnTo>
                      <a:pt x="16284" y="39297"/>
                    </a:lnTo>
                    <a:lnTo>
                      <a:pt x="12268" y="33341"/>
                    </a:lnTo>
                    <a:lnTo>
                      <a:pt x="10794" y="26058"/>
                    </a:lnTo>
                    <a:lnTo>
                      <a:pt x="12268" y="18780"/>
                    </a:lnTo>
                    <a:lnTo>
                      <a:pt x="16284" y="12833"/>
                    </a:lnTo>
                    <a:lnTo>
                      <a:pt x="22239" y="8822"/>
                    </a:lnTo>
                    <a:lnTo>
                      <a:pt x="29527" y="7351"/>
                    </a:lnTo>
                    <a:lnTo>
                      <a:pt x="41770" y="7351"/>
                    </a:lnTo>
                    <a:lnTo>
                      <a:pt x="41770" y="0"/>
                    </a:lnTo>
                    <a:close/>
                  </a:path>
                </a:pathLst>
              </a:custGeom>
              <a:solidFill>
                <a:srgbClr val="9B9B9A"/>
              </a:solidFill>
            </p:spPr>
            <p:txBody>
              <a:bodyPr wrap="square" lIns="0" tIns="0" rIns="0" bIns="0" rtlCol="0"/>
              <a:lstStyle/>
              <a:p>
                <a:endParaRPr sz="1796"/>
              </a:p>
            </p:txBody>
          </p:sp>
          <p:sp>
            <p:nvSpPr>
              <p:cNvPr id="46" name="object 12"/>
              <p:cNvSpPr/>
              <p:nvPr userDrawn="1"/>
            </p:nvSpPr>
            <p:spPr>
              <a:xfrm>
                <a:off x="2671204" y="4231906"/>
                <a:ext cx="41910" cy="55880"/>
              </a:xfrm>
              <a:custGeom>
                <a:avLst/>
                <a:gdLst/>
                <a:ahLst/>
                <a:cxnLst/>
                <a:rect l="l" t="t" r="r" b="b"/>
                <a:pathLst>
                  <a:path w="41910" h="55879">
                    <a:moveTo>
                      <a:pt x="41770" y="0"/>
                    </a:moveTo>
                    <a:lnTo>
                      <a:pt x="16391" y="0"/>
                    </a:lnTo>
                    <a:lnTo>
                      <a:pt x="8664" y="5207"/>
                    </a:lnTo>
                    <a:lnTo>
                      <a:pt x="2326" y="14585"/>
                    </a:lnTo>
                    <a:lnTo>
                      <a:pt x="0" y="26058"/>
                    </a:lnTo>
                    <a:lnTo>
                      <a:pt x="2326" y="37541"/>
                    </a:lnTo>
                    <a:lnTo>
                      <a:pt x="8664" y="46928"/>
                    </a:lnTo>
                    <a:lnTo>
                      <a:pt x="18055" y="53262"/>
                    </a:lnTo>
                    <a:lnTo>
                      <a:pt x="29540" y="55586"/>
                    </a:lnTo>
                    <a:lnTo>
                      <a:pt x="41770" y="55586"/>
                    </a:lnTo>
                    <a:lnTo>
                      <a:pt x="41770" y="44791"/>
                    </a:lnTo>
                    <a:lnTo>
                      <a:pt x="29540" y="44791"/>
                    </a:lnTo>
                    <a:lnTo>
                      <a:pt x="22246" y="43316"/>
                    </a:lnTo>
                    <a:lnTo>
                      <a:pt x="16292" y="39297"/>
                    </a:lnTo>
                    <a:lnTo>
                      <a:pt x="12279" y="33341"/>
                    </a:lnTo>
                    <a:lnTo>
                      <a:pt x="10807" y="26058"/>
                    </a:lnTo>
                    <a:lnTo>
                      <a:pt x="12279" y="18780"/>
                    </a:lnTo>
                    <a:lnTo>
                      <a:pt x="16292" y="12833"/>
                    </a:lnTo>
                    <a:lnTo>
                      <a:pt x="22246" y="8822"/>
                    </a:lnTo>
                    <a:lnTo>
                      <a:pt x="29540" y="7351"/>
                    </a:lnTo>
                    <a:lnTo>
                      <a:pt x="41770" y="7351"/>
                    </a:lnTo>
                    <a:lnTo>
                      <a:pt x="41770" y="0"/>
                    </a:lnTo>
                    <a:close/>
                  </a:path>
                </a:pathLst>
              </a:custGeom>
              <a:solidFill>
                <a:srgbClr val="9B9B9A"/>
              </a:solidFill>
            </p:spPr>
            <p:txBody>
              <a:bodyPr wrap="square" lIns="0" tIns="0" rIns="0" bIns="0" rtlCol="0"/>
              <a:lstStyle/>
              <a:p>
                <a:endParaRPr sz="1796"/>
              </a:p>
            </p:txBody>
          </p:sp>
          <p:sp>
            <p:nvSpPr>
              <p:cNvPr id="47" name="object 13"/>
              <p:cNvSpPr/>
              <p:nvPr userDrawn="1"/>
            </p:nvSpPr>
            <p:spPr>
              <a:xfrm>
                <a:off x="2289901" y="4231906"/>
                <a:ext cx="41910" cy="55880"/>
              </a:xfrm>
              <a:custGeom>
                <a:avLst/>
                <a:gdLst/>
                <a:ahLst/>
                <a:cxnLst/>
                <a:rect l="l" t="t" r="r" b="b"/>
                <a:pathLst>
                  <a:path w="41910" h="55879">
                    <a:moveTo>
                      <a:pt x="41782" y="0"/>
                    </a:moveTo>
                    <a:lnTo>
                      <a:pt x="16382" y="0"/>
                    </a:lnTo>
                    <a:lnTo>
                      <a:pt x="8658" y="5207"/>
                    </a:lnTo>
                    <a:lnTo>
                      <a:pt x="2324" y="14585"/>
                    </a:lnTo>
                    <a:lnTo>
                      <a:pt x="0" y="26058"/>
                    </a:lnTo>
                    <a:lnTo>
                      <a:pt x="2324" y="37541"/>
                    </a:lnTo>
                    <a:lnTo>
                      <a:pt x="8658" y="46928"/>
                    </a:lnTo>
                    <a:lnTo>
                      <a:pt x="18045" y="53262"/>
                    </a:lnTo>
                    <a:lnTo>
                      <a:pt x="29527" y="55586"/>
                    </a:lnTo>
                    <a:lnTo>
                      <a:pt x="41782" y="55586"/>
                    </a:lnTo>
                    <a:lnTo>
                      <a:pt x="41782" y="44791"/>
                    </a:lnTo>
                    <a:lnTo>
                      <a:pt x="29527" y="44791"/>
                    </a:lnTo>
                    <a:lnTo>
                      <a:pt x="22244" y="43316"/>
                    </a:lnTo>
                    <a:lnTo>
                      <a:pt x="16289" y="39297"/>
                    </a:lnTo>
                    <a:lnTo>
                      <a:pt x="12269" y="33341"/>
                    </a:lnTo>
                    <a:lnTo>
                      <a:pt x="10794" y="26058"/>
                    </a:lnTo>
                    <a:lnTo>
                      <a:pt x="12269" y="18780"/>
                    </a:lnTo>
                    <a:lnTo>
                      <a:pt x="16289" y="12833"/>
                    </a:lnTo>
                    <a:lnTo>
                      <a:pt x="22244" y="8822"/>
                    </a:lnTo>
                    <a:lnTo>
                      <a:pt x="29527" y="7351"/>
                    </a:lnTo>
                    <a:lnTo>
                      <a:pt x="41782" y="7351"/>
                    </a:lnTo>
                    <a:lnTo>
                      <a:pt x="41782" y="0"/>
                    </a:lnTo>
                    <a:close/>
                  </a:path>
                </a:pathLst>
              </a:custGeom>
              <a:solidFill>
                <a:srgbClr val="9B9B9A"/>
              </a:solidFill>
            </p:spPr>
            <p:txBody>
              <a:bodyPr wrap="square" lIns="0" tIns="0" rIns="0" bIns="0" rtlCol="0"/>
              <a:lstStyle/>
              <a:p>
                <a:endParaRPr sz="1796"/>
              </a:p>
            </p:txBody>
          </p:sp>
          <p:sp>
            <p:nvSpPr>
              <p:cNvPr id="48" name="object 14"/>
              <p:cNvSpPr/>
              <p:nvPr userDrawn="1"/>
            </p:nvSpPr>
            <p:spPr>
              <a:xfrm>
                <a:off x="1908617" y="4231906"/>
                <a:ext cx="41910" cy="55880"/>
              </a:xfrm>
              <a:custGeom>
                <a:avLst/>
                <a:gdLst/>
                <a:ahLst/>
                <a:cxnLst/>
                <a:rect l="l" t="t" r="r" b="b"/>
                <a:pathLst>
                  <a:path w="41910" h="55879">
                    <a:moveTo>
                      <a:pt x="41757" y="0"/>
                    </a:moveTo>
                    <a:lnTo>
                      <a:pt x="16382" y="0"/>
                    </a:lnTo>
                    <a:lnTo>
                      <a:pt x="8658" y="5207"/>
                    </a:lnTo>
                    <a:lnTo>
                      <a:pt x="2324" y="14585"/>
                    </a:lnTo>
                    <a:lnTo>
                      <a:pt x="0" y="26058"/>
                    </a:lnTo>
                    <a:lnTo>
                      <a:pt x="2324" y="37541"/>
                    </a:lnTo>
                    <a:lnTo>
                      <a:pt x="8658" y="46928"/>
                    </a:lnTo>
                    <a:lnTo>
                      <a:pt x="18045" y="53262"/>
                    </a:lnTo>
                    <a:lnTo>
                      <a:pt x="29527" y="55586"/>
                    </a:lnTo>
                    <a:lnTo>
                      <a:pt x="41757" y="55586"/>
                    </a:lnTo>
                    <a:lnTo>
                      <a:pt x="41757" y="44791"/>
                    </a:lnTo>
                    <a:lnTo>
                      <a:pt x="29527" y="44791"/>
                    </a:lnTo>
                    <a:lnTo>
                      <a:pt x="22244" y="43316"/>
                    </a:lnTo>
                    <a:lnTo>
                      <a:pt x="16289" y="39297"/>
                    </a:lnTo>
                    <a:lnTo>
                      <a:pt x="12269" y="33341"/>
                    </a:lnTo>
                    <a:lnTo>
                      <a:pt x="10795" y="26058"/>
                    </a:lnTo>
                    <a:lnTo>
                      <a:pt x="12269" y="18780"/>
                    </a:lnTo>
                    <a:lnTo>
                      <a:pt x="16289" y="12833"/>
                    </a:lnTo>
                    <a:lnTo>
                      <a:pt x="22244" y="8822"/>
                    </a:lnTo>
                    <a:lnTo>
                      <a:pt x="29527" y="7351"/>
                    </a:lnTo>
                    <a:lnTo>
                      <a:pt x="41757" y="7351"/>
                    </a:lnTo>
                    <a:lnTo>
                      <a:pt x="41757" y="0"/>
                    </a:lnTo>
                    <a:close/>
                  </a:path>
                </a:pathLst>
              </a:custGeom>
              <a:solidFill>
                <a:srgbClr val="9B9B9A"/>
              </a:solidFill>
            </p:spPr>
            <p:txBody>
              <a:bodyPr wrap="square" lIns="0" tIns="0" rIns="0" bIns="0" rtlCol="0"/>
              <a:lstStyle/>
              <a:p>
                <a:endParaRPr sz="1796"/>
              </a:p>
            </p:txBody>
          </p:sp>
          <p:sp>
            <p:nvSpPr>
              <p:cNvPr id="49" name="object 15"/>
              <p:cNvSpPr/>
              <p:nvPr userDrawn="1"/>
            </p:nvSpPr>
            <p:spPr>
              <a:xfrm>
                <a:off x="1527318" y="4231906"/>
                <a:ext cx="41910" cy="55880"/>
              </a:xfrm>
              <a:custGeom>
                <a:avLst/>
                <a:gdLst/>
                <a:ahLst/>
                <a:cxnLst/>
                <a:rect l="l" t="t" r="r" b="b"/>
                <a:pathLst>
                  <a:path w="41909" h="55879">
                    <a:moveTo>
                      <a:pt x="41770" y="0"/>
                    </a:moveTo>
                    <a:lnTo>
                      <a:pt x="16391" y="0"/>
                    </a:lnTo>
                    <a:lnTo>
                      <a:pt x="8664" y="5207"/>
                    </a:lnTo>
                    <a:lnTo>
                      <a:pt x="2326" y="14585"/>
                    </a:lnTo>
                    <a:lnTo>
                      <a:pt x="0" y="26058"/>
                    </a:lnTo>
                    <a:lnTo>
                      <a:pt x="2326" y="37541"/>
                    </a:lnTo>
                    <a:lnTo>
                      <a:pt x="8664" y="46928"/>
                    </a:lnTo>
                    <a:lnTo>
                      <a:pt x="18055" y="53262"/>
                    </a:lnTo>
                    <a:lnTo>
                      <a:pt x="29540" y="55586"/>
                    </a:lnTo>
                    <a:lnTo>
                      <a:pt x="41770" y="55586"/>
                    </a:lnTo>
                    <a:lnTo>
                      <a:pt x="41770" y="44791"/>
                    </a:lnTo>
                    <a:lnTo>
                      <a:pt x="29540" y="44791"/>
                    </a:lnTo>
                    <a:lnTo>
                      <a:pt x="22246" y="43316"/>
                    </a:lnTo>
                    <a:lnTo>
                      <a:pt x="16292" y="39297"/>
                    </a:lnTo>
                    <a:lnTo>
                      <a:pt x="12279" y="33341"/>
                    </a:lnTo>
                    <a:lnTo>
                      <a:pt x="10807" y="26058"/>
                    </a:lnTo>
                    <a:lnTo>
                      <a:pt x="12279" y="18780"/>
                    </a:lnTo>
                    <a:lnTo>
                      <a:pt x="16292" y="12833"/>
                    </a:lnTo>
                    <a:lnTo>
                      <a:pt x="22246" y="8822"/>
                    </a:lnTo>
                    <a:lnTo>
                      <a:pt x="29540" y="7351"/>
                    </a:lnTo>
                    <a:lnTo>
                      <a:pt x="41770" y="7351"/>
                    </a:lnTo>
                    <a:lnTo>
                      <a:pt x="41770" y="0"/>
                    </a:lnTo>
                    <a:close/>
                  </a:path>
                </a:pathLst>
              </a:custGeom>
              <a:solidFill>
                <a:srgbClr val="9B9B9A"/>
              </a:solidFill>
            </p:spPr>
            <p:txBody>
              <a:bodyPr wrap="square" lIns="0" tIns="0" rIns="0" bIns="0" rtlCol="0"/>
              <a:lstStyle/>
              <a:p>
                <a:endParaRPr sz="1796"/>
              </a:p>
            </p:txBody>
          </p:sp>
          <p:sp>
            <p:nvSpPr>
              <p:cNvPr id="50" name="object 16"/>
              <p:cNvSpPr/>
              <p:nvPr userDrawn="1"/>
            </p:nvSpPr>
            <p:spPr>
              <a:xfrm>
                <a:off x="1146032" y="4231906"/>
                <a:ext cx="41910" cy="55880"/>
              </a:xfrm>
              <a:custGeom>
                <a:avLst/>
                <a:gdLst/>
                <a:ahLst/>
                <a:cxnLst/>
                <a:rect l="l" t="t" r="r" b="b"/>
                <a:pathLst>
                  <a:path w="41909" h="55879">
                    <a:moveTo>
                      <a:pt x="41770" y="0"/>
                    </a:moveTo>
                    <a:lnTo>
                      <a:pt x="16391" y="0"/>
                    </a:lnTo>
                    <a:lnTo>
                      <a:pt x="8664" y="5207"/>
                    </a:lnTo>
                    <a:lnTo>
                      <a:pt x="2326" y="14585"/>
                    </a:lnTo>
                    <a:lnTo>
                      <a:pt x="0" y="26058"/>
                    </a:lnTo>
                    <a:lnTo>
                      <a:pt x="2326" y="37541"/>
                    </a:lnTo>
                    <a:lnTo>
                      <a:pt x="8664" y="46928"/>
                    </a:lnTo>
                    <a:lnTo>
                      <a:pt x="18055" y="53262"/>
                    </a:lnTo>
                    <a:lnTo>
                      <a:pt x="29540" y="55586"/>
                    </a:lnTo>
                    <a:lnTo>
                      <a:pt x="41770" y="55586"/>
                    </a:lnTo>
                    <a:lnTo>
                      <a:pt x="41770" y="44791"/>
                    </a:lnTo>
                    <a:lnTo>
                      <a:pt x="29540" y="44791"/>
                    </a:lnTo>
                    <a:lnTo>
                      <a:pt x="22246" y="43316"/>
                    </a:lnTo>
                    <a:lnTo>
                      <a:pt x="16292" y="39297"/>
                    </a:lnTo>
                    <a:lnTo>
                      <a:pt x="12279" y="33341"/>
                    </a:lnTo>
                    <a:lnTo>
                      <a:pt x="10807" y="26058"/>
                    </a:lnTo>
                    <a:lnTo>
                      <a:pt x="12279" y="18780"/>
                    </a:lnTo>
                    <a:lnTo>
                      <a:pt x="16292" y="12833"/>
                    </a:lnTo>
                    <a:lnTo>
                      <a:pt x="22246" y="8822"/>
                    </a:lnTo>
                    <a:lnTo>
                      <a:pt x="29540" y="7351"/>
                    </a:lnTo>
                    <a:lnTo>
                      <a:pt x="41770" y="7351"/>
                    </a:lnTo>
                    <a:lnTo>
                      <a:pt x="41770" y="0"/>
                    </a:lnTo>
                    <a:close/>
                  </a:path>
                </a:pathLst>
              </a:custGeom>
              <a:solidFill>
                <a:srgbClr val="9B9B9A"/>
              </a:solidFill>
            </p:spPr>
            <p:txBody>
              <a:bodyPr wrap="square" lIns="0" tIns="0" rIns="0" bIns="0" rtlCol="0"/>
              <a:lstStyle/>
              <a:p>
                <a:endParaRPr sz="1796"/>
              </a:p>
            </p:txBody>
          </p:sp>
          <p:sp>
            <p:nvSpPr>
              <p:cNvPr id="51" name="object 17"/>
              <p:cNvSpPr/>
              <p:nvPr userDrawn="1"/>
            </p:nvSpPr>
            <p:spPr>
              <a:xfrm>
                <a:off x="764722" y="4231906"/>
                <a:ext cx="41910" cy="55880"/>
              </a:xfrm>
              <a:custGeom>
                <a:avLst/>
                <a:gdLst/>
                <a:ahLst/>
                <a:cxnLst/>
                <a:rect l="l" t="t" r="r" b="b"/>
                <a:pathLst>
                  <a:path w="41909" h="55879">
                    <a:moveTo>
                      <a:pt x="41795" y="0"/>
                    </a:moveTo>
                    <a:lnTo>
                      <a:pt x="16397" y="0"/>
                    </a:lnTo>
                    <a:lnTo>
                      <a:pt x="8669" y="5207"/>
                    </a:lnTo>
                    <a:lnTo>
                      <a:pt x="2327" y="14585"/>
                    </a:lnTo>
                    <a:lnTo>
                      <a:pt x="0" y="26058"/>
                    </a:lnTo>
                    <a:lnTo>
                      <a:pt x="2327" y="37541"/>
                    </a:lnTo>
                    <a:lnTo>
                      <a:pt x="8669" y="46928"/>
                    </a:lnTo>
                    <a:lnTo>
                      <a:pt x="18061" y="53262"/>
                    </a:lnTo>
                    <a:lnTo>
                      <a:pt x="29540" y="55586"/>
                    </a:lnTo>
                    <a:lnTo>
                      <a:pt x="41795" y="55586"/>
                    </a:lnTo>
                    <a:lnTo>
                      <a:pt x="41795" y="44791"/>
                    </a:lnTo>
                    <a:lnTo>
                      <a:pt x="29540" y="44791"/>
                    </a:lnTo>
                    <a:lnTo>
                      <a:pt x="22251" y="43316"/>
                    </a:lnTo>
                    <a:lnTo>
                      <a:pt x="16297" y="39297"/>
                    </a:lnTo>
                    <a:lnTo>
                      <a:pt x="12280" y="33341"/>
                    </a:lnTo>
                    <a:lnTo>
                      <a:pt x="10807" y="26058"/>
                    </a:lnTo>
                    <a:lnTo>
                      <a:pt x="12280" y="18780"/>
                    </a:lnTo>
                    <a:lnTo>
                      <a:pt x="16297" y="12833"/>
                    </a:lnTo>
                    <a:lnTo>
                      <a:pt x="22251" y="8822"/>
                    </a:lnTo>
                    <a:lnTo>
                      <a:pt x="29540" y="7351"/>
                    </a:lnTo>
                    <a:lnTo>
                      <a:pt x="41795" y="7351"/>
                    </a:lnTo>
                    <a:lnTo>
                      <a:pt x="41795" y="0"/>
                    </a:lnTo>
                    <a:close/>
                  </a:path>
                </a:pathLst>
              </a:custGeom>
              <a:solidFill>
                <a:srgbClr val="9B9B9A"/>
              </a:solidFill>
            </p:spPr>
            <p:txBody>
              <a:bodyPr wrap="square" lIns="0" tIns="0" rIns="0" bIns="0" rtlCol="0"/>
              <a:lstStyle/>
              <a:p>
                <a:endParaRPr sz="1796"/>
              </a:p>
            </p:txBody>
          </p:sp>
          <p:sp>
            <p:nvSpPr>
              <p:cNvPr id="52" name="object 18"/>
              <p:cNvSpPr/>
              <p:nvPr userDrawn="1"/>
            </p:nvSpPr>
            <p:spPr>
              <a:xfrm>
                <a:off x="764726" y="4607980"/>
                <a:ext cx="41910" cy="59055"/>
              </a:xfrm>
              <a:custGeom>
                <a:avLst/>
                <a:gdLst/>
                <a:ahLst/>
                <a:cxnLst/>
                <a:rect l="l" t="t" r="r" b="b"/>
                <a:pathLst>
                  <a:path w="41909" h="59054">
                    <a:moveTo>
                      <a:pt x="12255" y="0"/>
                    </a:moveTo>
                    <a:lnTo>
                      <a:pt x="0" y="0"/>
                    </a:lnTo>
                    <a:lnTo>
                      <a:pt x="0" y="10795"/>
                    </a:lnTo>
                    <a:lnTo>
                      <a:pt x="12255" y="10795"/>
                    </a:lnTo>
                    <a:lnTo>
                      <a:pt x="19534" y="12269"/>
                    </a:lnTo>
                    <a:lnTo>
                      <a:pt x="25480" y="16289"/>
                    </a:lnTo>
                    <a:lnTo>
                      <a:pt x="29491" y="22244"/>
                    </a:lnTo>
                    <a:lnTo>
                      <a:pt x="30962" y="29527"/>
                    </a:lnTo>
                    <a:lnTo>
                      <a:pt x="29491" y="36806"/>
                    </a:lnTo>
                    <a:lnTo>
                      <a:pt x="25480" y="42752"/>
                    </a:lnTo>
                    <a:lnTo>
                      <a:pt x="19534" y="46763"/>
                    </a:lnTo>
                    <a:lnTo>
                      <a:pt x="12255" y="48234"/>
                    </a:lnTo>
                    <a:lnTo>
                      <a:pt x="0" y="48234"/>
                    </a:lnTo>
                    <a:lnTo>
                      <a:pt x="0" y="59029"/>
                    </a:lnTo>
                    <a:lnTo>
                      <a:pt x="12255" y="59029"/>
                    </a:lnTo>
                    <a:lnTo>
                      <a:pt x="23739" y="56709"/>
                    </a:lnTo>
                    <a:lnTo>
                      <a:pt x="33131" y="50384"/>
                    </a:lnTo>
                    <a:lnTo>
                      <a:pt x="39469" y="41005"/>
                    </a:lnTo>
                    <a:lnTo>
                      <a:pt x="41795" y="29527"/>
                    </a:lnTo>
                    <a:lnTo>
                      <a:pt x="39469" y="18045"/>
                    </a:lnTo>
                    <a:lnTo>
                      <a:pt x="33131" y="8658"/>
                    </a:lnTo>
                    <a:lnTo>
                      <a:pt x="23739" y="2324"/>
                    </a:lnTo>
                    <a:lnTo>
                      <a:pt x="12255" y="0"/>
                    </a:lnTo>
                    <a:close/>
                  </a:path>
                </a:pathLst>
              </a:custGeom>
              <a:solidFill>
                <a:srgbClr val="9B9B9A"/>
              </a:solidFill>
            </p:spPr>
            <p:txBody>
              <a:bodyPr wrap="square" lIns="0" tIns="0" rIns="0" bIns="0" rtlCol="0"/>
              <a:lstStyle/>
              <a:p>
                <a:endParaRPr sz="1796"/>
              </a:p>
            </p:txBody>
          </p:sp>
          <p:sp>
            <p:nvSpPr>
              <p:cNvPr id="53" name="object 19"/>
              <p:cNvSpPr/>
              <p:nvPr userDrawn="1"/>
            </p:nvSpPr>
            <p:spPr>
              <a:xfrm>
                <a:off x="1146030" y="4607980"/>
                <a:ext cx="41910" cy="59055"/>
              </a:xfrm>
              <a:custGeom>
                <a:avLst/>
                <a:gdLst/>
                <a:ahLst/>
                <a:cxnLst/>
                <a:rect l="l" t="t" r="r" b="b"/>
                <a:pathLst>
                  <a:path w="41909" h="59054">
                    <a:moveTo>
                      <a:pt x="12242" y="0"/>
                    </a:moveTo>
                    <a:lnTo>
                      <a:pt x="0" y="0"/>
                    </a:lnTo>
                    <a:lnTo>
                      <a:pt x="0" y="10795"/>
                    </a:lnTo>
                    <a:lnTo>
                      <a:pt x="12242" y="10795"/>
                    </a:lnTo>
                    <a:lnTo>
                      <a:pt x="19520" y="12269"/>
                    </a:lnTo>
                    <a:lnTo>
                      <a:pt x="25476" y="16289"/>
                    </a:lnTo>
                    <a:lnTo>
                      <a:pt x="29498" y="22244"/>
                    </a:lnTo>
                    <a:lnTo>
                      <a:pt x="30975" y="29527"/>
                    </a:lnTo>
                    <a:lnTo>
                      <a:pt x="29498" y="36806"/>
                    </a:lnTo>
                    <a:lnTo>
                      <a:pt x="25476" y="42752"/>
                    </a:lnTo>
                    <a:lnTo>
                      <a:pt x="19520" y="46763"/>
                    </a:lnTo>
                    <a:lnTo>
                      <a:pt x="12242" y="48234"/>
                    </a:lnTo>
                    <a:lnTo>
                      <a:pt x="0" y="48234"/>
                    </a:lnTo>
                    <a:lnTo>
                      <a:pt x="0" y="59029"/>
                    </a:lnTo>
                    <a:lnTo>
                      <a:pt x="12242" y="59029"/>
                    </a:lnTo>
                    <a:lnTo>
                      <a:pt x="23725" y="56709"/>
                    </a:lnTo>
                    <a:lnTo>
                      <a:pt x="33112" y="50384"/>
                    </a:lnTo>
                    <a:lnTo>
                      <a:pt x="39446" y="41005"/>
                    </a:lnTo>
                    <a:lnTo>
                      <a:pt x="41770" y="29527"/>
                    </a:lnTo>
                    <a:lnTo>
                      <a:pt x="39446" y="18045"/>
                    </a:lnTo>
                    <a:lnTo>
                      <a:pt x="33112" y="8658"/>
                    </a:lnTo>
                    <a:lnTo>
                      <a:pt x="23725" y="2324"/>
                    </a:lnTo>
                    <a:lnTo>
                      <a:pt x="12242" y="0"/>
                    </a:lnTo>
                    <a:close/>
                  </a:path>
                </a:pathLst>
              </a:custGeom>
              <a:solidFill>
                <a:srgbClr val="000000"/>
              </a:solidFill>
            </p:spPr>
            <p:txBody>
              <a:bodyPr wrap="square" lIns="0" tIns="0" rIns="0" bIns="0" rtlCol="0"/>
              <a:lstStyle/>
              <a:p>
                <a:endParaRPr sz="1796"/>
              </a:p>
            </p:txBody>
          </p:sp>
          <p:sp>
            <p:nvSpPr>
              <p:cNvPr id="54" name="object 20"/>
              <p:cNvSpPr/>
              <p:nvPr userDrawn="1"/>
            </p:nvSpPr>
            <p:spPr>
              <a:xfrm>
                <a:off x="1527322" y="4607980"/>
                <a:ext cx="41910" cy="59055"/>
              </a:xfrm>
              <a:custGeom>
                <a:avLst/>
                <a:gdLst/>
                <a:ahLst/>
                <a:cxnLst/>
                <a:rect l="l" t="t" r="r" b="b"/>
                <a:pathLst>
                  <a:path w="41909" h="59054">
                    <a:moveTo>
                      <a:pt x="12242" y="0"/>
                    </a:moveTo>
                    <a:lnTo>
                      <a:pt x="0" y="0"/>
                    </a:lnTo>
                    <a:lnTo>
                      <a:pt x="0" y="10795"/>
                    </a:lnTo>
                    <a:lnTo>
                      <a:pt x="12242" y="10795"/>
                    </a:lnTo>
                    <a:lnTo>
                      <a:pt x="19531" y="12269"/>
                    </a:lnTo>
                    <a:lnTo>
                      <a:pt x="25485" y="16289"/>
                    </a:lnTo>
                    <a:lnTo>
                      <a:pt x="29502" y="22244"/>
                    </a:lnTo>
                    <a:lnTo>
                      <a:pt x="30975" y="29527"/>
                    </a:lnTo>
                    <a:lnTo>
                      <a:pt x="29502" y="36806"/>
                    </a:lnTo>
                    <a:lnTo>
                      <a:pt x="25485" y="42752"/>
                    </a:lnTo>
                    <a:lnTo>
                      <a:pt x="19531" y="46763"/>
                    </a:lnTo>
                    <a:lnTo>
                      <a:pt x="12242" y="48234"/>
                    </a:lnTo>
                    <a:lnTo>
                      <a:pt x="0" y="48234"/>
                    </a:lnTo>
                    <a:lnTo>
                      <a:pt x="0" y="59029"/>
                    </a:lnTo>
                    <a:lnTo>
                      <a:pt x="12242" y="59029"/>
                    </a:lnTo>
                    <a:lnTo>
                      <a:pt x="23730" y="56709"/>
                    </a:lnTo>
                    <a:lnTo>
                      <a:pt x="33116" y="50384"/>
                    </a:lnTo>
                    <a:lnTo>
                      <a:pt x="39447" y="41005"/>
                    </a:lnTo>
                    <a:lnTo>
                      <a:pt x="41770" y="29527"/>
                    </a:lnTo>
                    <a:lnTo>
                      <a:pt x="39447" y="18045"/>
                    </a:lnTo>
                    <a:lnTo>
                      <a:pt x="33116" y="8658"/>
                    </a:lnTo>
                    <a:lnTo>
                      <a:pt x="23730" y="2324"/>
                    </a:lnTo>
                    <a:lnTo>
                      <a:pt x="12242" y="0"/>
                    </a:lnTo>
                    <a:close/>
                  </a:path>
                </a:pathLst>
              </a:custGeom>
              <a:solidFill>
                <a:srgbClr val="000000"/>
              </a:solidFill>
            </p:spPr>
            <p:txBody>
              <a:bodyPr wrap="square" lIns="0" tIns="0" rIns="0" bIns="0" rtlCol="0"/>
              <a:lstStyle/>
              <a:p>
                <a:endParaRPr sz="1796"/>
              </a:p>
            </p:txBody>
          </p:sp>
          <p:sp>
            <p:nvSpPr>
              <p:cNvPr id="55" name="object 21"/>
              <p:cNvSpPr/>
              <p:nvPr userDrawn="1"/>
            </p:nvSpPr>
            <p:spPr>
              <a:xfrm>
                <a:off x="1908614" y="4607980"/>
                <a:ext cx="41910" cy="59055"/>
              </a:xfrm>
              <a:custGeom>
                <a:avLst/>
                <a:gdLst/>
                <a:ahLst/>
                <a:cxnLst/>
                <a:rect l="l" t="t" r="r" b="b"/>
                <a:pathLst>
                  <a:path w="41910" h="59054">
                    <a:moveTo>
                      <a:pt x="12230" y="0"/>
                    </a:moveTo>
                    <a:lnTo>
                      <a:pt x="0" y="0"/>
                    </a:lnTo>
                    <a:lnTo>
                      <a:pt x="0" y="10795"/>
                    </a:lnTo>
                    <a:lnTo>
                      <a:pt x="12230" y="10795"/>
                    </a:lnTo>
                    <a:lnTo>
                      <a:pt x="19523" y="12269"/>
                    </a:lnTo>
                    <a:lnTo>
                      <a:pt x="25477" y="16289"/>
                    </a:lnTo>
                    <a:lnTo>
                      <a:pt x="29491" y="22244"/>
                    </a:lnTo>
                    <a:lnTo>
                      <a:pt x="30962" y="29527"/>
                    </a:lnTo>
                    <a:lnTo>
                      <a:pt x="29491" y="36806"/>
                    </a:lnTo>
                    <a:lnTo>
                      <a:pt x="25477" y="42752"/>
                    </a:lnTo>
                    <a:lnTo>
                      <a:pt x="19523" y="46763"/>
                    </a:lnTo>
                    <a:lnTo>
                      <a:pt x="12230" y="48234"/>
                    </a:lnTo>
                    <a:lnTo>
                      <a:pt x="0" y="48234"/>
                    </a:lnTo>
                    <a:lnTo>
                      <a:pt x="0" y="59029"/>
                    </a:lnTo>
                    <a:lnTo>
                      <a:pt x="12230" y="59029"/>
                    </a:lnTo>
                    <a:lnTo>
                      <a:pt x="23723" y="56709"/>
                    </a:lnTo>
                    <a:lnTo>
                      <a:pt x="33108" y="50384"/>
                    </a:lnTo>
                    <a:lnTo>
                      <a:pt x="39437" y="41005"/>
                    </a:lnTo>
                    <a:lnTo>
                      <a:pt x="41757" y="29527"/>
                    </a:lnTo>
                    <a:lnTo>
                      <a:pt x="39437" y="18045"/>
                    </a:lnTo>
                    <a:lnTo>
                      <a:pt x="33108" y="8658"/>
                    </a:lnTo>
                    <a:lnTo>
                      <a:pt x="23723" y="2324"/>
                    </a:lnTo>
                    <a:lnTo>
                      <a:pt x="12230" y="0"/>
                    </a:lnTo>
                    <a:close/>
                  </a:path>
                </a:pathLst>
              </a:custGeom>
              <a:solidFill>
                <a:srgbClr val="000000"/>
              </a:solidFill>
            </p:spPr>
            <p:txBody>
              <a:bodyPr wrap="square" lIns="0" tIns="0" rIns="0" bIns="0" rtlCol="0"/>
              <a:lstStyle/>
              <a:p>
                <a:endParaRPr sz="1796"/>
              </a:p>
            </p:txBody>
          </p:sp>
          <p:sp>
            <p:nvSpPr>
              <p:cNvPr id="56" name="object 22"/>
              <p:cNvSpPr/>
              <p:nvPr userDrawn="1"/>
            </p:nvSpPr>
            <p:spPr>
              <a:xfrm>
                <a:off x="2289905" y="4607980"/>
                <a:ext cx="41910" cy="59055"/>
              </a:xfrm>
              <a:custGeom>
                <a:avLst/>
                <a:gdLst/>
                <a:ahLst/>
                <a:cxnLst/>
                <a:rect l="l" t="t" r="r" b="b"/>
                <a:pathLst>
                  <a:path w="41910" h="59054">
                    <a:moveTo>
                      <a:pt x="12230" y="0"/>
                    </a:moveTo>
                    <a:lnTo>
                      <a:pt x="0" y="0"/>
                    </a:lnTo>
                    <a:lnTo>
                      <a:pt x="0" y="10795"/>
                    </a:lnTo>
                    <a:lnTo>
                      <a:pt x="12230" y="10795"/>
                    </a:lnTo>
                    <a:lnTo>
                      <a:pt x="19518" y="12269"/>
                    </a:lnTo>
                    <a:lnTo>
                      <a:pt x="25473" y="16289"/>
                    </a:lnTo>
                    <a:lnTo>
                      <a:pt x="29489" y="22244"/>
                    </a:lnTo>
                    <a:lnTo>
                      <a:pt x="30962" y="29527"/>
                    </a:lnTo>
                    <a:lnTo>
                      <a:pt x="29489" y="36806"/>
                    </a:lnTo>
                    <a:lnTo>
                      <a:pt x="25473" y="42752"/>
                    </a:lnTo>
                    <a:lnTo>
                      <a:pt x="19518" y="46763"/>
                    </a:lnTo>
                    <a:lnTo>
                      <a:pt x="12230" y="48234"/>
                    </a:lnTo>
                    <a:lnTo>
                      <a:pt x="0" y="48234"/>
                    </a:lnTo>
                    <a:lnTo>
                      <a:pt x="0" y="59029"/>
                    </a:lnTo>
                    <a:lnTo>
                      <a:pt x="12230" y="59029"/>
                    </a:lnTo>
                    <a:lnTo>
                      <a:pt x="23727" y="56709"/>
                    </a:lnTo>
                    <a:lnTo>
                      <a:pt x="33121" y="50384"/>
                    </a:lnTo>
                    <a:lnTo>
                      <a:pt x="39458" y="41005"/>
                    </a:lnTo>
                    <a:lnTo>
                      <a:pt x="41782" y="29527"/>
                    </a:lnTo>
                    <a:lnTo>
                      <a:pt x="39458" y="18045"/>
                    </a:lnTo>
                    <a:lnTo>
                      <a:pt x="33121" y="8658"/>
                    </a:lnTo>
                    <a:lnTo>
                      <a:pt x="23727" y="2324"/>
                    </a:lnTo>
                    <a:lnTo>
                      <a:pt x="12230" y="0"/>
                    </a:lnTo>
                    <a:close/>
                  </a:path>
                </a:pathLst>
              </a:custGeom>
              <a:solidFill>
                <a:srgbClr val="9B9B9A"/>
              </a:solidFill>
            </p:spPr>
            <p:txBody>
              <a:bodyPr wrap="square" lIns="0" tIns="0" rIns="0" bIns="0" rtlCol="0"/>
              <a:lstStyle/>
              <a:p>
                <a:endParaRPr sz="1796"/>
              </a:p>
            </p:txBody>
          </p:sp>
          <p:sp>
            <p:nvSpPr>
              <p:cNvPr id="57" name="object 23"/>
              <p:cNvSpPr/>
              <p:nvPr userDrawn="1"/>
            </p:nvSpPr>
            <p:spPr>
              <a:xfrm>
                <a:off x="2671183" y="4607980"/>
                <a:ext cx="41910" cy="59055"/>
              </a:xfrm>
              <a:custGeom>
                <a:avLst/>
                <a:gdLst/>
                <a:ahLst/>
                <a:cxnLst/>
                <a:rect l="l" t="t" r="r" b="b"/>
                <a:pathLst>
                  <a:path w="41910" h="59054">
                    <a:moveTo>
                      <a:pt x="12268" y="0"/>
                    </a:moveTo>
                    <a:lnTo>
                      <a:pt x="0" y="0"/>
                    </a:lnTo>
                    <a:lnTo>
                      <a:pt x="0" y="10795"/>
                    </a:lnTo>
                    <a:lnTo>
                      <a:pt x="12268" y="10795"/>
                    </a:lnTo>
                    <a:lnTo>
                      <a:pt x="19545" y="12269"/>
                    </a:lnTo>
                    <a:lnTo>
                      <a:pt x="25501" y="16289"/>
                    </a:lnTo>
                    <a:lnTo>
                      <a:pt x="29523" y="22244"/>
                    </a:lnTo>
                    <a:lnTo>
                      <a:pt x="31000" y="29527"/>
                    </a:lnTo>
                    <a:lnTo>
                      <a:pt x="29523" y="36806"/>
                    </a:lnTo>
                    <a:lnTo>
                      <a:pt x="25501" y="42752"/>
                    </a:lnTo>
                    <a:lnTo>
                      <a:pt x="19545" y="46763"/>
                    </a:lnTo>
                    <a:lnTo>
                      <a:pt x="12268" y="48234"/>
                    </a:lnTo>
                    <a:lnTo>
                      <a:pt x="0" y="48234"/>
                    </a:lnTo>
                    <a:lnTo>
                      <a:pt x="0" y="59029"/>
                    </a:lnTo>
                    <a:lnTo>
                      <a:pt x="12268" y="59029"/>
                    </a:lnTo>
                    <a:lnTo>
                      <a:pt x="23750" y="56709"/>
                    </a:lnTo>
                    <a:lnTo>
                      <a:pt x="33137" y="50384"/>
                    </a:lnTo>
                    <a:lnTo>
                      <a:pt x="39471" y="41005"/>
                    </a:lnTo>
                    <a:lnTo>
                      <a:pt x="41795" y="29527"/>
                    </a:lnTo>
                    <a:lnTo>
                      <a:pt x="39471" y="18045"/>
                    </a:lnTo>
                    <a:lnTo>
                      <a:pt x="33137" y="8658"/>
                    </a:lnTo>
                    <a:lnTo>
                      <a:pt x="23750" y="2324"/>
                    </a:lnTo>
                    <a:lnTo>
                      <a:pt x="12268" y="0"/>
                    </a:lnTo>
                    <a:close/>
                  </a:path>
                </a:pathLst>
              </a:custGeom>
              <a:solidFill>
                <a:srgbClr val="9B9B9A"/>
              </a:solidFill>
            </p:spPr>
            <p:txBody>
              <a:bodyPr wrap="square" lIns="0" tIns="0" rIns="0" bIns="0" rtlCol="0"/>
              <a:lstStyle/>
              <a:p>
                <a:endParaRPr sz="1796"/>
              </a:p>
            </p:txBody>
          </p:sp>
          <p:sp>
            <p:nvSpPr>
              <p:cNvPr id="58" name="object 24"/>
              <p:cNvSpPr/>
              <p:nvPr userDrawn="1"/>
            </p:nvSpPr>
            <p:spPr>
              <a:xfrm>
                <a:off x="3052500" y="4607980"/>
                <a:ext cx="41910" cy="59055"/>
              </a:xfrm>
              <a:custGeom>
                <a:avLst/>
                <a:gdLst/>
                <a:ahLst/>
                <a:cxnLst/>
                <a:rect l="l" t="t" r="r" b="b"/>
                <a:pathLst>
                  <a:path w="41910" h="59054">
                    <a:moveTo>
                      <a:pt x="12230" y="0"/>
                    </a:moveTo>
                    <a:lnTo>
                      <a:pt x="0" y="0"/>
                    </a:lnTo>
                    <a:lnTo>
                      <a:pt x="0" y="10795"/>
                    </a:lnTo>
                    <a:lnTo>
                      <a:pt x="12230" y="10795"/>
                    </a:lnTo>
                    <a:lnTo>
                      <a:pt x="19512" y="12269"/>
                    </a:lnTo>
                    <a:lnTo>
                      <a:pt x="25468" y="16289"/>
                    </a:lnTo>
                    <a:lnTo>
                      <a:pt x="29487" y="22244"/>
                    </a:lnTo>
                    <a:lnTo>
                      <a:pt x="30962" y="29527"/>
                    </a:lnTo>
                    <a:lnTo>
                      <a:pt x="29487" y="36806"/>
                    </a:lnTo>
                    <a:lnTo>
                      <a:pt x="25468" y="42752"/>
                    </a:lnTo>
                    <a:lnTo>
                      <a:pt x="19512" y="46763"/>
                    </a:lnTo>
                    <a:lnTo>
                      <a:pt x="12230" y="48234"/>
                    </a:lnTo>
                    <a:lnTo>
                      <a:pt x="0" y="48234"/>
                    </a:lnTo>
                    <a:lnTo>
                      <a:pt x="0" y="59029"/>
                    </a:lnTo>
                    <a:lnTo>
                      <a:pt x="12230" y="59029"/>
                    </a:lnTo>
                    <a:lnTo>
                      <a:pt x="23714" y="56709"/>
                    </a:lnTo>
                    <a:lnTo>
                      <a:pt x="33105" y="50384"/>
                    </a:lnTo>
                    <a:lnTo>
                      <a:pt x="39444" y="41005"/>
                    </a:lnTo>
                    <a:lnTo>
                      <a:pt x="41770" y="29527"/>
                    </a:lnTo>
                    <a:lnTo>
                      <a:pt x="39444" y="18045"/>
                    </a:lnTo>
                    <a:lnTo>
                      <a:pt x="33105" y="8658"/>
                    </a:lnTo>
                    <a:lnTo>
                      <a:pt x="23714" y="2324"/>
                    </a:lnTo>
                    <a:lnTo>
                      <a:pt x="12230" y="0"/>
                    </a:lnTo>
                    <a:close/>
                  </a:path>
                </a:pathLst>
              </a:custGeom>
              <a:solidFill>
                <a:srgbClr val="9B9B9A"/>
              </a:solidFill>
            </p:spPr>
            <p:txBody>
              <a:bodyPr wrap="square" lIns="0" tIns="0" rIns="0" bIns="0" rtlCol="0"/>
              <a:lstStyle/>
              <a:p>
                <a:endParaRPr sz="1796"/>
              </a:p>
            </p:txBody>
          </p:sp>
          <p:sp>
            <p:nvSpPr>
              <p:cNvPr id="59" name="object 25"/>
              <p:cNvSpPr/>
              <p:nvPr userDrawn="1"/>
            </p:nvSpPr>
            <p:spPr>
              <a:xfrm>
                <a:off x="3433791" y="4607980"/>
                <a:ext cx="41910" cy="59055"/>
              </a:xfrm>
              <a:custGeom>
                <a:avLst/>
                <a:gdLst/>
                <a:ahLst/>
                <a:cxnLst/>
                <a:rect l="l" t="t" r="r" b="b"/>
                <a:pathLst>
                  <a:path w="41910" h="59054">
                    <a:moveTo>
                      <a:pt x="12230" y="0"/>
                    </a:moveTo>
                    <a:lnTo>
                      <a:pt x="0" y="0"/>
                    </a:lnTo>
                    <a:lnTo>
                      <a:pt x="0" y="10795"/>
                    </a:lnTo>
                    <a:lnTo>
                      <a:pt x="12230" y="10795"/>
                    </a:lnTo>
                    <a:lnTo>
                      <a:pt x="19523" y="12269"/>
                    </a:lnTo>
                    <a:lnTo>
                      <a:pt x="25477" y="16289"/>
                    </a:lnTo>
                    <a:lnTo>
                      <a:pt x="29491" y="22244"/>
                    </a:lnTo>
                    <a:lnTo>
                      <a:pt x="30962" y="29527"/>
                    </a:lnTo>
                    <a:lnTo>
                      <a:pt x="29491" y="36806"/>
                    </a:lnTo>
                    <a:lnTo>
                      <a:pt x="25477" y="42752"/>
                    </a:lnTo>
                    <a:lnTo>
                      <a:pt x="19523" y="46763"/>
                    </a:lnTo>
                    <a:lnTo>
                      <a:pt x="12230" y="48234"/>
                    </a:lnTo>
                    <a:lnTo>
                      <a:pt x="0" y="48234"/>
                    </a:lnTo>
                    <a:lnTo>
                      <a:pt x="0" y="59029"/>
                    </a:lnTo>
                    <a:lnTo>
                      <a:pt x="12230" y="59029"/>
                    </a:lnTo>
                    <a:lnTo>
                      <a:pt x="23723" y="56709"/>
                    </a:lnTo>
                    <a:lnTo>
                      <a:pt x="33108" y="50384"/>
                    </a:lnTo>
                    <a:lnTo>
                      <a:pt x="39437" y="41005"/>
                    </a:lnTo>
                    <a:lnTo>
                      <a:pt x="41757" y="29527"/>
                    </a:lnTo>
                    <a:lnTo>
                      <a:pt x="39437" y="18045"/>
                    </a:lnTo>
                    <a:lnTo>
                      <a:pt x="33108" y="8658"/>
                    </a:lnTo>
                    <a:lnTo>
                      <a:pt x="23723" y="2324"/>
                    </a:lnTo>
                    <a:lnTo>
                      <a:pt x="12230" y="0"/>
                    </a:lnTo>
                    <a:close/>
                  </a:path>
                </a:pathLst>
              </a:custGeom>
              <a:solidFill>
                <a:srgbClr val="9B9B9A"/>
              </a:solidFill>
            </p:spPr>
            <p:txBody>
              <a:bodyPr wrap="square" lIns="0" tIns="0" rIns="0" bIns="0" rtlCol="0"/>
              <a:lstStyle/>
              <a:p>
                <a:endParaRPr sz="1796"/>
              </a:p>
            </p:txBody>
          </p:sp>
          <p:sp>
            <p:nvSpPr>
              <p:cNvPr id="60" name="object 26"/>
              <p:cNvSpPr/>
              <p:nvPr userDrawn="1"/>
            </p:nvSpPr>
            <p:spPr>
              <a:xfrm>
                <a:off x="3815071" y="4607980"/>
                <a:ext cx="41910" cy="59055"/>
              </a:xfrm>
              <a:custGeom>
                <a:avLst/>
                <a:gdLst/>
                <a:ahLst/>
                <a:cxnLst/>
                <a:rect l="l" t="t" r="r" b="b"/>
                <a:pathLst>
                  <a:path w="41910" h="59054">
                    <a:moveTo>
                      <a:pt x="12242" y="0"/>
                    </a:moveTo>
                    <a:lnTo>
                      <a:pt x="0" y="0"/>
                    </a:lnTo>
                    <a:lnTo>
                      <a:pt x="0" y="10795"/>
                    </a:lnTo>
                    <a:lnTo>
                      <a:pt x="12242" y="10795"/>
                    </a:lnTo>
                    <a:lnTo>
                      <a:pt x="19531" y="12269"/>
                    </a:lnTo>
                    <a:lnTo>
                      <a:pt x="25485" y="16289"/>
                    </a:lnTo>
                    <a:lnTo>
                      <a:pt x="29502" y="22244"/>
                    </a:lnTo>
                    <a:lnTo>
                      <a:pt x="30975" y="29527"/>
                    </a:lnTo>
                    <a:lnTo>
                      <a:pt x="29502" y="36806"/>
                    </a:lnTo>
                    <a:lnTo>
                      <a:pt x="25485" y="42752"/>
                    </a:lnTo>
                    <a:lnTo>
                      <a:pt x="19531" y="46763"/>
                    </a:lnTo>
                    <a:lnTo>
                      <a:pt x="12242" y="48234"/>
                    </a:lnTo>
                    <a:lnTo>
                      <a:pt x="0" y="48234"/>
                    </a:lnTo>
                    <a:lnTo>
                      <a:pt x="0" y="59029"/>
                    </a:lnTo>
                    <a:lnTo>
                      <a:pt x="12242" y="59029"/>
                    </a:lnTo>
                    <a:lnTo>
                      <a:pt x="23735" y="56709"/>
                    </a:lnTo>
                    <a:lnTo>
                      <a:pt x="33121" y="50384"/>
                    </a:lnTo>
                    <a:lnTo>
                      <a:pt x="39449" y="41005"/>
                    </a:lnTo>
                    <a:lnTo>
                      <a:pt x="41770" y="29527"/>
                    </a:lnTo>
                    <a:lnTo>
                      <a:pt x="39449" y="18045"/>
                    </a:lnTo>
                    <a:lnTo>
                      <a:pt x="33121" y="8658"/>
                    </a:lnTo>
                    <a:lnTo>
                      <a:pt x="23735" y="2324"/>
                    </a:lnTo>
                    <a:lnTo>
                      <a:pt x="12242" y="0"/>
                    </a:lnTo>
                    <a:close/>
                  </a:path>
                </a:pathLst>
              </a:custGeom>
              <a:solidFill>
                <a:srgbClr val="9B9B9A"/>
              </a:solidFill>
            </p:spPr>
            <p:txBody>
              <a:bodyPr wrap="square" lIns="0" tIns="0" rIns="0" bIns="0" rtlCol="0"/>
              <a:lstStyle/>
              <a:p>
                <a:endParaRPr sz="1796"/>
              </a:p>
            </p:txBody>
          </p:sp>
          <p:sp>
            <p:nvSpPr>
              <p:cNvPr id="61" name="object 27"/>
              <p:cNvSpPr/>
              <p:nvPr userDrawn="1"/>
            </p:nvSpPr>
            <p:spPr>
              <a:xfrm>
                <a:off x="4196362" y="4607980"/>
                <a:ext cx="41910" cy="59055"/>
              </a:xfrm>
              <a:custGeom>
                <a:avLst/>
                <a:gdLst/>
                <a:ahLst/>
                <a:cxnLst/>
                <a:rect l="l" t="t" r="r" b="b"/>
                <a:pathLst>
                  <a:path w="41910" h="59054">
                    <a:moveTo>
                      <a:pt x="12268" y="0"/>
                    </a:moveTo>
                    <a:lnTo>
                      <a:pt x="0" y="0"/>
                    </a:lnTo>
                    <a:lnTo>
                      <a:pt x="0" y="10795"/>
                    </a:lnTo>
                    <a:lnTo>
                      <a:pt x="12268" y="10795"/>
                    </a:lnTo>
                    <a:lnTo>
                      <a:pt x="19545" y="12269"/>
                    </a:lnTo>
                    <a:lnTo>
                      <a:pt x="25501" y="16289"/>
                    </a:lnTo>
                    <a:lnTo>
                      <a:pt x="29523" y="22244"/>
                    </a:lnTo>
                    <a:lnTo>
                      <a:pt x="31000" y="29527"/>
                    </a:lnTo>
                    <a:lnTo>
                      <a:pt x="29523" y="36806"/>
                    </a:lnTo>
                    <a:lnTo>
                      <a:pt x="25501" y="42752"/>
                    </a:lnTo>
                    <a:lnTo>
                      <a:pt x="19545" y="46763"/>
                    </a:lnTo>
                    <a:lnTo>
                      <a:pt x="12268" y="48234"/>
                    </a:lnTo>
                    <a:lnTo>
                      <a:pt x="0" y="48234"/>
                    </a:lnTo>
                    <a:lnTo>
                      <a:pt x="0" y="59029"/>
                    </a:lnTo>
                    <a:lnTo>
                      <a:pt x="12268" y="59029"/>
                    </a:lnTo>
                    <a:lnTo>
                      <a:pt x="23745" y="56709"/>
                    </a:lnTo>
                    <a:lnTo>
                      <a:pt x="33132" y="50384"/>
                    </a:lnTo>
                    <a:lnTo>
                      <a:pt x="39469" y="41005"/>
                    </a:lnTo>
                    <a:lnTo>
                      <a:pt x="41795" y="29527"/>
                    </a:lnTo>
                    <a:lnTo>
                      <a:pt x="39469" y="18045"/>
                    </a:lnTo>
                    <a:lnTo>
                      <a:pt x="33132" y="8658"/>
                    </a:lnTo>
                    <a:lnTo>
                      <a:pt x="23745" y="2324"/>
                    </a:lnTo>
                    <a:lnTo>
                      <a:pt x="12268" y="0"/>
                    </a:lnTo>
                    <a:close/>
                  </a:path>
                </a:pathLst>
              </a:custGeom>
              <a:solidFill>
                <a:srgbClr val="9B9B9A"/>
              </a:solidFill>
            </p:spPr>
            <p:txBody>
              <a:bodyPr wrap="square" lIns="0" tIns="0" rIns="0" bIns="0" rtlCol="0"/>
              <a:lstStyle/>
              <a:p>
                <a:endParaRPr sz="1796"/>
              </a:p>
            </p:txBody>
          </p:sp>
          <p:sp>
            <p:nvSpPr>
              <p:cNvPr id="62" name="object 28"/>
              <p:cNvSpPr/>
              <p:nvPr userDrawn="1"/>
            </p:nvSpPr>
            <p:spPr>
              <a:xfrm>
                <a:off x="4577679" y="4607980"/>
                <a:ext cx="41910" cy="59055"/>
              </a:xfrm>
              <a:custGeom>
                <a:avLst/>
                <a:gdLst/>
                <a:ahLst/>
                <a:cxnLst/>
                <a:rect l="l" t="t" r="r" b="b"/>
                <a:pathLst>
                  <a:path w="41910" h="59054">
                    <a:moveTo>
                      <a:pt x="12230" y="0"/>
                    </a:moveTo>
                    <a:lnTo>
                      <a:pt x="0" y="0"/>
                    </a:lnTo>
                    <a:lnTo>
                      <a:pt x="0" y="10795"/>
                    </a:lnTo>
                    <a:lnTo>
                      <a:pt x="12230" y="10795"/>
                    </a:lnTo>
                    <a:lnTo>
                      <a:pt x="19512" y="12269"/>
                    </a:lnTo>
                    <a:lnTo>
                      <a:pt x="25468" y="16289"/>
                    </a:lnTo>
                    <a:lnTo>
                      <a:pt x="29487" y="22244"/>
                    </a:lnTo>
                    <a:lnTo>
                      <a:pt x="30962" y="29527"/>
                    </a:lnTo>
                    <a:lnTo>
                      <a:pt x="29487" y="36806"/>
                    </a:lnTo>
                    <a:lnTo>
                      <a:pt x="25468" y="42752"/>
                    </a:lnTo>
                    <a:lnTo>
                      <a:pt x="19512" y="46763"/>
                    </a:lnTo>
                    <a:lnTo>
                      <a:pt x="12230" y="48234"/>
                    </a:lnTo>
                    <a:lnTo>
                      <a:pt x="0" y="48234"/>
                    </a:lnTo>
                    <a:lnTo>
                      <a:pt x="0" y="59029"/>
                    </a:lnTo>
                    <a:lnTo>
                      <a:pt x="12230" y="59029"/>
                    </a:lnTo>
                    <a:lnTo>
                      <a:pt x="23714" y="56709"/>
                    </a:lnTo>
                    <a:lnTo>
                      <a:pt x="33105" y="50384"/>
                    </a:lnTo>
                    <a:lnTo>
                      <a:pt x="39444" y="41005"/>
                    </a:lnTo>
                    <a:lnTo>
                      <a:pt x="41770" y="29527"/>
                    </a:lnTo>
                    <a:lnTo>
                      <a:pt x="39444" y="18045"/>
                    </a:lnTo>
                    <a:lnTo>
                      <a:pt x="33105" y="8658"/>
                    </a:lnTo>
                    <a:lnTo>
                      <a:pt x="23714" y="2324"/>
                    </a:lnTo>
                    <a:lnTo>
                      <a:pt x="12230" y="0"/>
                    </a:lnTo>
                    <a:close/>
                  </a:path>
                </a:pathLst>
              </a:custGeom>
              <a:solidFill>
                <a:srgbClr val="9B9B9A"/>
              </a:solidFill>
            </p:spPr>
            <p:txBody>
              <a:bodyPr wrap="square" lIns="0" tIns="0" rIns="0" bIns="0" rtlCol="0"/>
              <a:lstStyle/>
              <a:p>
                <a:endParaRPr sz="1796"/>
              </a:p>
            </p:txBody>
          </p:sp>
          <p:sp>
            <p:nvSpPr>
              <p:cNvPr id="63" name="object 29"/>
              <p:cNvSpPr/>
              <p:nvPr userDrawn="1"/>
            </p:nvSpPr>
            <p:spPr>
              <a:xfrm>
                <a:off x="4958957" y="4607980"/>
                <a:ext cx="41910" cy="59055"/>
              </a:xfrm>
              <a:custGeom>
                <a:avLst/>
                <a:gdLst/>
                <a:ahLst/>
                <a:cxnLst/>
                <a:rect l="l" t="t" r="r" b="b"/>
                <a:pathLst>
                  <a:path w="41910" h="59054">
                    <a:moveTo>
                      <a:pt x="12242" y="0"/>
                    </a:moveTo>
                    <a:lnTo>
                      <a:pt x="0" y="0"/>
                    </a:lnTo>
                    <a:lnTo>
                      <a:pt x="0" y="10795"/>
                    </a:lnTo>
                    <a:lnTo>
                      <a:pt x="12242" y="10795"/>
                    </a:lnTo>
                    <a:lnTo>
                      <a:pt x="19531" y="12269"/>
                    </a:lnTo>
                    <a:lnTo>
                      <a:pt x="25485" y="16289"/>
                    </a:lnTo>
                    <a:lnTo>
                      <a:pt x="29502" y="22244"/>
                    </a:lnTo>
                    <a:lnTo>
                      <a:pt x="30975" y="29527"/>
                    </a:lnTo>
                    <a:lnTo>
                      <a:pt x="29502" y="36806"/>
                    </a:lnTo>
                    <a:lnTo>
                      <a:pt x="25485" y="42752"/>
                    </a:lnTo>
                    <a:lnTo>
                      <a:pt x="19531" y="46763"/>
                    </a:lnTo>
                    <a:lnTo>
                      <a:pt x="12242" y="48234"/>
                    </a:lnTo>
                    <a:lnTo>
                      <a:pt x="0" y="48234"/>
                    </a:lnTo>
                    <a:lnTo>
                      <a:pt x="0" y="59029"/>
                    </a:lnTo>
                    <a:lnTo>
                      <a:pt x="12242" y="59029"/>
                    </a:lnTo>
                    <a:lnTo>
                      <a:pt x="23725" y="56709"/>
                    </a:lnTo>
                    <a:lnTo>
                      <a:pt x="33112" y="50384"/>
                    </a:lnTo>
                    <a:lnTo>
                      <a:pt x="39446" y="41005"/>
                    </a:lnTo>
                    <a:lnTo>
                      <a:pt x="41770" y="29527"/>
                    </a:lnTo>
                    <a:lnTo>
                      <a:pt x="39446" y="18045"/>
                    </a:lnTo>
                    <a:lnTo>
                      <a:pt x="33112" y="8658"/>
                    </a:lnTo>
                    <a:lnTo>
                      <a:pt x="23725" y="2324"/>
                    </a:lnTo>
                    <a:lnTo>
                      <a:pt x="12242" y="0"/>
                    </a:lnTo>
                    <a:close/>
                  </a:path>
                </a:pathLst>
              </a:custGeom>
              <a:solidFill>
                <a:srgbClr val="9B9B9A"/>
              </a:solidFill>
            </p:spPr>
            <p:txBody>
              <a:bodyPr wrap="square" lIns="0" tIns="0" rIns="0" bIns="0" rtlCol="0"/>
              <a:lstStyle/>
              <a:p>
                <a:endParaRPr sz="1796"/>
              </a:p>
            </p:txBody>
          </p:sp>
        </p:grpSp>
        <p:sp>
          <p:nvSpPr>
            <p:cNvPr id="66" name="object 6"/>
            <p:cNvSpPr/>
            <p:nvPr userDrawn="1"/>
          </p:nvSpPr>
          <p:spPr>
            <a:xfrm>
              <a:off x="6102837" y="4231906"/>
              <a:ext cx="41910" cy="55880"/>
            </a:xfrm>
            <a:custGeom>
              <a:avLst/>
              <a:gdLst/>
              <a:ahLst/>
              <a:cxnLst/>
              <a:rect l="l" t="t" r="r" b="b"/>
              <a:pathLst>
                <a:path w="41910" h="55879">
                  <a:moveTo>
                    <a:pt x="41770" y="0"/>
                  </a:moveTo>
                  <a:lnTo>
                    <a:pt x="16391" y="0"/>
                  </a:lnTo>
                  <a:lnTo>
                    <a:pt x="8664" y="5207"/>
                  </a:lnTo>
                  <a:lnTo>
                    <a:pt x="2326" y="14585"/>
                  </a:lnTo>
                  <a:lnTo>
                    <a:pt x="0" y="26058"/>
                  </a:lnTo>
                  <a:lnTo>
                    <a:pt x="2326" y="37541"/>
                  </a:lnTo>
                  <a:lnTo>
                    <a:pt x="8664" y="46928"/>
                  </a:lnTo>
                  <a:lnTo>
                    <a:pt x="18055" y="53262"/>
                  </a:lnTo>
                  <a:lnTo>
                    <a:pt x="29540" y="55586"/>
                  </a:lnTo>
                  <a:lnTo>
                    <a:pt x="41770" y="55586"/>
                  </a:lnTo>
                  <a:lnTo>
                    <a:pt x="41770" y="44791"/>
                  </a:lnTo>
                  <a:lnTo>
                    <a:pt x="29540" y="44791"/>
                  </a:lnTo>
                  <a:lnTo>
                    <a:pt x="22251" y="43316"/>
                  </a:lnTo>
                  <a:lnTo>
                    <a:pt x="16297" y="39297"/>
                  </a:lnTo>
                  <a:lnTo>
                    <a:pt x="12280" y="33341"/>
                  </a:lnTo>
                  <a:lnTo>
                    <a:pt x="10807" y="26058"/>
                  </a:lnTo>
                  <a:lnTo>
                    <a:pt x="12280" y="18780"/>
                  </a:lnTo>
                  <a:lnTo>
                    <a:pt x="16297" y="12833"/>
                  </a:lnTo>
                  <a:lnTo>
                    <a:pt x="22251" y="8822"/>
                  </a:lnTo>
                  <a:lnTo>
                    <a:pt x="29540" y="7351"/>
                  </a:lnTo>
                  <a:lnTo>
                    <a:pt x="41770" y="7351"/>
                  </a:lnTo>
                  <a:lnTo>
                    <a:pt x="41770" y="0"/>
                  </a:lnTo>
                  <a:close/>
                </a:path>
              </a:pathLst>
            </a:custGeom>
            <a:solidFill>
              <a:srgbClr val="9B9B9A"/>
            </a:solidFill>
          </p:spPr>
          <p:txBody>
            <a:bodyPr wrap="square" lIns="0" tIns="0" rIns="0" bIns="0" rtlCol="0"/>
            <a:lstStyle/>
            <a:p>
              <a:endParaRPr sz="1796"/>
            </a:p>
          </p:txBody>
        </p:sp>
        <p:sp>
          <p:nvSpPr>
            <p:cNvPr id="67" name="object 7"/>
            <p:cNvSpPr/>
            <p:nvPr userDrawn="1"/>
          </p:nvSpPr>
          <p:spPr>
            <a:xfrm>
              <a:off x="5721551" y="4231906"/>
              <a:ext cx="41910" cy="55880"/>
            </a:xfrm>
            <a:custGeom>
              <a:avLst/>
              <a:gdLst/>
              <a:ahLst/>
              <a:cxnLst/>
              <a:rect l="l" t="t" r="r" b="b"/>
              <a:pathLst>
                <a:path w="41910" h="55879">
                  <a:moveTo>
                    <a:pt x="41770" y="0"/>
                  </a:moveTo>
                  <a:lnTo>
                    <a:pt x="16376" y="0"/>
                  </a:lnTo>
                  <a:lnTo>
                    <a:pt x="8653" y="5207"/>
                  </a:lnTo>
                  <a:lnTo>
                    <a:pt x="2322" y="14585"/>
                  </a:lnTo>
                  <a:lnTo>
                    <a:pt x="0" y="26058"/>
                  </a:lnTo>
                  <a:lnTo>
                    <a:pt x="2322" y="37541"/>
                  </a:lnTo>
                  <a:lnTo>
                    <a:pt x="8653" y="46928"/>
                  </a:lnTo>
                  <a:lnTo>
                    <a:pt x="18039" y="53262"/>
                  </a:lnTo>
                  <a:lnTo>
                    <a:pt x="29527" y="55586"/>
                  </a:lnTo>
                  <a:lnTo>
                    <a:pt x="41770" y="55586"/>
                  </a:lnTo>
                  <a:lnTo>
                    <a:pt x="41770" y="44791"/>
                  </a:lnTo>
                  <a:lnTo>
                    <a:pt x="29527" y="44791"/>
                  </a:lnTo>
                  <a:lnTo>
                    <a:pt x="22233" y="43316"/>
                  </a:lnTo>
                  <a:lnTo>
                    <a:pt x="16279" y="39297"/>
                  </a:lnTo>
                  <a:lnTo>
                    <a:pt x="12266" y="33341"/>
                  </a:lnTo>
                  <a:lnTo>
                    <a:pt x="10794" y="26058"/>
                  </a:lnTo>
                  <a:lnTo>
                    <a:pt x="12266" y="18780"/>
                  </a:lnTo>
                  <a:lnTo>
                    <a:pt x="16279" y="12833"/>
                  </a:lnTo>
                  <a:lnTo>
                    <a:pt x="22233" y="8822"/>
                  </a:lnTo>
                  <a:lnTo>
                    <a:pt x="29527" y="7351"/>
                  </a:lnTo>
                  <a:lnTo>
                    <a:pt x="41770" y="7351"/>
                  </a:lnTo>
                  <a:lnTo>
                    <a:pt x="41770" y="0"/>
                  </a:lnTo>
                  <a:close/>
                </a:path>
              </a:pathLst>
            </a:custGeom>
            <a:solidFill>
              <a:srgbClr val="9B9B9A"/>
            </a:solidFill>
          </p:spPr>
          <p:txBody>
            <a:bodyPr wrap="square" lIns="0" tIns="0" rIns="0" bIns="0" rtlCol="0"/>
            <a:lstStyle/>
            <a:p>
              <a:endParaRPr sz="1796"/>
            </a:p>
          </p:txBody>
        </p:sp>
        <p:sp>
          <p:nvSpPr>
            <p:cNvPr id="68" name="object 8"/>
            <p:cNvSpPr/>
            <p:nvPr userDrawn="1"/>
          </p:nvSpPr>
          <p:spPr>
            <a:xfrm>
              <a:off x="5340235" y="4231906"/>
              <a:ext cx="41910" cy="55880"/>
            </a:xfrm>
            <a:custGeom>
              <a:avLst/>
              <a:gdLst/>
              <a:ahLst/>
              <a:cxnLst/>
              <a:rect l="l" t="t" r="r" b="b"/>
              <a:pathLst>
                <a:path w="41910" h="55879">
                  <a:moveTo>
                    <a:pt x="41795" y="0"/>
                  </a:moveTo>
                  <a:lnTo>
                    <a:pt x="16396" y="0"/>
                  </a:lnTo>
                  <a:lnTo>
                    <a:pt x="8666" y="5207"/>
                  </a:lnTo>
                  <a:lnTo>
                    <a:pt x="2326" y="14585"/>
                  </a:lnTo>
                  <a:lnTo>
                    <a:pt x="0" y="26058"/>
                  </a:lnTo>
                  <a:lnTo>
                    <a:pt x="2326" y="37541"/>
                  </a:lnTo>
                  <a:lnTo>
                    <a:pt x="8666" y="46928"/>
                  </a:lnTo>
                  <a:lnTo>
                    <a:pt x="18061" y="53262"/>
                  </a:lnTo>
                  <a:lnTo>
                    <a:pt x="29552" y="55586"/>
                  </a:lnTo>
                  <a:lnTo>
                    <a:pt x="41795" y="55586"/>
                  </a:lnTo>
                  <a:lnTo>
                    <a:pt x="41795" y="44791"/>
                  </a:lnTo>
                  <a:lnTo>
                    <a:pt x="29552" y="44791"/>
                  </a:lnTo>
                  <a:lnTo>
                    <a:pt x="22264" y="43316"/>
                  </a:lnTo>
                  <a:lnTo>
                    <a:pt x="16309" y="39297"/>
                  </a:lnTo>
                  <a:lnTo>
                    <a:pt x="12293" y="33341"/>
                  </a:lnTo>
                  <a:lnTo>
                    <a:pt x="10820" y="26058"/>
                  </a:lnTo>
                  <a:lnTo>
                    <a:pt x="12293" y="18780"/>
                  </a:lnTo>
                  <a:lnTo>
                    <a:pt x="16309" y="12833"/>
                  </a:lnTo>
                  <a:lnTo>
                    <a:pt x="22264" y="8822"/>
                  </a:lnTo>
                  <a:lnTo>
                    <a:pt x="29552" y="7351"/>
                  </a:lnTo>
                  <a:lnTo>
                    <a:pt x="41795" y="7351"/>
                  </a:lnTo>
                  <a:lnTo>
                    <a:pt x="41795" y="0"/>
                  </a:lnTo>
                  <a:close/>
                </a:path>
              </a:pathLst>
            </a:custGeom>
            <a:solidFill>
              <a:srgbClr val="9B9B9A"/>
            </a:solidFill>
          </p:spPr>
          <p:txBody>
            <a:bodyPr wrap="square" lIns="0" tIns="0" rIns="0" bIns="0" rtlCol="0"/>
            <a:lstStyle/>
            <a:p>
              <a:endParaRPr sz="1796"/>
            </a:p>
          </p:txBody>
        </p:sp>
        <p:sp>
          <p:nvSpPr>
            <p:cNvPr id="69" name="object 27"/>
            <p:cNvSpPr/>
            <p:nvPr userDrawn="1"/>
          </p:nvSpPr>
          <p:spPr>
            <a:xfrm>
              <a:off x="5340239" y="4607980"/>
              <a:ext cx="41910" cy="59055"/>
            </a:xfrm>
            <a:custGeom>
              <a:avLst/>
              <a:gdLst/>
              <a:ahLst/>
              <a:cxnLst/>
              <a:rect l="l" t="t" r="r" b="b"/>
              <a:pathLst>
                <a:path w="41910" h="59054">
                  <a:moveTo>
                    <a:pt x="12268" y="0"/>
                  </a:moveTo>
                  <a:lnTo>
                    <a:pt x="0" y="0"/>
                  </a:lnTo>
                  <a:lnTo>
                    <a:pt x="0" y="10795"/>
                  </a:lnTo>
                  <a:lnTo>
                    <a:pt x="12268" y="10795"/>
                  </a:lnTo>
                  <a:lnTo>
                    <a:pt x="19545" y="12269"/>
                  </a:lnTo>
                  <a:lnTo>
                    <a:pt x="25501" y="16289"/>
                  </a:lnTo>
                  <a:lnTo>
                    <a:pt x="29523" y="22244"/>
                  </a:lnTo>
                  <a:lnTo>
                    <a:pt x="31000" y="29527"/>
                  </a:lnTo>
                  <a:lnTo>
                    <a:pt x="29523" y="36806"/>
                  </a:lnTo>
                  <a:lnTo>
                    <a:pt x="25501" y="42752"/>
                  </a:lnTo>
                  <a:lnTo>
                    <a:pt x="19545" y="46763"/>
                  </a:lnTo>
                  <a:lnTo>
                    <a:pt x="12268" y="48234"/>
                  </a:lnTo>
                  <a:lnTo>
                    <a:pt x="0" y="48234"/>
                  </a:lnTo>
                  <a:lnTo>
                    <a:pt x="0" y="59029"/>
                  </a:lnTo>
                  <a:lnTo>
                    <a:pt x="12268" y="59029"/>
                  </a:lnTo>
                  <a:lnTo>
                    <a:pt x="23745" y="56709"/>
                  </a:lnTo>
                  <a:lnTo>
                    <a:pt x="33132" y="50384"/>
                  </a:lnTo>
                  <a:lnTo>
                    <a:pt x="39469" y="41005"/>
                  </a:lnTo>
                  <a:lnTo>
                    <a:pt x="41795" y="29527"/>
                  </a:lnTo>
                  <a:lnTo>
                    <a:pt x="39469" y="18045"/>
                  </a:lnTo>
                  <a:lnTo>
                    <a:pt x="33132" y="8658"/>
                  </a:lnTo>
                  <a:lnTo>
                    <a:pt x="23745" y="2324"/>
                  </a:lnTo>
                  <a:lnTo>
                    <a:pt x="12268" y="0"/>
                  </a:lnTo>
                  <a:close/>
                </a:path>
              </a:pathLst>
            </a:custGeom>
            <a:solidFill>
              <a:srgbClr val="9B9B9A"/>
            </a:solidFill>
          </p:spPr>
          <p:txBody>
            <a:bodyPr wrap="square" lIns="0" tIns="0" rIns="0" bIns="0" rtlCol="0"/>
            <a:lstStyle/>
            <a:p>
              <a:endParaRPr sz="1796"/>
            </a:p>
          </p:txBody>
        </p:sp>
        <p:sp>
          <p:nvSpPr>
            <p:cNvPr id="70" name="object 28"/>
            <p:cNvSpPr/>
            <p:nvPr userDrawn="1"/>
          </p:nvSpPr>
          <p:spPr>
            <a:xfrm>
              <a:off x="5721556" y="4607980"/>
              <a:ext cx="41910" cy="59055"/>
            </a:xfrm>
            <a:custGeom>
              <a:avLst/>
              <a:gdLst/>
              <a:ahLst/>
              <a:cxnLst/>
              <a:rect l="l" t="t" r="r" b="b"/>
              <a:pathLst>
                <a:path w="41910" h="59054">
                  <a:moveTo>
                    <a:pt x="12230" y="0"/>
                  </a:moveTo>
                  <a:lnTo>
                    <a:pt x="0" y="0"/>
                  </a:lnTo>
                  <a:lnTo>
                    <a:pt x="0" y="10795"/>
                  </a:lnTo>
                  <a:lnTo>
                    <a:pt x="12230" y="10795"/>
                  </a:lnTo>
                  <a:lnTo>
                    <a:pt x="19512" y="12269"/>
                  </a:lnTo>
                  <a:lnTo>
                    <a:pt x="25468" y="16289"/>
                  </a:lnTo>
                  <a:lnTo>
                    <a:pt x="29487" y="22244"/>
                  </a:lnTo>
                  <a:lnTo>
                    <a:pt x="30962" y="29527"/>
                  </a:lnTo>
                  <a:lnTo>
                    <a:pt x="29487" y="36806"/>
                  </a:lnTo>
                  <a:lnTo>
                    <a:pt x="25468" y="42752"/>
                  </a:lnTo>
                  <a:lnTo>
                    <a:pt x="19512" y="46763"/>
                  </a:lnTo>
                  <a:lnTo>
                    <a:pt x="12230" y="48234"/>
                  </a:lnTo>
                  <a:lnTo>
                    <a:pt x="0" y="48234"/>
                  </a:lnTo>
                  <a:lnTo>
                    <a:pt x="0" y="59029"/>
                  </a:lnTo>
                  <a:lnTo>
                    <a:pt x="12230" y="59029"/>
                  </a:lnTo>
                  <a:lnTo>
                    <a:pt x="23714" y="56709"/>
                  </a:lnTo>
                  <a:lnTo>
                    <a:pt x="33105" y="50384"/>
                  </a:lnTo>
                  <a:lnTo>
                    <a:pt x="39444" y="41005"/>
                  </a:lnTo>
                  <a:lnTo>
                    <a:pt x="41770" y="29527"/>
                  </a:lnTo>
                  <a:lnTo>
                    <a:pt x="39444" y="18045"/>
                  </a:lnTo>
                  <a:lnTo>
                    <a:pt x="33105" y="8658"/>
                  </a:lnTo>
                  <a:lnTo>
                    <a:pt x="23714" y="2324"/>
                  </a:lnTo>
                  <a:lnTo>
                    <a:pt x="12230" y="0"/>
                  </a:lnTo>
                  <a:close/>
                </a:path>
              </a:pathLst>
            </a:custGeom>
            <a:solidFill>
              <a:srgbClr val="9B9B9A"/>
            </a:solidFill>
          </p:spPr>
          <p:txBody>
            <a:bodyPr wrap="square" lIns="0" tIns="0" rIns="0" bIns="0" rtlCol="0"/>
            <a:lstStyle/>
            <a:p>
              <a:endParaRPr sz="1796"/>
            </a:p>
          </p:txBody>
        </p:sp>
        <p:sp>
          <p:nvSpPr>
            <p:cNvPr id="71" name="object 29"/>
            <p:cNvSpPr/>
            <p:nvPr userDrawn="1"/>
          </p:nvSpPr>
          <p:spPr>
            <a:xfrm>
              <a:off x="6102834" y="4607980"/>
              <a:ext cx="41910" cy="59055"/>
            </a:xfrm>
            <a:custGeom>
              <a:avLst/>
              <a:gdLst/>
              <a:ahLst/>
              <a:cxnLst/>
              <a:rect l="l" t="t" r="r" b="b"/>
              <a:pathLst>
                <a:path w="41910" h="59054">
                  <a:moveTo>
                    <a:pt x="12242" y="0"/>
                  </a:moveTo>
                  <a:lnTo>
                    <a:pt x="0" y="0"/>
                  </a:lnTo>
                  <a:lnTo>
                    <a:pt x="0" y="10795"/>
                  </a:lnTo>
                  <a:lnTo>
                    <a:pt x="12242" y="10795"/>
                  </a:lnTo>
                  <a:lnTo>
                    <a:pt x="19531" y="12269"/>
                  </a:lnTo>
                  <a:lnTo>
                    <a:pt x="25485" y="16289"/>
                  </a:lnTo>
                  <a:lnTo>
                    <a:pt x="29502" y="22244"/>
                  </a:lnTo>
                  <a:lnTo>
                    <a:pt x="30975" y="29527"/>
                  </a:lnTo>
                  <a:lnTo>
                    <a:pt x="29502" y="36806"/>
                  </a:lnTo>
                  <a:lnTo>
                    <a:pt x="25485" y="42752"/>
                  </a:lnTo>
                  <a:lnTo>
                    <a:pt x="19531" y="46763"/>
                  </a:lnTo>
                  <a:lnTo>
                    <a:pt x="12242" y="48234"/>
                  </a:lnTo>
                  <a:lnTo>
                    <a:pt x="0" y="48234"/>
                  </a:lnTo>
                  <a:lnTo>
                    <a:pt x="0" y="59029"/>
                  </a:lnTo>
                  <a:lnTo>
                    <a:pt x="12242" y="59029"/>
                  </a:lnTo>
                  <a:lnTo>
                    <a:pt x="23725" y="56709"/>
                  </a:lnTo>
                  <a:lnTo>
                    <a:pt x="33112" y="50384"/>
                  </a:lnTo>
                  <a:lnTo>
                    <a:pt x="39446" y="41005"/>
                  </a:lnTo>
                  <a:lnTo>
                    <a:pt x="41770" y="29527"/>
                  </a:lnTo>
                  <a:lnTo>
                    <a:pt x="39446" y="18045"/>
                  </a:lnTo>
                  <a:lnTo>
                    <a:pt x="33112" y="8658"/>
                  </a:lnTo>
                  <a:lnTo>
                    <a:pt x="23725" y="2324"/>
                  </a:lnTo>
                  <a:lnTo>
                    <a:pt x="12242" y="0"/>
                  </a:lnTo>
                  <a:close/>
                </a:path>
              </a:pathLst>
            </a:custGeom>
            <a:solidFill>
              <a:srgbClr val="9B9B9A"/>
            </a:solidFill>
          </p:spPr>
          <p:txBody>
            <a:bodyPr wrap="square" lIns="0" tIns="0" rIns="0" bIns="0" rtlCol="0"/>
            <a:lstStyle/>
            <a:p>
              <a:endParaRPr sz="1796"/>
            </a:p>
          </p:txBody>
        </p:sp>
      </p:grpSp>
    </p:spTree>
    <p:extLst>
      <p:ext uri="{BB962C8B-B14F-4D97-AF65-F5344CB8AC3E}">
        <p14:creationId xmlns:p14="http://schemas.microsoft.com/office/powerpoint/2010/main" val="142900948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10"/>
          </p:nvPr>
        </p:nvSpPr>
        <p:spPr/>
        <p:txBody>
          <a:bodyPr/>
          <a:lstStyle/>
          <a:p>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4BB9F832-056E-4EC5-B401-0D6BEBDD7818}" type="slidenum">
              <a:rPr lang="en-IN" smtClean="0"/>
              <a:t>‹№›</a:t>
            </a:fld>
            <a:endParaRPr lang="en-IN"/>
          </a:p>
        </p:txBody>
      </p:sp>
    </p:spTree>
    <p:extLst>
      <p:ext uri="{BB962C8B-B14F-4D97-AF65-F5344CB8AC3E}">
        <p14:creationId xmlns:p14="http://schemas.microsoft.com/office/powerpoint/2010/main" val="369237002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Credits">
  <p:cSld name="Credits">
    <p:spTree>
      <p:nvGrpSpPr>
        <p:cNvPr id="1" name="Shape 108"/>
        <p:cNvGrpSpPr/>
        <p:nvPr/>
      </p:nvGrpSpPr>
      <p:grpSpPr>
        <a:xfrm>
          <a:off x="0" y="0"/>
          <a:ext cx="0" cy="0"/>
          <a:chOff x="0" y="0"/>
          <a:chExt cx="0" cy="0"/>
        </a:xfrm>
      </p:grpSpPr>
      <p:sp>
        <p:nvSpPr>
          <p:cNvPr id="109" name="Google Shape;109;p20"/>
          <p:cNvSpPr txBox="1">
            <a:spLocks noGrp="1"/>
          </p:cNvSpPr>
          <p:nvPr>
            <p:ph type="body" idx="1"/>
          </p:nvPr>
        </p:nvSpPr>
        <p:spPr>
          <a:xfrm>
            <a:off x="943680" y="3137629"/>
            <a:ext cx="7801948" cy="2169356"/>
          </a:xfrm>
          <a:prstGeom prst="rect">
            <a:avLst/>
          </a:prstGeom>
        </p:spPr>
        <p:txBody>
          <a:bodyPr spcFirstLastPara="1" wrap="square" lIns="91425" tIns="91425" rIns="91425" bIns="91425" anchor="t" anchorCtr="0">
            <a:noAutofit/>
          </a:bodyPr>
          <a:lstStyle>
            <a:lvl1pPr marL="671993" lvl="0" indent="-447995" rtl="0">
              <a:spcBef>
                <a:spcPts val="0"/>
              </a:spcBef>
              <a:spcAft>
                <a:spcPts val="0"/>
              </a:spcAft>
              <a:buClr>
                <a:srgbClr val="000000"/>
              </a:buClr>
              <a:buSzPts val="1200"/>
              <a:buChar char="●"/>
              <a:defRPr>
                <a:solidFill>
                  <a:srgbClr val="000000"/>
                </a:solidFill>
              </a:defRPr>
            </a:lvl1pPr>
            <a:lvl2pPr marL="1343985" lvl="1" indent="-447995" rtl="0">
              <a:spcBef>
                <a:spcPts val="2352"/>
              </a:spcBef>
              <a:spcAft>
                <a:spcPts val="0"/>
              </a:spcAft>
              <a:buClr>
                <a:srgbClr val="000000"/>
              </a:buClr>
              <a:buSzPts val="1200"/>
              <a:buChar char="○"/>
              <a:defRPr>
                <a:solidFill>
                  <a:srgbClr val="000000"/>
                </a:solidFill>
              </a:defRPr>
            </a:lvl2pPr>
            <a:lvl3pPr marL="2015978" lvl="2" indent="-447995" rtl="0">
              <a:spcBef>
                <a:spcPts val="2352"/>
              </a:spcBef>
              <a:spcAft>
                <a:spcPts val="0"/>
              </a:spcAft>
              <a:buClr>
                <a:srgbClr val="000000"/>
              </a:buClr>
              <a:buSzPts val="1200"/>
              <a:buChar char="■"/>
              <a:defRPr>
                <a:solidFill>
                  <a:srgbClr val="000000"/>
                </a:solidFill>
              </a:defRPr>
            </a:lvl3pPr>
            <a:lvl4pPr marL="2687970" lvl="3" indent="-447995" rtl="0">
              <a:spcBef>
                <a:spcPts val="2352"/>
              </a:spcBef>
              <a:spcAft>
                <a:spcPts val="0"/>
              </a:spcAft>
              <a:buClr>
                <a:srgbClr val="000000"/>
              </a:buClr>
              <a:buSzPts val="1200"/>
              <a:buChar char="●"/>
              <a:defRPr>
                <a:solidFill>
                  <a:srgbClr val="000000"/>
                </a:solidFill>
              </a:defRPr>
            </a:lvl4pPr>
            <a:lvl5pPr marL="3359963" lvl="4" indent="-447995" rtl="0">
              <a:spcBef>
                <a:spcPts val="2352"/>
              </a:spcBef>
              <a:spcAft>
                <a:spcPts val="0"/>
              </a:spcAft>
              <a:buClr>
                <a:srgbClr val="000000"/>
              </a:buClr>
              <a:buSzPts val="1200"/>
              <a:buChar char="○"/>
              <a:defRPr>
                <a:solidFill>
                  <a:srgbClr val="000000"/>
                </a:solidFill>
              </a:defRPr>
            </a:lvl5pPr>
            <a:lvl6pPr marL="4031955" lvl="5" indent="-447995" rtl="0">
              <a:spcBef>
                <a:spcPts val="2352"/>
              </a:spcBef>
              <a:spcAft>
                <a:spcPts val="0"/>
              </a:spcAft>
              <a:buClr>
                <a:srgbClr val="000000"/>
              </a:buClr>
              <a:buSzPts val="1200"/>
              <a:buChar char="■"/>
              <a:defRPr>
                <a:solidFill>
                  <a:srgbClr val="000000"/>
                </a:solidFill>
              </a:defRPr>
            </a:lvl6pPr>
            <a:lvl7pPr marL="4703948" lvl="6" indent="-447995" rtl="0">
              <a:spcBef>
                <a:spcPts val="2352"/>
              </a:spcBef>
              <a:spcAft>
                <a:spcPts val="0"/>
              </a:spcAft>
              <a:buClr>
                <a:srgbClr val="000000"/>
              </a:buClr>
              <a:buSzPts val="1200"/>
              <a:buChar char="●"/>
              <a:defRPr>
                <a:solidFill>
                  <a:srgbClr val="000000"/>
                </a:solidFill>
              </a:defRPr>
            </a:lvl7pPr>
            <a:lvl8pPr marL="5375940" lvl="7" indent="-447995" rtl="0">
              <a:spcBef>
                <a:spcPts val="2352"/>
              </a:spcBef>
              <a:spcAft>
                <a:spcPts val="0"/>
              </a:spcAft>
              <a:buClr>
                <a:srgbClr val="000000"/>
              </a:buClr>
              <a:buSzPts val="1200"/>
              <a:buChar char="○"/>
              <a:defRPr>
                <a:solidFill>
                  <a:srgbClr val="000000"/>
                </a:solidFill>
              </a:defRPr>
            </a:lvl8pPr>
            <a:lvl9pPr marL="6047933" lvl="8" indent="-447995" rtl="0">
              <a:spcBef>
                <a:spcPts val="2352"/>
              </a:spcBef>
              <a:spcAft>
                <a:spcPts val="2352"/>
              </a:spcAft>
              <a:buClr>
                <a:srgbClr val="000000"/>
              </a:buClr>
              <a:buSzPts val="1200"/>
              <a:buChar char="■"/>
              <a:defRPr>
                <a:solidFill>
                  <a:srgbClr val="000000"/>
                </a:solidFill>
              </a:defRPr>
            </a:lvl9pPr>
          </a:lstStyle>
          <a:p>
            <a:endParaRPr/>
          </a:p>
        </p:txBody>
      </p:sp>
      <p:sp>
        <p:nvSpPr>
          <p:cNvPr id="110" name="Google Shape;110;p20"/>
          <p:cNvSpPr txBox="1">
            <a:spLocks noGrp="1"/>
          </p:cNvSpPr>
          <p:nvPr>
            <p:ph type="ctrTitle"/>
          </p:nvPr>
        </p:nvSpPr>
        <p:spPr>
          <a:xfrm rot="5400000">
            <a:off x="10175575" y="2068665"/>
            <a:ext cx="3600601" cy="716523"/>
          </a:xfrm>
          <a:prstGeom prst="rect">
            <a:avLst/>
          </a:prstGeom>
        </p:spPr>
        <p:txBody>
          <a:bodyPr spcFirstLastPara="1" wrap="square" lIns="91425" tIns="91425" rIns="91425" bIns="91425" anchor="ctr" anchorCtr="0">
            <a:noAutofit/>
          </a:bodyPr>
          <a:lstStyle>
            <a:lvl1pPr lvl="0" rtl="0">
              <a:spcBef>
                <a:spcPts val="0"/>
              </a:spcBef>
              <a:spcAft>
                <a:spcPts val="0"/>
              </a:spcAft>
              <a:buSzPts val="2400"/>
              <a:buNone/>
              <a:defRPr sz="3528"/>
            </a:lvl1pPr>
            <a:lvl2pPr lvl="1" rtl="0">
              <a:spcBef>
                <a:spcPts val="0"/>
              </a:spcBef>
              <a:spcAft>
                <a:spcPts val="0"/>
              </a:spcAft>
              <a:buSzPts val="3000"/>
              <a:buNone/>
              <a:defRPr sz="4409"/>
            </a:lvl2pPr>
            <a:lvl3pPr lvl="2" rtl="0">
              <a:spcBef>
                <a:spcPts val="0"/>
              </a:spcBef>
              <a:spcAft>
                <a:spcPts val="0"/>
              </a:spcAft>
              <a:buSzPts val="3000"/>
              <a:buNone/>
              <a:defRPr sz="4409"/>
            </a:lvl3pPr>
            <a:lvl4pPr lvl="3" rtl="0">
              <a:spcBef>
                <a:spcPts val="0"/>
              </a:spcBef>
              <a:spcAft>
                <a:spcPts val="0"/>
              </a:spcAft>
              <a:buSzPts val="3000"/>
              <a:buNone/>
              <a:defRPr sz="4409"/>
            </a:lvl4pPr>
            <a:lvl5pPr lvl="4" rtl="0">
              <a:spcBef>
                <a:spcPts val="0"/>
              </a:spcBef>
              <a:spcAft>
                <a:spcPts val="0"/>
              </a:spcAft>
              <a:buSzPts val="3000"/>
              <a:buNone/>
              <a:defRPr sz="4409"/>
            </a:lvl5pPr>
            <a:lvl6pPr lvl="5" rtl="0">
              <a:spcBef>
                <a:spcPts val="0"/>
              </a:spcBef>
              <a:spcAft>
                <a:spcPts val="0"/>
              </a:spcAft>
              <a:buSzPts val="3000"/>
              <a:buNone/>
              <a:defRPr sz="4409"/>
            </a:lvl6pPr>
            <a:lvl7pPr lvl="6" rtl="0">
              <a:spcBef>
                <a:spcPts val="0"/>
              </a:spcBef>
              <a:spcAft>
                <a:spcPts val="0"/>
              </a:spcAft>
              <a:buSzPts val="3000"/>
              <a:buNone/>
              <a:defRPr sz="4409"/>
            </a:lvl7pPr>
            <a:lvl8pPr lvl="7" rtl="0">
              <a:spcBef>
                <a:spcPts val="0"/>
              </a:spcBef>
              <a:spcAft>
                <a:spcPts val="0"/>
              </a:spcAft>
              <a:buSzPts val="3000"/>
              <a:buNone/>
              <a:defRPr sz="4409"/>
            </a:lvl8pPr>
            <a:lvl9pPr lvl="8" rtl="0">
              <a:spcBef>
                <a:spcPts val="0"/>
              </a:spcBef>
              <a:spcAft>
                <a:spcPts val="0"/>
              </a:spcAft>
              <a:buSzPts val="3000"/>
              <a:buNone/>
              <a:defRPr sz="4409"/>
            </a:lvl9pPr>
          </a:lstStyle>
          <a:p>
            <a:endParaRPr/>
          </a:p>
        </p:txBody>
      </p:sp>
    </p:spTree>
    <p:extLst>
      <p:ext uri="{BB962C8B-B14F-4D97-AF65-F5344CB8AC3E}">
        <p14:creationId xmlns:p14="http://schemas.microsoft.com/office/powerpoint/2010/main" val="34650964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Resources">
  <p:cSld name="Resources">
    <p:spTree>
      <p:nvGrpSpPr>
        <p:cNvPr id="1" name="Shape 111"/>
        <p:cNvGrpSpPr/>
        <p:nvPr/>
      </p:nvGrpSpPr>
      <p:grpSpPr>
        <a:xfrm>
          <a:off x="0" y="0"/>
          <a:ext cx="0" cy="0"/>
          <a:chOff x="0" y="0"/>
          <a:chExt cx="0" cy="0"/>
        </a:xfrm>
      </p:grpSpPr>
      <p:sp>
        <p:nvSpPr>
          <p:cNvPr id="112" name="Google Shape;112;p21"/>
          <p:cNvSpPr txBox="1">
            <a:spLocks noGrp="1"/>
          </p:cNvSpPr>
          <p:nvPr>
            <p:ph type="body" idx="1"/>
          </p:nvPr>
        </p:nvSpPr>
        <p:spPr>
          <a:xfrm>
            <a:off x="943680" y="1877683"/>
            <a:ext cx="7801948" cy="2169356"/>
          </a:xfrm>
          <a:prstGeom prst="rect">
            <a:avLst/>
          </a:prstGeom>
        </p:spPr>
        <p:txBody>
          <a:bodyPr spcFirstLastPara="1" wrap="square" lIns="91425" tIns="91425" rIns="91425" bIns="91425" anchor="t" anchorCtr="0">
            <a:noAutofit/>
          </a:bodyPr>
          <a:lstStyle>
            <a:lvl1pPr marL="671993" lvl="0" indent="-447995" rtl="0">
              <a:spcBef>
                <a:spcPts val="0"/>
              </a:spcBef>
              <a:spcAft>
                <a:spcPts val="0"/>
              </a:spcAft>
              <a:buClr>
                <a:srgbClr val="000000"/>
              </a:buClr>
              <a:buSzPts val="1200"/>
              <a:buChar char="●"/>
              <a:defRPr>
                <a:solidFill>
                  <a:srgbClr val="000000"/>
                </a:solidFill>
              </a:defRPr>
            </a:lvl1pPr>
            <a:lvl2pPr marL="1343985" lvl="1" indent="-447995" rtl="0">
              <a:spcBef>
                <a:spcPts val="2352"/>
              </a:spcBef>
              <a:spcAft>
                <a:spcPts val="0"/>
              </a:spcAft>
              <a:buClr>
                <a:srgbClr val="000000"/>
              </a:buClr>
              <a:buSzPts val="1200"/>
              <a:buChar char="○"/>
              <a:defRPr>
                <a:solidFill>
                  <a:srgbClr val="000000"/>
                </a:solidFill>
              </a:defRPr>
            </a:lvl2pPr>
            <a:lvl3pPr marL="2015978" lvl="2" indent="-447995" rtl="0">
              <a:spcBef>
                <a:spcPts val="2352"/>
              </a:spcBef>
              <a:spcAft>
                <a:spcPts val="0"/>
              </a:spcAft>
              <a:buClr>
                <a:srgbClr val="000000"/>
              </a:buClr>
              <a:buSzPts val="1200"/>
              <a:buChar char="■"/>
              <a:defRPr>
                <a:solidFill>
                  <a:srgbClr val="000000"/>
                </a:solidFill>
              </a:defRPr>
            </a:lvl3pPr>
            <a:lvl4pPr marL="2687970" lvl="3" indent="-447995" rtl="0">
              <a:spcBef>
                <a:spcPts val="2352"/>
              </a:spcBef>
              <a:spcAft>
                <a:spcPts val="0"/>
              </a:spcAft>
              <a:buClr>
                <a:srgbClr val="000000"/>
              </a:buClr>
              <a:buSzPts val="1200"/>
              <a:buChar char="●"/>
              <a:defRPr>
                <a:solidFill>
                  <a:srgbClr val="000000"/>
                </a:solidFill>
              </a:defRPr>
            </a:lvl4pPr>
            <a:lvl5pPr marL="3359963" lvl="4" indent="-447995" rtl="0">
              <a:spcBef>
                <a:spcPts val="2352"/>
              </a:spcBef>
              <a:spcAft>
                <a:spcPts val="0"/>
              </a:spcAft>
              <a:buClr>
                <a:srgbClr val="000000"/>
              </a:buClr>
              <a:buSzPts val="1200"/>
              <a:buChar char="○"/>
              <a:defRPr>
                <a:solidFill>
                  <a:srgbClr val="000000"/>
                </a:solidFill>
              </a:defRPr>
            </a:lvl5pPr>
            <a:lvl6pPr marL="4031955" lvl="5" indent="-447995" rtl="0">
              <a:spcBef>
                <a:spcPts val="2352"/>
              </a:spcBef>
              <a:spcAft>
                <a:spcPts val="0"/>
              </a:spcAft>
              <a:buClr>
                <a:srgbClr val="000000"/>
              </a:buClr>
              <a:buSzPts val="1200"/>
              <a:buChar char="■"/>
              <a:defRPr>
                <a:solidFill>
                  <a:srgbClr val="000000"/>
                </a:solidFill>
              </a:defRPr>
            </a:lvl6pPr>
            <a:lvl7pPr marL="4703948" lvl="6" indent="-447995" rtl="0">
              <a:spcBef>
                <a:spcPts val="2352"/>
              </a:spcBef>
              <a:spcAft>
                <a:spcPts val="0"/>
              </a:spcAft>
              <a:buClr>
                <a:srgbClr val="000000"/>
              </a:buClr>
              <a:buSzPts val="1200"/>
              <a:buChar char="●"/>
              <a:defRPr>
                <a:solidFill>
                  <a:srgbClr val="000000"/>
                </a:solidFill>
              </a:defRPr>
            </a:lvl7pPr>
            <a:lvl8pPr marL="5375940" lvl="7" indent="-447995" rtl="0">
              <a:spcBef>
                <a:spcPts val="2352"/>
              </a:spcBef>
              <a:spcAft>
                <a:spcPts val="0"/>
              </a:spcAft>
              <a:buClr>
                <a:srgbClr val="000000"/>
              </a:buClr>
              <a:buSzPts val="1200"/>
              <a:buChar char="○"/>
              <a:defRPr>
                <a:solidFill>
                  <a:srgbClr val="000000"/>
                </a:solidFill>
              </a:defRPr>
            </a:lvl8pPr>
            <a:lvl9pPr marL="6047933" lvl="8" indent="-447995" rtl="0">
              <a:spcBef>
                <a:spcPts val="2352"/>
              </a:spcBef>
              <a:spcAft>
                <a:spcPts val="2352"/>
              </a:spcAft>
              <a:buClr>
                <a:srgbClr val="000000"/>
              </a:buClr>
              <a:buSzPts val="1200"/>
              <a:buChar char="■"/>
              <a:defRPr>
                <a:solidFill>
                  <a:srgbClr val="000000"/>
                </a:solidFill>
              </a:defRPr>
            </a:lvl9pPr>
          </a:lstStyle>
          <a:p>
            <a:endParaRPr/>
          </a:p>
        </p:txBody>
      </p:sp>
      <p:sp>
        <p:nvSpPr>
          <p:cNvPr id="113" name="Google Shape;113;p21"/>
          <p:cNvSpPr txBox="1">
            <a:spLocks noGrp="1"/>
          </p:cNvSpPr>
          <p:nvPr>
            <p:ph type="ctrTitle"/>
          </p:nvPr>
        </p:nvSpPr>
        <p:spPr>
          <a:xfrm rot="5400000">
            <a:off x="10175575" y="2068665"/>
            <a:ext cx="3600601" cy="716523"/>
          </a:xfrm>
          <a:prstGeom prst="rect">
            <a:avLst/>
          </a:prstGeom>
        </p:spPr>
        <p:txBody>
          <a:bodyPr spcFirstLastPara="1" wrap="square" lIns="91425" tIns="91425" rIns="91425" bIns="91425" anchor="ctr" anchorCtr="0">
            <a:noAutofit/>
          </a:bodyPr>
          <a:lstStyle>
            <a:lvl1pPr lvl="0" rtl="0">
              <a:spcBef>
                <a:spcPts val="0"/>
              </a:spcBef>
              <a:spcAft>
                <a:spcPts val="0"/>
              </a:spcAft>
              <a:buSzPts val="2400"/>
              <a:buNone/>
              <a:defRPr sz="3528"/>
            </a:lvl1pPr>
            <a:lvl2pPr lvl="1" rtl="0">
              <a:spcBef>
                <a:spcPts val="0"/>
              </a:spcBef>
              <a:spcAft>
                <a:spcPts val="0"/>
              </a:spcAft>
              <a:buSzPts val="3000"/>
              <a:buNone/>
              <a:defRPr sz="4409"/>
            </a:lvl2pPr>
            <a:lvl3pPr lvl="2" rtl="0">
              <a:spcBef>
                <a:spcPts val="0"/>
              </a:spcBef>
              <a:spcAft>
                <a:spcPts val="0"/>
              </a:spcAft>
              <a:buSzPts val="3000"/>
              <a:buNone/>
              <a:defRPr sz="4409"/>
            </a:lvl3pPr>
            <a:lvl4pPr lvl="3" rtl="0">
              <a:spcBef>
                <a:spcPts val="0"/>
              </a:spcBef>
              <a:spcAft>
                <a:spcPts val="0"/>
              </a:spcAft>
              <a:buSzPts val="3000"/>
              <a:buNone/>
              <a:defRPr sz="4409"/>
            </a:lvl4pPr>
            <a:lvl5pPr lvl="4" rtl="0">
              <a:spcBef>
                <a:spcPts val="0"/>
              </a:spcBef>
              <a:spcAft>
                <a:spcPts val="0"/>
              </a:spcAft>
              <a:buSzPts val="3000"/>
              <a:buNone/>
              <a:defRPr sz="4409"/>
            </a:lvl5pPr>
            <a:lvl6pPr lvl="5" rtl="0">
              <a:spcBef>
                <a:spcPts val="0"/>
              </a:spcBef>
              <a:spcAft>
                <a:spcPts val="0"/>
              </a:spcAft>
              <a:buSzPts val="3000"/>
              <a:buNone/>
              <a:defRPr sz="4409"/>
            </a:lvl6pPr>
            <a:lvl7pPr lvl="6" rtl="0">
              <a:spcBef>
                <a:spcPts val="0"/>
              </a:spcBef>
              <a:spcAft>
                <a:spcPts val="0"/>
              </a:spcAft>
              <a:buSzPts val="3000"/>
              <a:buNone/>
              <a:defRPr sz="4409"/>
            </a:lvl7pPr>
            <a:lvl8pPr lvl="7" rtl="0">
              <a:spcBef>
                <a:spcPts val="0"/>
              </a:spcBef>
              <a:spcAft>
                <a:spcPts val="0"/>
              </a:spcAft>
              <a:buSzPts val="3000"/>
              <a:buNone/>
              <a:defRPr sz="4409"/>
            </a:lvl8pPr>
            <a:lvl9pPr lvl="8" rtl="0">
              <a:spcBef>
                <a:spcPts val="0"/>
              </a:spcBef>
              <a:spcAft>
                <a:spcPts val="0"/>
              </a:spcAft>
              <a:buSzPts val="3000"/>
              <a:buNone/>
              <a:defRPr sz="4409"/>
            </a:lvl9pPr>
          </a:lstStyle>
          <a:p>
            <a:endParaRPr/>
          </a:p>
        </p:txBody>
      </p:sp>
      <p:sp>
        <p:nvSpPr>
          <p:cNvPr id="114" name="Google Shape;114;p21"/>
          <p:cNvSpPr txBox="1">
            <a:spLocks noGrp="1"/>
          </p:cNvSpPr>
          <p:nvPr>
            <p:ph type="subTitle" idx="2"/>
          </p:nvPr>
        </p:nvSpPr>
        <p:spPr>
          <a:xfrm>
            <a:off x="943680" y="793667"/>
            <a:ext cx="6842468" cy="1411845"/>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SzPts val="1200"/>
              <a:buNone/>
              <a:defRPr/>
            </a:lvl1pPr>
            <a:lvl2pPr lvl="1" rtl="0">
              <a:lnSpc>
                <a:spcPct val="100000"/>
              </a:lnSpc>
              <a:spcBef>
                <a:spcPts val="0"/>
              </a:spcBef>
              <a:spcAft>
                <a:spcPts val="0"/>
              </a:spcAft>
              <a:buClr>
                <a:schemeClr val="lt1"/>
              </a:buClr>
              <a:buSzPts val="1200"/>
              <a:buNone/>
              <a:defRPr>
                <a:solidFill>
                  <a:schemeClr val="lt1"/>
                </a:solidFill>
              </a:defRPr>
            </a:lvl2pPr>
            <a:lvl3pPr lvl="2" rtl="0">
              <a:lnSpc>
                <a:spcPct val="100000"/>
              </a:lnSpc>
              <a:spcBef>
                <a:spcPts val="0"/>
              </a:spcBef>
              <a:spcAft>
                <a:spcPts val="0"/>
              </a:spcAft>
              <a:buClr>
                <a:schemeClr val="lt1"/>
              </a:buClr>
              <a:buSzPts val="1200"/>
              <a:buNone/>
              <a:defRPr>
                <a:solidFill>
                  <a:schemeClr val="lt1"/>
                </a:solidFill>
              </a:defRPr>
            </a:lvl3pPr>
            <a:lvl4pPr lvl="3" rtl="0">
              <a:lnSpc>
                <a:spcPct val="100000"/>
              </a:lnSpc>
              <a:spcBef>
                <a:spcPts val="0"/>
              </a:spcBef>
              <a:spcAft>
                <a:spcPts val="0"/>
              </a:spcAft>
              <a:buClr>
                <a:schemeClr val="lt1"/>
              </a:buClr>
              <a:buSzPts val="1200"/>
              <a:buNone/>
              <a:defRPr>
                <a:solidFill>
                  <a:schemeClr val="lt1"/>
                </a:solidFill>
              </a:defRPr>
            </a:lvl4pPr>
            <a:lvl5pPr lvl="4" rtl="0">
              <a:lnSpc>
                <a:spcPct val="100000"/>
              </a:lnSpc>
              <a:spcBef>
                <a:spcPts val="0"/>
              </a:spcBef>
              <a:spcAft>
                <a:spcPts val="0"/>
              </a:spcAft>
              <a:buClr>
                <a:schemeClr val="lt1"/>
              </a:buClr>
              <a:buSzPts val="1200"/>
              <a:buNone/>
              <a:defRPr>
                <a:solidFill>
                  <a:schemeClr val="lt1"/>
                </a:solidFill>
              </a:defRPr>
            </a:lvl5pPr>
            <a:lvl6pPr lvl="5" rtl="0">
              <a:lnSpc>
                <a:spcPct val="100000"/>
              </a:lnSpc>
              <a:spcBef>
                <a:spcPts val="0"/>
              </a:spcBef>
              <a:spcAft>
                <a:spcPts val="0"/>
              </a:spcAft>
              <a:buClr>
                <a:schemeClr val="lt1"/>
              </a:buClr>
              <a:buSzPts val="1200"/>
              <a:buNone/>
              <a:defRPr>
                <a:solidFill>
                  <a:schemeClr val="lt1"/>
                </a:solidFill>
              </a:defRPr>
            </a:lvl6pPr>
            <a:lvl7pPr lvl="6" rtl="0">
              <a:lnSpc>
                <a:spcPct val="100000"/>
              </a:lnSpc>
              <a:spcBef>
                <a:spcPts val="0"/>
              </a:spcBef>
              <a:spcAft>
                <a:spcPts val="0"/>
              </a:spcAft>
              <a:buClr>
                <a:schemeClr val="lt1"/>
              </a:buClr>
              <a:buSzPts val="1200"/>
              <a:buNone/>
              <a:defRPr>
                <a:solidFill>
                  <a:schemeClr val="lt1"/>
                </a:solidFill>
              </a:defRPr>
            </a:lvl7pPr>
            <a:lvl8pPr lvl="7" rtl="0">
              <a:lnSpc>
                <a:spcPct val="100000"/>
              </a:lnSpc>
              <a:spcBef>
                <a:spcPts val="0"/>
              </a:spcBef>
              <a:spcAft>
                <a:spcPts val="0"/>
              </a:spcAft>
              <a:buClr>
                <a:schemeClr val="lt1"/>
              </a:buClr>
              <a:buSzPts val="1200"/>
              <a:buNone/>
              <a:defRPr>
                <a:solidFill>
                  <a:schemeClr val="lt1"/>
                </a:solidFill>
              </a:defRPr>
            </a:lvl8pPr>
            <a:lvl9pPr lvl="8" rtl="0">
              <a:lnSpc>
                <a:spcPct val="100000"/>
              </a:lnSpc>
              <a:spcBef>
                <a:spcPts val="0"/>
              </a:spcBef>
              <a:spcAft>
                <a:spcPts val="0"/>
              </a:spcAft>
              <a:buClr>
                <a:schemeClr val="lt1"/>
              </a:buClr>
              <a:buSzPts val="1200"/>
              <a:buNone/>
              <a:defRPr>
                <a:solidFill>
                  <a:schemeClr val="lt1"/>
                </a:solidFill>
              </a:defRPr>
            </a:lvl9pPr>
          </a:lstStyle>
          <a:p>
            <a:endParaRPr/>
          </a:p>
        </p:txBody>
      </p:sp>
    </p:spTree>
    <p:extLst>
      <p:ext uri="{BB962C8B-B14F-4D97-AF65-F5344CB8AC3E}">
        <p14:creationId xmlns:p14="http://schemas.microsoft.com/office/powerpoint/2010/main" val="350459537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userDrawn="1">
  <p:cSld name="1_Пользовательский макет">
    <p:spTree>
      <p:nvGrpSpPr>
        <p:cNvPr id="1" name=""/>
        <p:cNvGrpSpPr/>
        <p:nvPr/>
      </p:nvGrpSpPr>
      <p:grpSpPr>
        <a:xfrm>
          <a:off x="0" y="0"/>
          <a:ext cx="0" cy="0"/>
          <a:chOff x="0" y="0"/>
          <a:chExt cx="0" cy="0"/>
        </a:xfrm>
      </p:grpSpPr>
      <p:sp>
        <p:nvSpPr>
          <p:cNvPr id="10" name="bk object 16"/>
          <p:cNvSpPr/>
          <p:nvPr userDrawn="1"/>
        </p:nvSpPr>
        <p:spPr>
          <a:xfrm>
            <a:off x="-238" y="-317"/>
            <a:ext cx="13440014" cy="7559992"/>
          </a:xfrm>
          <a:prstGeom prst="rect">
            <a:avLst/>
          </a:prstGeom>
          <a:blipFill>
            <a:blip r:embed="rId4" cstate="email">
              <a:extLst>
                <a:ext uri="{28A0092B-C50C-407E-A947-70E740481C1C}">
                  <a14:useLocalDpi xmlns:a14="http://schemas.microsoft.com/office/drawing/2010/main"/>
                </a:ext>
              </a:extLst>
            </a:blip>
            <a:stretch>
              <a:fillRect/>
            </a:stretch>
          </a:blipFill>
        </p:spPr>
        <p:txBody>
          <a:bodyPr wrap="square" lIns="0" tIns="0" rIns="0" bIns="0" rtlCol="0"/>
          <a:lstStyle/>
          <a:p>
            <a:endParaRPr sz="2464"/>
          </a:p>
        </p:txBody>
      </p:sp>
      <p:graphicFrame>
        <p:nvGraphicFramePr>
          <p:cNvPr id="3" name="Объект 2" hidden="1"/>
          <p:cNvGraphicFramePr>
            <a:graphicFrameLocks noChangeAspect="1"/>
          </p:cNvGraphicFramePr>
          <p:nvPr userDrawn="1">
            <p:custDataLst>
              <p:tags r:id="rId1"/>
            </p:custDataLst>
          </p:nvPr>
        </p:nvGraphicFramePr>
        <p:xfrm>
          <a:off x="1996" y="1588"/>
          <a:ext cx="1996" cy="1588"/>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3" name="Объект 2" hidden="1"/>
                      <p:cNvPicPr/>
                      <p:nvPr/>
                    </p:nvPicPr>
                    <p:blipFill>
                      <a:blip r:embed="rId6"/>
                      <a:stretch>
                        <a:fillRect/>
                      </a:stretch>
                    </p:blipFill>
                    <p:spPr>
                      <a:xfrm>
                        <a:off x="1996" y="1588"/>
                        <a:ext cx="1996" cy="1588"/>
                      </a:xfrm>
                      <a:prstGeom prst="rect">
                        <a:avLst/>
                      </a:prstGeom>
                    </p:spPr>
                  </p:pic>
                </p:oleObj>
              </mc:Fallback>
            </mc:AlternateContent>
          </a:graphicData>
        </a:graphic>
      </p:graphicFrame>
      <p:sp>
        <p:nvSpPr>
          <p:cNvPr id="2" name="Прямоугольник 1" hidden="1"/>
          <p:cNvSpPr/>
          <p:nvPr userDrawn="1">
            <p:custDataLst>
              <p:tags r:id="rId2"/>
            </p:custDataLst>
          </p:nvPr>
        </p:nvSpPr>
        <p:spPr>
          <a:xfrm>
            <a:off x="0" y="0"/>
            <a:ext cx="1995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ru-RU" sz="4704" b="1" i="0" baseline="0">
              <a:latin typeface="Calibri" panose="020F0502020204030204" pitchFamily="34" charset="0"/>
              <a:ea typeface="+mj-ea"/>
              <a:cs typeface="+mj-cs"/>
              <a:sym typeface="Calibri" panose="020F0502020204030204" pitchFamily="34" charset="0"/>
            </a:endParaRPr>
          </a:p>
        </p:txBody>
      </p:sp>
      <p:sp>
        <p:nvSpPr>
          <p:cNvPr id="88" name="Прямоугольник 87"/>
          <p:cNvSpPr/>
          <p:nvPr userDrawn="1"/>
        </p:nvSpPr>
        <p:spPr>
          <a:xfrm>
            <a:off x="456856" y="1"/>
            <a:ext cx="757645" cy="5007428"/>
          </a:xfrm>
          <a:prstGeom prst="rect">
            <a:avLst/>
          </a:prstGeom>
          <a:solidFill>
            <a:srgbClr val="FED1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ru-RU"/>
          </a:p>
        </p:txBody>
      </p:sp>
      <p:sp>
        <p:nvSpPr>
          <p:cNvPr id="89" name="Заголовок 1"/>
          <p:cNvSpPr>
            <a:spLocks noGrp="1"/>
          </p:cNvSpPr>
          <p:nvPr>
            <p:ph type="title" hasCustomPrompt="1"/>
          </p:nvPr>
        </p:nvSpPr>
        <p:spPr>
          <a:xfrm>
            <a:off x="624747" y="2626579"/>
            <a:ext cx="7995378" cy="1230996"/>
          </a:xfrm>
          <a:prstGeom prst="rect">
            <a:avLst/>
          </a:prstGeom>
        </p:spPr>
        <p:txBody>
          <a:bodyPr anchor="ctr">
            <a:noAutofit/>
          </a:bodyPr>
          <a:lstStyle>
            <a:lvl1pPr algn="l">
              <a:defRPr sz="4800" b="1" baseline="0">
                <a:solidFill>
                  <a:srgbClr val="000000"/>
                </a:solidFill>
                <a:latin typeface="+mj-lt"/>
              </a:defRPr>
            </a:lvl1pPr>
          </a:lstStyle>
          <a:p>
            <a:r>
              <a:rPr lang="uk-UA"/>
              <a:t>Назва презентації</a:t>
            </a:r>
            <a:endParaRPr lang="ru-RU"/>
          </a:p>
        </p:txBody>
      </p:sp>
      <p:grpSp>
        <p:nvGrpSpPr>
          <p:cNvPr id="4" name="Группа 3"/>
          <p:cNvGrpSpPr/>
          <p:nvPr userDrawn="1"/>
        </p:nvGrpSpPr>
        <p:grpSpPr>
          <a:xfrm>
            <a:off x="722748" y="4410534"/>
            <a:ext cx="5511731" cy="449955"/>
            <a:chOff x="722748" y="4410534"/>
            <a:chExt cx="5511731" cy="449955"/>
          </a:xfrm>
        </p:grpSpPr>
        <p:grpSp>
          <p:nvGrpSpPr>
            <p:cNvPr id="38" name="Группа 37"/>
            <p:cNvGrpSpPr/>
            <p:nvPr userDrawn="1"/>
          </p:nvGrpSpPr>
          <p:grpSpPr>
            <a:xfrm>
              <a:off x="722748" y="4410740"/>
              <a:ext cx="4339906" cy="449749"/>
              <a:chOff x="722748" y="4410740"/>
              <a:chExt cx="4339906" cy="449749"/>
            </a:xfrm>
          </p:grpSpPr>
          <p:sp>
            <p:nvSpPr>
              <p:cNvPr id="39" name="bk object 21"/>
              <p:cNvSpPr/>
              <p:nvPr userDrawn="1"/>
            </p:nvSpPr>
            <p:spPr>
              <a:xfrm>
                <a:off x="5019471" y="4410740"/>
                <a:ext cx="43180" cy="60960"/>
              </a:xfrm>
              <a:custGeom>
                <a:avLst/>
                <a:gdLst/>
                <a:ahLst/>
                <a:cxnLst/>
                <a:rect l="l" t="t" r="r" b="b"/>
                <a:pathLst>
                  <a:path w="43179" h="60960">
                    <a:moveTo>
                      <a:pt x="42786" y="0"/>
                    </a:moveTo>
                    <a:lnTo>
                      <a:pt x="30251" y="0"/>
                    </a:lnTo>
                    <a:lnTo>
                      <a:pt x="18489" y="2377"/>
                    </a:lnTo>
                    <a:lnTo>
                      <a:pt x="8872" y="8859"/>
                    </a:lnTo>
                    <a:lnTo>
                      <a:pt x="2381" y="18468"/>
                    </a:lnTo>
                    <a:lnTo>
                      <a:pt x="0" y="30226"/>
                    </a:lnTo>
                    <a:lnTo>
                      <a:pt x="2381" y="41987"/>
                    </a:lnTo>
                    <a:lnTo>
                      <a:pt x="8872" y="51604"/>
                    </a:lnTo>
                    <a:lnTo>
                      <a:pt x="18489" y="58095"/>
                    </a:lnTo>
                    <a:lnTo>
                      <a:pt x="30251" y="60477"/>
                    </a:lnTo>
                    <a:lnTo>
                      <a:pt x="42786" y="60477"/>
                    </a:lnTo>
                    <a:lnTo>
                      <a:pt x="42786" y="49415"/>
                    </a:lnTo>
                    <a:lnTo>
                      <a:pt x="30251" y="49415"/>
                    </a:lnTo>
                    <a:lnTo>
                      <a:pt x="22789" y="47904"/>
                    </a:lnTo>
                    <a:lnTo>
                      <a:pt x="16689" y="43788"/>
                    </a:lnTo>
                    <a:lnTo>
                      <a:pt x="12572" y="37687"/>
                    </a:lnTo>
                    <a:lnTo>
                      <a:pt x="11061" y="30226"/>
                    </a:lnTo>
                    <a:lnTo>
                      <a:pt x="12572" y="22768"/>
                    </a:lnTo>
                    <a:lnTo>
                      <a:pt x="16689" y="16676"/>
                    </a:lnTo>
                    <a:lnTo>
                      <a:pt x="22789" y="12568"/>
                    </a:lnTo>
                    <a:lnTo>
                      <a:pt x="30251" y="11061"/>
                    </a:lnTo>
                    <a:lnTo>
                      <a:pt x="42786" y="11061"/>
                    </a:lnTo>
                    <a:lnTo>
                      <a:pt x="42786" y="0"/>
                    </a:lnTo>
                    <a:close/>
                  </a:path>
                </a:pathLst>
              </a:custGeom>
              <a:solidFill>
                <a:srgbClr val="919396"/>
              </a:solidFill>
            </p:spPr>
            <p:txBody>
              <a:bodyPr wrap="square" lIns="0" tIns="0" rIns="0" bIns="0" rtlCol="0"/>
              <a:lstStyle/>
              <a:p>
                <a:endParaRPr/>
              </a:p>
            </p:txBody>
          </p:sp>
          <p:sp>
            <p:nvSpPr>
              <p:cNvPr id="40" name="bk object 22"/>
              <p:cNvSpPr/>
              <p:nvPr userDrawn="1"/>
            </p:nvSpPr>
            <p:spPr>
              <a:xfrm>
                <a:off x="4628873" y="4410740"/>
                <a:ext cx="43180" cy="60960"/>
              </a:xfrm>
              <a:custGeom>
                <a:avLst/>
                <a:gdLst/>
                <a:ahLst/>
                <a:cxnLst/>
                <a:rect l="l" t="t" r="r" b="b"/>
                <a:pathLst>
                  <a:path w="43179" h="60960">
                    <a:moveTo>
                      <a:pt x="42786" y="0"/>
                    </a:moveTo>
                    <a:lnTo>
                      <a:pt x="30251" y="0"/>
                    </a:lnTo>
                    <a:lnTo>
                      <a:pt x="18479" y="2377"/>
                    </a:lnTo>
                    <a:lnTo>
                      <a:pt x="8863" y="8859"/>
                    </a:lnTo>
                    <a:lnTo>
                      <a:pt x="2378" y="18468"/>
                    </a:lnTo>
                    <a:lnTo>
                      <a:pt x="0" y="30226"/>
                    </a:lnTo>
                    <a:lnTo>
                      <a:pt x="2378" y="41987"/>
                    </a:lnTo>
                    <a:lnTo>
                      <a:pt x="8863" y="51604"/>
                    </a:lnTo>
                    <a:lnTo>
                      <a:pt x="18479" y="58095"/>
                    </a:lnTo>
                    <a:lnTo>
                      <a:pt x="30251" y="60477"/>
                    </a:lnTo>
                    <a:lnTo>
                      <a:pt x="42786" y="60477"/>
                    </a:lnTo>
                    <a:lnTo>
                      <a:pt x="42786" y="49415"/>
                    </a:lnTo>
                    <a:lnTo>
                      <a:pt x="30251" y="49415"/>
                    </a:lnTo>
                    <a:lnTo>
                      <a:pt x="22777" y="47904"/>
                    </a:lnTo>
                    <a:lnTo>
                      <a:pt x="16673" y="43788"/>
                    </a:lnTo>
                    <a:lnTo>
                      <a:pt x="12558" y="37687"/>
                    </a:lnTo>
                    <a:lnTo>
                      <a:pt x="11048" y="30226"/>
                    </a:lnTo>
                    <a:lnTo>
                      <a:pt x="12558" y="22768"/>
                    </a:lnTo>
                    <a:lnTo>
                      <a:pt x="16673" y="16676"/>
                    </a:lnTo>
                    <a:lnTo>
                      <a:pt x="22777" y="12568"/>
                    </a:lnTo>
                    <a:lnTo>
                      <a:pt x="30251" y="11061"/>
                    </a:lnTo>
                    <a:lnTo>
                      <a:pt x="42786" y="11061"/>
                    </a:lnTo>
                    <a:lnTo>
                      <a:pt x="42786" y="0"/>
                    </a:lnTo>
                    <a:close/>
                  </a:path>
                </a:pathLst>
              </a:custGeom>
              <a:solidFill>
                <a:srgbClr val="919396"/>
              </a:solidFill>
            </p:spPr>
            <p:txBody>
              <a:bodyPr wrap="square" lIns="0" tIns="0" rIns="0" bIns="0" rtlCol="0"/>
              <a:lstStyle/>
              <a:p>
                <a:endParaRPr/>
              </a:p>
            </p:txBody>
          </p:sp>
          <p:sp>
            <p:nvSpPr>
              <p:cNvPr id="41" name="bk object 23"/>
              <p:cNvSpPr/>
              <p:nvPr userDrawn="1"/>
            </p:nvSpPr>
            <p:spPr>
              <a:xfrm>
                <a:off x="4238241" y="4410740"/>
                <a:ext cx="43180" cy="60960"/>
              </a:xfrm>
              <a:custGeom>
                <a:avLst/>
                <a:gdLst/>
                <a:ahLst/>
                <a:cxnLst/>
                <a:rect l="l" t="t" r="r" b="b"/>
                <a:pathLst>
                  <a:path w="43179" h="60960">
                    <a:moveTo>
                      <a:pt x="42811" y="0"/>
                    </a:moveTo>
                    <a:lnTo>
                      <a:pt x="30276" y="0"/>
                    </a:lnTo>
                    <a:lnTo>
                      <a:pt x="18500" y="2377"/>
                    </a:lnTo>
                    <a:lnTo>
                      <a:pt x="8875" y="8859"/>
                    </a:lnTo>
                    <a:lnTo>
                      <a:pt x="2382" y="18468"/>
                    </a:lnTo>
                    <a:lnTo>
                      <a:pt x="0" y="30226"/>
                    </a:lnTo>
                    <a:lnTo>
                      <a:pt x="2382" y="41987"/>
                    </a:lnTo>
                    <a:lnTo>
                      <a:pt x="8875" y="51604"/>
                    </a:lnTo>
                    <a:lnTo>
                      <a:pt x="18500" y="58095"/>
                    </a:lnTo>
                    <a:lnTo>
                      <a:pt x="30276" y="60477"/>
                    </a:lnTo>
                    <a:lnTo>
                      <a:pt x="42811" y="60477"/>
                    </a:lnTo>
                    <a:lnTo>
                      <a:pt x="42811" y="49415"/>
                    </a:lnTo>
                    <a:lnTo>
                      <a:pt x="30276" y="49415"/>
                    </a:lnTo>
                    <a:lnTo>
                      <a:pt x="22802" y="47904"/>
                    </a:lnTo>
                    <a:lnTo>
                      <a:pt x="16698" y="43788"/>
                    </a:lnTo>
                    <a:lnTo>
                      <a:pt x="12583" y="37687"/>
                    </a:lnTo>
                    <a:lnTo>
                      <a:pt x="11074" y="30226"/>
                    </a:lnTo>
                    <a:lnTo>
                      <a:pt x="12583" y="22768"/>
                    </a:lnTo>
                    <a:lnTo>
                      <a:pt x="16698" y="16676"/>
                    </a:lnTo>
                    <a:lnTo>
                      <a:pt x="22802" y="12568"/>
                    </a:lnTo>
                    <a:lnTo>
                      <a:pt x="30276" y="11061"/>
                    </a:lnTo>
                    <a:lnTo>
                      <a:pt x="42811" y="11061"/>
                    </a:lnTo>
                    <a:lnTo>
                      <a:pt x="42811" y="0"/>
                    </a:lnTo>
                    <a:close/>
                  </a:path>
                </a:pathLst>
              </a:custGeom>
              <a:solidFill>
                <a:srgbClr val="919396"/>
              </a:solidFill>
            </p:spPr>
            <p:txBody>
              <a:bodyPr wrap="square" lIns="0" tIns="0" rIns="0" bIns="0" rtlCol="0"/>
              <a:lstStyle/>
              <a:p>
                <a:endParaRPr/>
              </a:p>
            </p:txBody>
          </p:sp>
          <p:sp>
            <p:nvSpPr>
              <p:cNvPr id="42" name="bk object 24"/>
              <p:cNvSpPr/>
              <p:nvPr userDrawn="1"/>
            </p:nvSpPr>
            <p:spPr>
              <a:xfrm>
                <a:off x="3847636" y="4410740"/>
                <a:ext cx="43180" cy="60960"/>
              </a:xfrm>
              <a:custGeom>
                <a:avLst/>
                <a:gdLst/>
                <a:ahLst/>
                <a:cxnLst/>
                <a:rect l="l" t="t" r="r" b="b"/>
                <a:pathLst>
                  <a:path w="43179" h="60960">
                    <a:moveTo>
                      <a:pt x="42811" y="0"/>
                    </a:moveTo>
                    <a:lnTo>
                      <a:pt x="30251" y="0"/>
                    </a:lnTo>
                    <a:lnTo>
                      <a:pt x="18489" y="2377"/>
                    </a:lnTo>
                    <a:lnTo>
                      <a:pt x="8872" y="8859"/>
                    </a:lnTo>
                    <a:lnTo>
                      <a:pt x="2381" y="18468"/>
                    </a:lnTo>
                    <a:lnTo>
                      <a:pt x="0" y="30226"/>
                    </a:lnTo>
                    <a:lnTo>
                      <a:pt x="2381" y="41987"/>
                    </a:lnTo>
                    <a:lnTo>
                      <a:pt x="8872" y="51604"/>
                    </a:lnTo>
                    <a:lnTo>
                      <a:pt x="18489" y="58095"/>
                    </a:lnTo>
                    <a:lnTo>
                      <a:pt x="30251" y="60477"/>
                    </a:lnTo>
                    <a:lnTo>
                      <a:pt x="42811" y="60477"/>
                    </a:lnTo>
                    <a:lnTo>
                      <a:pt x="42811" y="49415"/>
                    </a:lnTo>
                    <a:lnTo>
                      <a:pt x="30251" y="49415"/>
                    </a:lnTo>
                    <a:lnTo>
                      <a:pt x="22789" y="47904"/>
                    </a:lnTo>
                    <a:lnTo>
                      <a:pt x="16689" y="43788"/>
                    </a:lnTo>
                    <a:lnTo>
                      <a:pt x="12572" y="37687"/>
                    </a:lnTo>
                    <a:lnTo>
                      <a:pt x="11061" y="30226"/>
                    </a:lnTo>
                    <a:lnTo>
                      <a:pt x="12572" y="22768"/>
                    </a:lnTo>
                    <a:lnTo>
                      <a:pt x="16689" y="16676"/>
                    </a:lnTo>
                    <a:lnTo>
                      <a:pt x="22789" y="12568"/>
                    </a:lnTo>
                    <a:lnTo>
                      <a:pt x="30251" y="11061"/>
                    </a:lnTo>
                    <a:lnTo>
                      <a:pt x="42811" y="11061"/>
                    </a:lnTo>
                    <a:lnTo>
                      <a:pt x="42811" y="0"/>
                    </a:lnTo>
                    <a:close/>
                  </a:path>
                </a:pathLst>
              </a:custGeom>
              <a:solidFill>
                <a:srgbClr val="919396"/>
              </a:solidFill>
            </p:spPr>
            <p:txBody>
              <a:bodyPr wrap="square" lIns="0" tIns="0" rIns="0" bIns="0" rtlCol="0"/>
              <a:lstStyle/>
              <a:p>
                <a:endParaRPr/>
              </a:p>
            </p:txBody>
          </p:sp>
          <p:sp>
            <p:nvSpPr>
              <p:cNvPr id="68" name="bk object 25"/>
              <p:cNvSpPr/>
              <p:nvPr userDrawn="1"/>
            </p:nvSpPr>
            <p:spPr>
              <a:xfrm>
                <a:off x="3457023" y="4410740"/>
                <a:ext cx="43180" cy="60960"/>
              </a:xfrm>
              <a:custGeom>
                <a:avLst/>
                <a:gdLst/>
                <a:ahLst/>
                <a:cxnLst/>
                <a:rect l="l" t="t" r="r" b="b"/>
                <a:pathLst>
                  <a:path w="43179" h="60960">
                    <a:moveTo>
                      <a:pt x="42824" y="0"/>
                    </a:moveTo>
                    <a:lnTo>
                      <a:pt x="30264" y="0"/>
                    </a:lnTo>
                    <a:lnTo>
                      <a:pt x="18500" y="2377"/>
                    </a:lnTo>
                    <a:lnTo>
                      <a:pt x="8878" y="8859"/>
                    </a:lnTo>
                    <a:lnTo>
                      <a:pt x="2383" y="18468"/>
                    </a:lnTo>
                    <a:lnTo>
                      <a:pt x="0" y="30226"/>
                    </a:lnTo>
                    <a:lnTo>
                      <a:pt x="2383" y="41987"/>
                    </a:lnTo>
                    <a:lnTo>
                      <a:pt x="8878" y="51604"/>
                    </a:lnTo>
                    <a:lnTo>
                      <a:pt x="18500" y="58095"/>
                    </a:lnTo>
                    <a:lnTo>
                      <a:pt x="30264" y="60477"/>
                    </a:lnTo>
                    <a:lnTo>
                      <a:pt x="42824" y="60477"/>
                    </a:lnTo>
                    <a:lnTo>
                      <a:pt x="42824" y="49415"/>
                    </a:lnTo>
                    <a:lnTo>
                      <a:pt x="30264" y="49415"/>
                    </a:lnTo>
                    <a:lnTo>
                      <a:pt x="22802" y="47904"/>
                    </a:lnTo>
                    <a:lnTo>
                      <a:pt x="16702" y="43788"/>
                    </a:lnTo>
                    <a:lnTo>
                      <a:pt x="12585" y="37687"/>
                    </a:lnTo>
                    <a:lnTo>
                      <a:pt x="11074" y="30226"/>
                    </a:lnTo>
                    <a:lnTo>
                      <a:pt x="12585" y="22768"/>
                    </a:lnTo>
                    <a:lnTo>
                      <a:pt x="16702" y="16676"/>
                    </a:lnTo>
                    <a:lnTo>
                      <a:pt x="22802" y="12568"/>
                    </a:lnTo>
                    <a:lnTo>
                      <a:pt x="30264" y="11061"/>
                    </a:lnTo>
                    <a:lnTo>
                      <a:pt x="42824" y="11061"/>
                    </a:lnTo>
                    <a:lnTo>
                      <a:pt x="42824" y="0"/>
                    </a:lnTo>
                    <a:close/>
                  </a:path>
                </a:pathLst>
              </a:custGeom>
              <a:solidFill>
                <a:srgbClr val="919396"/>
              </a:solidFill>
            </p:spPr>
            <p:txBody>
              <a:bodyPr wrap="square" lIns="0" tIns="0" rIns="0" bIns="0" rtlCol="0"/>
              <a:lstStyle/>
              <a:p>
                <a:endParaRPr/>
              </a:p>
            </p:txBody>
          </p:sp>
          <p:sp>
            <p:nvSpPr>
              <p:cNvPr id="69" name="bk object 26"/>
              <p:cNvSpPr/>
              <p:nvPr userDrawn="1"/>
            </p:nvSpPr>
            <p:spPr>
              <a:xfrm>
                <a:off x="3066431" y="4410740"/>
                <a:ext cx="43180" cy="60960"/>
              </a:xfrm>
              <a:custGeom>
                <a:avLst/>
                <a:gdLst/>
                <a:ahLst/>
                <a:cxnLst/>
                <a:rect l="l" t="t" r="r" b="b"/>
                <a:pathLst>
                  <a:path w="43180" h="60960">
                    <a:moveTo>
                      <a:pt x="42786" y="0"/>
                    </a:moveTo>
                    <a:lnTo>
                      <a:pt x="30251" y="0"/>
                    </a:lnTo>
                    <a:lnTo>
                      <a:pt x="18489" y="2377"/>
                    </a:lnTo>
                    <a:lnTo>
                      <a:pt x="8872" y="8859"/>
                    </a:lnTo>
                    <a:lnTo>
                      <a:pt x="2381" y="18468"/>
                    </a:lnTo>
                    <a:lnTo>
                      <a:pt x="0" y="30226"/>
                    </a:lnTo>
                    <a:lnTo>
                      <a:pt x="2381" y="41987"/>
                    </a:lnTo>
                    <a:lnTo>
                      <a:pt x="8872" y="51604"/>
                    </a:lnTo>
                    <a:lnTo>
                      <a:pt x="18489" y="58095"/>
                    </a:lnTo>
                    <a:lnTo>
                      <a:pt x="30251" y="60477"/>
                    </a:lnTo>
                    <a:lnTo>
                      <a:pt x="42786" y="60477"/>
                    </a:lnTo>
                    <a:lnTo>
                      <a:pt x="42786" y="49415"/>
                    </a:lnTo>
                    <a:lnTo>
                      <a:pt x="30251" y="49415"/>
                    </a:lnTo>
                    <a:lnTo>
                      <a:pt x="22777" y="47904"/>
                    </a:lnTo>
                    <a:lnTo>
                      <a:pt x="16673" y="43788"/>
                    </a:lnTo>
                    <a:lnTo>
                      <a:pt x="12558" y="37687"/>
                    </a:lnTo>
                    <a:lnTo>
                      <a:pt x="11048" y="30226"/>
                    </a:lnTo>
                    <a:lnTo>
                      <a:pt x="12558" y="22768"/>
                    </a:lnTo>
                    <a:lnTo>
                      <a:pt x="16673" y="16676"/>
                    </a:lnTo>
                    <a:lnTo>
                      <a:pt x="22777" y="12568"/>
                    </a:lnTo>
                    <a:lnTo>
                      <a:pt x="30251" y="11061"/>
                    </a:lnTo>
                    <a:lnTo>
                      <a:pt x="42786" y="11061"/>
                    </a:lnTo>
                    <a:lnTo>
                      <a:pt x="42786" y="0"/>
                    </a:lnTo>
                    <a:close/>
                  </a:path>
                </a:pathLst>
              </a:custGeom>
              <a:solidFill>
                <a:srgbClr val="919396"/>
              </a:solidFill>
            </p:spPr>
            <p:txBody>
              <a:bodyPr wrap="square" lIns="0" tIns="0" rIns="0" bIns="0" rtlCol="0"/>
              <a:lstStyle/>
              <a:p>
                <a:endParaRPr/>
              </a:p>
            </p:txBody>
          </p:sp>
          <p:sp>
            <p:nvSpPr>
              <p:cNvPr id="70" name="bk object 27"/>
              <p:cNvSpPr/>
              <p:nvPr userDrawn="1"/>
            </p:nvSpPr>
            <p:spPr>
              <a:xfrm>
                <a:off x="2675826" y="4410740"/>
                <a:ext cx="43180" cy="60960"/>
              </a:xfrm>
              <a:custGeom>
                <a:avLst/>
                <a:gdLst/>
                <a:ahLst/>
                <a:cxnLst/>
                <a:rect l="l" t="t" r="r" b="b"/>
                <a:pathLst>
                  <a:path w="43180" h="60960">
                    <a:moveTo>
                      <a:pt x="42786" y="0"/>
                    </a:moveTo>
                    <a:lnTo>
                      <a:pt x="30251" y="0"/>
                    </a:lnTo>
                    <a:lnTo>
                      <a:pt x="18489" y="2377"/>
                    </a:lnTo>
                    <a:lnTo>
                      <a:pt x="8872" y="8859"/>
                    </a:lnTo>
                    <a:lnTo>
                      <a:pt x="2381" y="18468"/>
                    </a:lnTo>
                    <a:lnTo>
                      <a:pt x="0" y="30226"/>
                    </a:lnTo>
                    <a:lnTo>
                      <a:pt x="2381" y="41987"/>
                    </a:lnTo>
                    <a:lnTo>
                      <a:pt x="8872" y="51604"/>
                    </a:lnTo>
                    <a:lnTo>
                      <a:pt x="18489" y="58095"/>
                    </a:lnTo>
                    <a:lnTo>
                      <a:pt x="30251" y="60477"/>
                    </a:lnTo>
                    <a:lnTo>
                      <a:pt x="42786" y="60477"/>
                    </a:lnTo>
                    <a:lnTo>
                      <a:pt x="42786" y="49415"/>
                    </a:lnTo>
                    <a:lnTo>
                      <a:pt x="30251" y="49415"/>
                    </a:lnTo>
                    <a:lnTo>
                      <a:pt x="22777" y="47904"/>
                    </a:lnTo>
                    <a:lnTo>
                      <a:pt x="16673" y="43788"/>
                    </a:lnTo>
                    <a:lnTo>
                      <a:pt x="12558" y="37687"/>
                    </a:lnTo>
                    <a:lnTo>
                      <a:pt x="11048" y="30226"/>
                    </a:lnTo>
                    <a:lnTo>
                      <a:pt x="12558" y="22768"/>
                    </a:lnTo>
                    <a:lnTo>
                      <a:pt x="16673" y="16676"/>
                    </a:lnTo>
                    <a:lnTo>
                      <a:pt x="22777" y="12568"/>
                    </a:lnTo>
                    <a:lnTo>
                      <a:pt x="30251" y="11061"/>
                    </a:lnTo>
                    <a:lnTo>
                      <a:pt x="42786" y="11061"/>
                    </a:lnTo>
                    <a:lnTo>
                      <a:pt x="42786" y="0"/>
                    </a:lnTo>
                    <a:close/>
                  </a:path>
                </a:pathLst>
              </a:custGeom>
              <a:solidFill>
                <a:srgbClr val="919396"/>
              </a:solidFill>
            </p:spPr>
            <p:txBody>
              <a:bodyPr wrap="square" lIns="0" tIns="0" rIns="0" bIns="0" rtlCol="0"/>
              <a:lstStyle/>
              <a:p>
                <a:endParaRPr/>
              </a:p>
            </p:txBody>
          </p:sp>
          <p:sp>
            <p:nvSpPr>
              <p:cNvPr id="71" name="bk object 28"/>
              <p:cNvSpPr/>
              <p:nvPr userDrawn="1"/>
            </p:nvSpPr>
            <p:spPr>
              <a:xfrm>
                <a:off x="2285194" y="4410740"/>
                <a:ext cx="43180" cy="60960"/>
              </a:xfrm>
              <a:custGeom>
                <a:avLst/>
                <a:gdLst/>
                <a:ahLst/>
                <a:cxnLst/>
                <a:rect l="l" t="t" r="r" b="b"/>
                <a:pathLst>
                  <a:path w="43180" h="60960">
                    <a:moveTo>
                      <a:pt x="42811" y="0"/>
                    </a:moveTo>
                    <a:lnTo>
                      <a:pt x="30251" y="0"/>
                    </a:lnTo>
                    <a:lnTo>
                      <a:pt x="18489" y="2377"/>
                    </a:lnTo>
                    <a:lnTo>
                      <a:pt x="8872" y="8859"/>
                    </a:lnTo>
                    <a:lnTo>
                      <a:pt x="2381" y="18468"/>
                    </a:lnTo>
                    <a:lnTo>
                      <a:pt x="0" y="30226"/>
                    </a:lnTo>
                    <a:lnTo>
                      <a:pt x="2381" y="41987"/>
                    </a:lnTo>
                    <a:lnTo>
                      <a:pt x="8872" y="51604"/>
                    </a:lnTo>
                    <a:lnTo>
                      <a:pt x="18489" y="58095"/>
                    </a:lnTo>
                    <a:lnTo>
                      <a:pt x="30251" y="60477"/>
                    </a:lnTo>
                    <a:lnTo>
                      <a:pt x="42811" y="60477"/>
                    </a:lnTo>
                    <a:lnTo>
                      <a:pt x="42811" y="49415"/>
                    </a:lnTo>
                    <a:lnTo>
                      <a:pt x="30251" y="49415"/>
                    </a:lnTo>
                    <a:lnTo>
                      <a:pt x="22789" y="47904"/>
                    </a:lnTo>
                    <a:lnTo>
                      <a:pt x="16689" y="43788"/>
                    </a:lnTo>
                    <a:lnTo>
                      <a:pt x="12572" y="37687"/>
                    </a:lnTo>
                    <a:lnTo>
                      <a:pt x="11061" y="30226"/>
                    </a:lnTo>
                    <a:lnTo>
                      <a:pt x="12572" y="22768"/>
                    </a:lnTo>
                    <a:lnTo>
                      <a:pt x="16689" y="16676"/>
                    </a:lnTo>
                    <a:lnTo>
                      <a:pt x="22789" y="12568"/>
                    </a:lnTo>
                    <a:lnTo>
                      <a:pt x="30251" y="11061"/>
                    </a:lnTo>
                    <a:lnTo>
                      <a:pt x="42811" y="11061"/>
                    </a:lnTo>
                    <a:lnTo>
                      <a:pt x="42811" y="0"/>
                    </a:lnTo>
                    <a:close/>
                  </a:path>
                </a:pathLst>
              </a:custGeom>
              <a:solidFill>
                <a:srgbClr val="919396"/>
              </a:solidFill>
            </p:spPr>
            <p:txBody>
              <a:bodyPr wrap="square" lIns="0" tIns="0" rIns="0" bIns="0" rtlCol="0"/>
              <a:lstStyle/>
              <a:p>
                <a:endParaRPr/>
              </a:p>
            </p:txBody>
          </p:sp>
          <p:sp>
            <p:nvSpPr>
              <p:cNvPr id="72" name="bk object 29"/>
              <p:cNvSpPr/>
              <p:nvPr userDrawn="1"/>
            </p:nvSpPr>
            <p:spPr>
              <a:xfrm>
                <a:off x="1894589" y="4410740"/>
                <a:ext cx="43180" cy="60960"/>
              </a:xfrm>
              <a:custGeom>
                <a:avLst/>
                <a:gdLst/>
                <a:ahLst/>
                <a:cxnLst/>
                <a:rect l="l" t="t" r="r" b="b"/>
                <a:pathLst>
                  <a:path w="43180" h="60960">
                    <a:moveTo>
                      <a:pt x="42786" y="0"/>
                    </a:moveTo>
                    <a:lnTo>
                      <a:pt x="30251" y="0"/>
                    </a:lnTo>
                    <a:lnTo>
                      <a:pt x="18489" y="2377"/>
                    </a:lnTo>
                    <a:lnTo>
                      <a:pt x="8872" y="8859"/>
                    </a:lnTo>
                    <a:lnTo>
                      <a:pt x="2381" y="18468"/>
                    </a:lnTo>
                    <a:lnTo>
                      <a:pt x="0" y="30226"/>
                    </a:lnTo>
                    <a:lnTo>
                      <a:pt x="2381" y="41987"/>
                    </a:lnTo>
                    <a:lnTo>
                      <a:pt x="8872" y="51604"/>
                    </a:lnTo>
                    <a:lnTo>
                      <a:pt x="18489" y="58095"/>
                    </a:lnTo>
                    <a:lnTo>
                      <a:pt x="30251" y="60477"/>
                    </a:lnTo>
                    <a:lnTo>
                      <a:pt x="42786" y="60477"/>
                    </a:lnTo>
                    <a:lnTo>
                      <a:pt x="42786" y="49415"/>
                    </a:lnTo>
                    <a:lnTo>
                      <a:pt x="30251" y="49415"/>
                    </a:lnTo>
                    <a:lnTo>
                      <a:pt x="22795" y="47904"/>
                    </a:lnTo>
                    <a:lnTo>
                      <a:pt x="16694" y="43788"/>
                    </a:lnTo>
                    <a:lnTo>
                      <a:pt x="12574" y="37687"/>
                    </a:lnTo>
                    <a:lnTo>
                      <a:pt x="11061" y="30226"/>
                    </a:lnTo>
                    <a:lnTo>
                      <a:pt x="12574" y="22768"/>
                    </a:lnTo>
                    <a:lnTo>
                      <a:pt x="16694" y="16676"/>
                    </a:lnTo>
                    <a:lnTo>
                      <a:pt x="22795" y="12568"/>
                    </a:lnTo>
                    <a:lnTo>
                      <a:pt x="30251" y="11061"/>
                    </a:lnTo>
                    <a:lnTo>
                      <a:pt x="42786" y="11061"/>
                    </a:lnTo>
                    <a:lnTo>
                      <a:pt x="42786" y="0"/>
                    </a:lnTo>
                    <a:close/>
                  </a:path>
                </a:pathLst>
              </a:custGeom>
              <a:solidFill>
                <a:srgbClr val="919396"/>
              </a:solidFill>
            </p:spPr>
            <p:txBody>
              <a:bodyPr wrap="square" lIns="0" tIns="0" rIns="0" bIns="0" rtlCol="0"/>
              <a:lstStyle/>
              <a:p>
                <a:endParaRPr/>
              </a:p>
            </p:txBody>
          </p:sp>
          <p:sp>
            <p:nvSpPr>
              <p:cNvPr id="73" name="bk object 30"/>
              <p:cNvSpPr/>
              <p:nvPr userDrawn="1"/>
            </p:nvSpPr>
            <p:spPr>
              <a:xfrm>
                <a:off x="1503991" y="4410740"/>
                <a:ext cx="43180" cy="60960"/>
              </a:xfrm>
              <a:custGeom>
                <a:avLst/>
                <a:gdLst/>
                <a:ahLst/>
                <a:cxnLst/>
                <a:rect l="l" t="t" r="r" b="b"/>
                <a:pathLst>
                  <a:path w="43180" h="60960">
                    <a:moveTo>
                      <a:pt x="42786" y="0"/>
                    </a:moveTo>
                    <a:lnTo>
                      <a:pt x="30251" y="0"/>
                    </a:lnTo>
                    <a:lnTo>
                      <a:pt x="18489" y="2377"/>
                    </a:lnTo>
                    <a:lnTo>
                      <a:pt x="8872" y="8859"/>
                    </a:lnTo>
                    <a:lnTo>
                      <a:pt x="2381" y="18468"/>
                    </a:lnTo>
                    <a:lnTo>
                      <a:pt x="0" y="30226"/>
                    </a:lnTo>
                    <a:lnTo>
                      <a:pt x="2381" y="41987"/>
                    </a:lnTo>
                    <a:lnTo>
                      <a:pt x="8872" y="51604"/>
                    </a:lnTo>
                    <a:lnTo>
                      <a:pt x="18489" y="58095"/>
                    </a:lnTo>
                    <a:lnTo>
                      <a:pt x="30251" y="60477"/>
                    </a:lnTo>
                    <a:lnTo>
                      <a:pt x="42786" y="60477"/>
                    </a:lnTo>
                    <a:lnTo>
                      <a:pt x="42786" y="49415"/>
                    </a:lnTo>
                    <a:lnTo>
                      <a:pt x="30251" y="49415"/>
                    </a:lnTo>
                    <a:lnTo>
                      <a:pt x="22777" y="47904"/>
                    </a:lnTo>
                    <a:lnTo>
                      <a:pt x="16673" y="43788"/>
                    </a:lnTo>
                    <a:lnTo>
                      <a:pt x="12558" y="37687"/>
                    </a:lnTo>
                    <a:lnTo>
                      <a:pt x="11048" y="30226"/>
                    </a:lnTo>
                    <a:lnTo>
                      <a:pt x="12558" y="22768"/>
                    </a:lnTo>
                    <a:lnTo>
                      <a:pt x="16673" y="16676"/>
                    </a:lnTo>
                    <a:lnTo>
                      <a:pt x="22777" y="12568"/>
                    </a:lnTo>
                    <a:lnTo>
                      <a:pt x="30251" y="11061"/>
                    </a:lnTo>
                    <a:lnTo>
                      <a:pt x="42786" y="11061"/>
                    </a:lnTo>
                    <a:lnTo>
                      <a:pt x="42786" y="0"/>
                    </a:lnTo>
                    <a:close/>
                  </a:path>
                </a:pathLst>
              </a:custGeom>
              <a:solidFill>
                <a:srgbClr val="919396"/>
              </a:solidFill>
            </p:spPr>
            <p:txBody>
              <a:bodyPr wrap="square" lIns="0" tIns="0" rIns="0" bIns="0" rtlCol="0"/>
              <a:lstStyle/>
              <a:p>
                <a:endParaRPr/>
              </a:p>
            </p:txBody>
          </p:sp>
          <p:sp>
            <p:nvSpPr>
              <p:cNvPr id="74" name="bk object 31"/>
              <p:cNvSpPr/>
              <p:nvPr userDrawn="1"/>
            </p:nvSpPr>
            <p:spPr>
              <a:xfrm>
                <a:off x="1113384" y="4410740"/>
                <a:ext cx="43180" cy="60960"/>
              </a:xfrm>
              <a:custGeom>
                <a:avLst/>
                <a:gdLst/>
                <a:ahLst/>
                <a:cxnLst/>
                <a:rect l="l" t="t" r="r" b="b"/>
                <a:pathLst>
                  <a:path w="43180" h="60960">
                    <a:moveTo>
                      <a:pt x="42786" y="0"/>
                    </a:moveTo>
                    <a:lnTo>
                      <a:pt x="30251" y="0"/>
                    </a:lnTo>
                    <a:lnTo>
                      <a:pt x="18489" y="2377"/>
                    </a:lnTo>
                    <a:lnTo>
                      <a:pt x="8872" y="8859"/>
                    </a:lnTo>
                    <a:lnTo>
                      <a:pt x="2381" y="18468"/>
                    </a:lnTo>
                    <a:lnTo>
                      <a:pt x="0" y="30226"/>
                    </a:lnTo>
                    <a:lnTo>
                      <a:pt x="2381" y="41987"/>
                    </a:lnTo>
                    <a:lnTo>
                      <a:pt x="8872" y="51604"/>
                    </a:lnTo>
                    <a:lnTo>
                      <a:pt x="18489" y="58095"/>
                    </a:lnTo>
                    <a:lnTo>
                      <a:pt x="30251" y="60477"/>
                    </a:lnTo>
                    <a:lnTo>
                      <a:pt x="42786" y="60477"/>
                    </a:lnTo>
                    <a:lnTo>
                      <a:pt x="42786" y="49415"/>
                    </a:lnTo>
                    <a:lnTo>
                      <a:pt x="30251" y="49415"/>
                    </a:lnTo>
                    <a:lnTo>
                      <a:pt x="22779" y="47904"/>
                    </a:lnTo>
                    <a:lnTo>
                      <a:pt x="16679" y="43788"/>
                    </a:lnTo>
                    <a:lnTo>
                      <a:pt x="12568" y="37687"/>
                    </a:lnTo>
                    <a:lnTo>
                      <a:pt x="11061" y="30226"/>
                    </a:lnTo>
                    <a:lnTo>
                      <a:pt x="12568" y="22768"/>
                    </a:lnTo>
                    <a:lnTo>
                      <a:pt x="16679" y="16676"/>
                    </a:lnTo>
                    <a:lnTo>
                      <a:pt x="22779" y="12568"/>
                    </a:lnTo>
                    <a:lnTo>
                      <a:pt x="30251" y="11061"/>
                    </a:lnTo>
                    <a:lnTo>
                      <a:pt x="42786" y="11061"/>
                    </a:lnTo>
                    <a:lnTo>
                      <a:pt x="42786" y="0"/>
                    </a:lnTo>
                    <a:close/>
                  </a:path>
                </a:pathLst>
              </a:custGeom>
              <a:solidFill>
                <a:srgbClr val="919396"/>
              </a:solidFill>
            </p:spPr>
            <p:txBody>
              <a:bodyPr wrap="square" lIns="0" tIns="0" rIns="0" bIns="0" rtlCol="0"/>
              <a:lstStyle/>
              <a:p>
                <a:endParaRPr/>
              </a:p>
            </p:txBody>
          </p:sp>
          <p:sp>
            <p:nvSpPr>
              <p:cNvPr id="75" name="bk object 32"/>
              <p:cNvSpPr/>
              <p:nvPr userDrawn="1"/>
            </p:nvSpPr>
            <p:spPr>
              <a:xfrm>
                <a:off x="722748" y="4410740"/>
                <a:ext cx="43180" cy="60960"/>
              </a:xfrm>
              <a:custGeom>
                <a:avLst/>
                <a:gdLst/>
                <a:ahLst/>
                <a:cxnLst/>
                <a:rect l="l" t="t" r="r" b="b"/>
                <a:pathLst>
                  <a:path w="43179" h="60960">
                    <a:moveTo>
                      <a:pt x="42824" y="0"/>
                    </a:moveTo>
                    <a:lnTo>
                      <a:pt x="30264" y="0"/>
                    </a:lnTo>
                    <a:lnTo>
                      <a:pt x="18505" y="2377"/>
                    </a:lnTo>
                    <a:lnTo>
                      <a:pt x="8883" y="8859"/>
                    </a:lnTo>
                    <a:lnTo>
                      <a:pt x="2385" y="18468"/>
                    </a:lnTo>
                    <a:lnTo>
                      <a:pt x="0" y="30226"/>
                    </a:lnTo>
                    <a:lnTo>
                      <a:pt x="2385" y="41987"/>
                    </a:lnTo>
                    <a:lnTo>
                      <a:pt x="8883" y="51604"/>
                    </a:lnTo>
                    <a:lnTo>
                      <a:pt x="18505" y="58095"/>
                    </a:lnTo>
                    <a:lnTo>
                      <a:pt x="30264" y="60477"/>
                    </a:lnTo>
                    <a:lnTo>
                      <a:pt x="42824" y="60477"/>
                    </a:lnTo>
                    <a:lnTo>
                      <a:pt x="42824" y="49415"/>
                    </a:lnTo>
                    <a:lnTo>
                      <a:pt x="30264" y="49415"/>
                    </a:lnTo>
                    <a:lnTo>
                      <a:pt x="22802" y="47904"/>
                    </a:lnTo>
                    <a:lnTo>
                      <a:pt x="16702" y="43788"/>
                    </a:lnTo>
                    <a:lnTo>
                      <a:pt x="12585" y="37687"/>
                    </a:lnTo>
                    <a:lnTo>
                      <a:pt x="11074" y="30226"/>
                    </a:lnTo>
                    <a:lnTo>
                      <a:pt x="12585" y="22768"/>
                    </a:lnTo>
                    <a:lnTo>
                      <a:pt x="16702" y="16676"/>
                    </a:lnTo>
                    <a:lnTo>
                      <a:pt x="22802" y="12568"/>
                    </a:lnTo>
                    <a:lnTo>
                      <a:pt x="30264" y="11061"/>
                    </a:lnTo>
                    <a:lnTo>
                      <a:pt x="42824" y="11061"/>
                    </a:lnTo>
                    <a:lnTo>
                      <a:pt x="42824" y="0"/>
                    </a:lnTo>
                    <a:close/>
                  </a:path>
                </a:pathLst>
              </a:custGeom>
              <a:solidFill>
                <a:srgbClr val="919396"/>
              </a:solidFill>
            </p:spPr>
            <p:txBody>
              <a:bodyPr wrap="square" lIns="0" tIns="0" rIns="0" bIns="0" rtlCol="0"/>
              <a:lstStyle/>
              <a:p>
                <a:endParaRPr/>
              </a:p>
            </p:txBody>
          </p:sp>
          <p:sp>
            <p:nvSpPr>
              <p:cNvPr id="76" name="bk object 33"/>
              <p:cNvSpPr/>
              <p:nvPr userDrawn="1"/>
            </p:nvSpPr>
            <p:spPr>
              <a:xfrm>
                <a:off x="722749" y="4799529"/>
                <a:ext cx="43180" cy="60960"/>
              </a:xfrm>
              <a:custGeom>
                <a:avLst/>
                <a:gdLst/>
                <a:ahLst/>
                <a:cxnLst/>
                <a:rect l="l" t="t" r="r" b="b"/>
                <a:pathLst>
                  <a:path w="43179" h="60960">
                    <a:moveTo>
                      <a:pt x="12560" y="0"/>
                    </a:moveTo>
                    <a:lnTo>
                      <a:pt x="0" y="0"/>
                    </a:lnTo>
                    <a:lnTo>
                      <a:pt x="0" y="11061"/>
                    </a:lnTo>
                    <a:lnTo>
                      <a:pt x="12560" y="11061"/>
                    </a:lnTo>
                    <a:lnTo>
                      <a:pt x="20019" y="12572"/>
                    </a:lnTo>
                    <a:lnTo>
                      <a:pt x="26115" y="16689"/>
                    </a:lnTo>
                    <a:lnTo>
                      <a:pt x="30228" y="22789"/>
                    </a:lnTo>
                    <a:lnTo>
                      <a:pt x="31737" y="30251"/>
                    </a:lnTo>
                    <a:lnTo>
                      <a:pt x="30228" y="37708"/>
                    </a:lnTo>
                    <a:lnTo>
                      <a:pt x="26115" y="43800"/>
                    </a:lnTo>
                    <a:lnTo>
                      <a:pt x="20019" y="47908"/>
                    </a:lnTo>
                    <a:lnTo>
                      <a:pt x="12560" y="49415"/>
                    </a:lnTo>
                    <a:lnTo>
                      <a:pt x="0" y="49415"/>
                    </a:lnTo>
                    <a:lnTo>
                      <a:pt x="0" y="60477"/>
                    </a:lnTo>
                    <a:lnTo>
                      <a:pt x="12560" y="60477"/>
                    </a:lnTo>
                    <a:lnTo>
                      <a:pt x="24323" y="58099"/>
                    </a:lnTo>
                    <a:lnTo>
                      <a:pt x="33945" y="51617"/>
                    </a:lnTo>
                    <a:lnTo>
                      <a:pt x="40440" y="42009"/>
                    </a:lnTo>
                    <a:lnTo>
                      <a:pt x="42824" y="30251"/>
                    </a:lnTo>
                    <a:lnTo>
                      <a:pt x="40440" y="18489"/>
                    </a:lnTo>
                    <a:lnTo>
                      <a:pt x="33945" y="8872"/>
                    </a:lnTo>
                    <a:lnTo>
                      <a:pt x="24323" y="2381"/>
                    </a:lnTo>
                    <a:lnTo>
                      <a:pt x="12560" y="0"/>
                    </a:lnTo>
                    <a:close/>
                  </a:path>
                </a:pathLst>
              </a:custGeom>
              <a:solidFill>
                <a:srgbClr val="919396"/>
              </a:solidFill>
            </p:spPr>
            <p:txBody>
              <a:bodyPr wrap="square" lIns="0" tIns="0" rIns="0" bIns="0" rtlCol="0"/>
              <a:lstStyle/>
              <a:p>
                <a:endParaRPr/>
              </a:p>
            </p:txBody>
          </p:sp>
          <p:sp>
            <p:nvSpPr>
              <p:cNvPr id="77" name="bk object 34"/>
              <p:cNvSpPr/>
              <p:nvPr userDrawn="1"/>
            </p:nvSpPr>
            <p:spPr>
              <a:xfrm>
                <a:off x="1113387" y="4799529"/>
                <a:ext cx="43180" cy="60960"/>
              </a:xfrm>
              <a:custGeom>
                <a:avLst/>
                <a:gdLst/>
                <a:ahLst/>
                <a:cxnLst/>
                <a:rect l="l" t="t" r="r" b="b"/>
                <a:pathLst>
                  <a:path w="43180" h="60960">
                    <a:moveTo>
                      <a:pt x="12534" y="0"/>
                    </a:moveTo>
                    <a:lnTo>
                      <a:pt x="0" y="0"/>
                    </a:lnTo>
                    <a:lnTo>
                      <a:pt x="0" y="11061"/>
                    </a:lnTo>
                    <a:lnTo>
                      <a:pt x="12534" y="11061"/>
                    </a:lnTo>
                    <a:lnTo>
                      <a:pt x="19996" y="12572"/>
                    </a:lnTo>
                    <a:lnTo>
                      <a:pt x="26096" y="16689"/>
                    </a:lnTo>
                    <a:lnTo>
                      <a:pt x="30213" y="22789"/>
                    </a:lnTo>
                    <a:lnTo>
                      <a:pt x="31724" y="30251"/>
                    </a:lnTo>
                    <a:lnTo>
                      <a:pt x="30213" y="37708"/>
                    </a:lnTo>
                    <a:lnTo>
                      <a:pt x="26096" y="43800"/>
                    </a:lnTo>
                    <a:lnTo>
                      <a:pt x="19996" y="47908"/>
                    </a:lnTo>
                    <a:lnTo>
                      <a:pt x="12534" y="49415"/>
                    </a:lnTo>
                    <a:lnTo>
                      <a:pt x="0" y="49415"/>
                    </a:lnTo>
                    <a:lnTo>
                      <a:pt x="0" y="60477"/>
                    </a:lnTo>
                    <a:lnTo>
                      <a:pt x="12534" y="60477"/>
                    </a:lnTo>
                    <a:lnTo>
                      <a:pt x="24296" y="58099"/>
                    </a:lnTo>
                    <a:lnTo>
                      <a:pt x="33913" y="51617"/>
                    </a:lnTo>
                    <a:lnTo>
                      <a:pt x="40404" y="42009"/>
                    </a:lnTo>
                    <a:lnTo>
                      <a:pt x="42786" y="30251"/>
                    </a:lnTo>
                    <a:lnTo>
                      <a:pt x="40404" y="18489"/>
                    </a:lnTo>
                    <a:lnTo>
                      <a:pt x="33913" y="8872"/>
                    </a:lnTo>
                    <a:lnTo>
                      <a:pt x="24296" y="2381"/>
                    </a:lnTo>
                    <a:lnTo>
                      <a:pt x="12534" y="0"/>
                    </a:lnTo>
                    <a:close/>
                  </a:path>
                </a:pathLst>
              </a:custGeom>
              <a:solidFill>
                <a:srgbClr val="000000"/>
              </a:solidFill>
            </p:spPr>
            <p:txBody>
              <a:bodyPr wrap="square" lIns="0" tIns="0" rIns="0" bIns="0" rtlCol="0"/>
              <a:lstStyle/>
              <a:p>
                <a:endParaRPr/>
              </a:p>
            </p:txBody>
          </p:sp>
          <p:sp>
            <p:nvSpPr>
              <p:cNvPr id="78" name="bk object 35"/>
              <p:cNvSpPr/>
              <p:nvPr userDrawn="1"/>
            </p:nvSpPr>
            <p:spPr>
              <a:xfrm>
                <a:off x="1503992" y="4799529"/>
                <a:ext cx="43180" cy="60960"/>
              </a:xfrm>
              <a:custGeom>
                <a:avLst/>
                <a:gdLst/>
                <a:ahLst/>
                <a:cxnLst/>
                <a:rect l="l" t="t" r="r" b="b"/>
                <a:pathLst>
                  <a:path w="43180" h="60960">
                    <a:moveTo>
                      <a:pt x="12534" y="0"/>
                    </a:moveTo>
                    <a:lnTo>
                      <a:pt x="0" y="0"/>
                    </a:lnTo>
                    <a:lnTo>
                      <a:pt x="0" y="11061"/>
                    </a:lnTo>
                    <a:lnTo>
                      <a:pt x="12534" y="11061"/>
                    </a:lnTo>
                    <a:lnTo>
                      <a:pt x="20001" y="12572"/>
                    </a:lnTo>
                    <a:lnTo>
                      <a:pt x="26101" y="16689"/>
                    </a:lnTo>
                    <a:lnTo>
                      <a:pt x="30215" y="22789"/>
                    </a:lnTo>
                    <a:lnTo>
                      <a:pt x="31724" y="30251"/>
                    </a:lnTo>
                    <a:lnTo>
                      <a:pt x="30215" y="37708"/>
                    </a:lnTo>
                    <a:lnTo>
                      <a:pt x="26101" y="43800"/>
                    </a:lnTo>
                    <a:lnTo>
                      <a:pt x="20001" y="47908"/>
                    </a:lnTo>
                    <a:lnTo>
                      <a:pt x="12534" y="49415"/>
                    </a:lnTo>
                    <a:lnTo>
                      <a:pt x="0" y="49415"/>
                    </a:lnTo>
                    <a:lnTo>
                      <a:pt x="0" y="60477"/>
                    </a:lnTo>
                    <a:lnTo>
                      <a:pt x="12534" y="60477"/>
                    </a:lnTo>
                    <a:lnTo>
                      <a:pt x="24307" y="58099"/>
                    </a:lnTo>
                    <a:lnTo>
                      <a:pt x="33923" y="51617"/>
                    </a:lnTo>
                    <a:lnTo>
                      <a:pt x="40408" y="42009"/>
                    </a:lnTo>
                    <a:lnTo>
                      <a:pt x="42786" y="30251"/>
                    </a:lnTo>
                    <a:lnTo>
                      <a:pt x="40408" y="18489"/>
                    </a:lnTo>
                    <a:lnTo>
                      <a:pt x="33923" y="8872"/>
                    </a:lnTo>
                    <a:lnTo>
                      <a:pt x="24307" y="2381"/>
                    </a:lnTo>
                    <a:lnTo>
                      <a:pt x="12534" y="0"/>
                    </a:lnTo>
                    <a:close/>
                  </a:path>
                </a:pathLst>
              </a:custGeom>
              <a:solidFill>
                <a:srgbClr val="000000"/>
              </a:solidFill>
            </p:spPr>
            <p:txBody>
              <a:bodyPr wrap="square" lIns="0" tIns="0" rIns="0" bIns="0" rtlCol="0"/>
              <a:lstStyle/>
              <a:p>
                <a:endParaRPr/>
              </a:p>
            </p:txBody>
          </p:sp>
          <p:sp>
            <p:nvSpPr>
              <p:cNvPr id="79" name="bk object 36"/>
              <p:cNvSpPr/>
              <p:nvPr userDrawn="1"/>
            </p:nvSpPr>
            <p:spPr>
              <a:xfrm>
                <a:off x="1894592" y="4799529"/>
                <a:ext cx="43180" cy="60960"/>
              </a:xfrm>
              <a:custGeom>
                <a:avLst/>
                <a:gdLst/>
                <a:ahLst/>
                <a:cxnLst/>
                <a:rect l="l" t="t" r="r" b="b"/>
                <a:pathLst>
                  <a:path w="43180" h="60960">
                    <a:moveTo>
                      <a:pt x="12534" y="0"/>
                    </a:moveTo>
                    <a:lnTo>
                      <a:pt x="0" y="0"/>
                    </a:lnTo>
                    <a:lnTo>
                      <a:pt x="0" y="11061"/>
                    </a:lnTo>
                    <a:lnTo>
                      <a:pt x="12534" y="11061"/>
                    </a:lnTo>
                    <a:lnTo>
                      <a:pt x="20007" y="12572"/>
                    </a:lnTo>
                    <a:lnTo>
                      <a:pt x="26106" y="16689"/>
                    </a:lnTo>
                    <a:lnTo>
                      <a:pt x="30217" y="22789"/>
                    </a:lnTo>
                    <a:lnTo>
                      <a:pt x="31724" y="30251"/>
                    </a:lnTo>
                    <a:lnTo>
                      <a:pt x="30217" y="37708"/>
                    </a:lnTo>
                    <a:lnTo>
                      <a:pt x="26106" y="43800"/>
                    </a:lnTo>
                    <a:lnTo>
                      <a:pt x="20007" y="47908"/>
                    </a:lnTo>
                    <a:lnTo>
                      <a:pt x="12534" y="49415"/>
                    </a:lnTo>
                    <a:lnTo>
                      <a:pt x="0" y="49415"/>
                    </a:lnTo>
                    <a:lnTo>
                      <a:pt x="0" y="60477"/>
                    </a:lnTo>
                    <a:lnTo>
                      <a:pt x="12534" y="60477"/>
                    </a:lnTo>
                    <a:lnTo>
                      <a:pt x="24307" y="58099"/>
                    </a:lnTo>
                    <a:lnTo>
                      <a:pt x="33923" y="51617"/>
                    </a:lnTo>
                    <a:lnTo>
                      <a:pt x="40408" y="42009"/>
                    </a:lnTo>
                    <a:lnTo>
                      <a:pt x="42786" y="30251"/>
                    </a:lnTo>
                    <a:lnTo>
                      <a:pt x="40408" y="18489"/>
                    </a:lnTo>
                    <a:lnTo>
                      <a:pt x="33923" y="8872"/>
                    </a:lnTo>
                    <a:lnTo>
                      <a:pt x="24307" y="2381"/>
                    </a:lnTo>
                    <a:lnTo>
                      <a:pt x="12534" y="0"/>
                    </a:lnTo>
                    <a:close/>
                  </a:path>
                </a:pathLst>
              </a:custGeom>
              <a:solidFill>
                <a:srgbClr val="000000"/>
              </a:solidFill>
            </p:spPr>
            <p:txBody>
              <a:bodyPr wrap="square" lIns="0" tIns="0" rIns="0" bIns="0" rtlCol="0"/>
              <a:lstStyle/>
              <a:p>
                <a:endParaRPr/>
              </a:p>
            </p:txBody>
          </p:sp>
          <p:sp>
            <p:nvSpPr>
              <p:cNvPr id="80" name="bk object 37"/>
              <p:cNvSpPr/>
              <p:nvPr userDrawn="1"/>
            </p:nvSpPr>
            <p:spPr>
              <a:xfrm>
                <a:off x="2285197" y="4799529"/>
                <a:ext cx="43180" cy="60960"/>
              </a:xfrm>
              <a:custGeom>
                <a:avLst/>
                <a:gdLst/>
                <a:ahLst/>
                <a:cxnLst/>
                <a:rect l="l" t="t" r="r" b="b"/>
                <a:pathLst>
                  <a:path w="43180" h="60960">
                    <a:moveTo>
                      <a:pt x="12534" y="0"/>
                    </a:moveTo>
                    <a:lnTo>
                      <a:pt x="0" y="0"/>
                    </a:lnTo>
                    <a:lnTo>
                      <a:pt x="0" y="11061"/>
                    </a:lnTo>
                    <a:lnTo>
                      <a:pt x="12534" y="11061"/>
                    </a:lnTo>
                    <a:lnTo>
                      <a:pt x="20001" y="12572"/>
                    </a:lnTo>
                    <a:lnTo>
                      <a:pt x="26101" y="16689"/>
                    </a:lnTo>
                    <a:lnTo>
                      <a:pt x="30215" y="22789"/>
                    </a:lnTo>
                    <a:lnTo>
                      <a:pt x="31724" y="30251"/>
                    </a:lnTo>
                    <a:lnTo>
                      <a:pt x="30215" y="37708"/>
                    </a:lnTo>
                    <a:lnTo>
                      <a:pt x="26101" y="43800"/>
                    </a:lnTo>
                    <a:lnTo>
                      <a:pt x="20001" y="47908"/>
                    </a:lnTo>
                    <a:lnTo>
                      <a:pt x="12534" y="49415"/>
                    </a:lnTo>
                    <a:lnTo>
                      <a:pt x="0" y="49415"/>
                    </a:lnTo>
                    <a:lnTo>
                      <a:pt x="0" y="60477"/>
                    </a:lnTo>
                    <a:lnTo>
                      <a:pt x="12534" y="60477"/>
                    </a:lnTo>
                    <a:lnTo>
                      <a:pt x="24311" y="58099"/>
                    </a:lnTo>
                    <a:lnTo>
                      <a:pt x="33935" y="51617"/>
                    </a:lnTo>
                    <a:lnTo>
                      <a:pt x="40429" y="42009"/>
                    </a:lnTo>
                    <a:lnTo>
                      <a:pt x="42811" y="30251"/>
                    </a:lnTo>
                    <a:lnTo>
                      <a:pt x="40429" y="18489"/>
                    </a:lnTo>
                    <a:lnTo>
                      <a:pt x="33935" y="8872"/>
                    </a:lnTo>
                    <a:lnTo>
                      <a:pt x="24311" y="2381"/>
                    </a:lnTo>
                    <a:lnTo>
                      <a:pt x="12534" y="0"/>
                    </a:lnTo>
                    <a:close/>
                  </a:path>
                </a:pathLst>
              </a:custGeom>
              <a:solidFill>
                <a:srgbClr val="919396"/>
              </a:solidFill>
            </p:spPr>
            <p:txBody>
              <a:bodyPr wrap="square" lIns="0" tIns="0" rIns="0" bIns="0" rtlCol="0"/>
              <a:lstStyle/>
              <a:p>
                <a:endParaRPr/>
              </a:p>
            </p:txBody>
          </p:sp>
          <p:sp>
            <p:nvSpPr>
              <p:cNvPr id="81" name="bk object 38"/>
              <p:cNvSpPr/>
              <p:nvPr userDrawn="1"/>
            </p:nvSpPr>
            <p:spPr>
              <a:xfrm>
                <a:off x="2675802" y="4799529"/>
                <a:ext cx="43180" cy="60960"/>
              </a:xfrm>
              <a:custGeom>
                <a:avLst/>
                <a:gdLst/>
                <a:ahLst/>
                <a:cxnLst/>
                <a:rect l="l" t="t" r="r" b="b"/>
                <a:pathLst>
                  <a:path w="43180" h="60960">
                    <a:moveTo>
                      <a:pt x="12560" y="0"/>
                    </a:moveTo>
                    <a:lnTo>
                      <a:pt x="0" y="0"/>
                    </a:lnTo>
                    <a:lnTo>
                      <a:pt x="0" y="11061"/>
                    </a:lnTo>
                    <a:lnTo>
                      <a:pt x="12560" y="11061"/>
                    </a:lnTo>
                    <a:lnTo>
                      <a:pt x="20021" y="12572"/>
                    </a:lnTo>
                    <a:lnTo>
                      <a:pt x="26122" y="16689"/>
                    </a:lnTo>
                    <a:lnTo>
                      <a:pt x="30239" y="22789"/>
                    </a:lnTo>
                    <a:lnTo>
                      <a:pt x="31750" y="30251"/>
                    </a:lnTo>
                    <a:lnTo>
                      <a:pt x="30239" y="37708"/>
                    </a:lnTo>
                    <a:lnTo>
                      <a:pt x="26122" y="43800"/>
                    </a:lnTo>
                    <a:lnTo>
                      <a:pt x="20021" y="47908"/>
                    </a:lnTo>
                    <a:lnTo>
                      <a:pt x="12560" y="49415"/>
                    </a:lnTo>
                    <a:lnTo>
                      <a:pt x="0" y="49415"/>
                    </a:lnTo>
                    <a:lnTo>
                      <a:pt x="0" y="60477"/>
                    </a:lnTo>
                    <a:lnTo>
                      <a:pt x="12560" y="60477"/>
                    </a:lnTo>
                    <a:lnTo>
                      <a:pt x="24321" y="58099"/>
                    </a:lnTo>
                    <a:lnTo>
                      <a:pt x="33939" y="51617"/>
                    </a:lnTo>
                    <a:lnTo>
                      <a:pt x="40429" y="42009"/>
                    </a:lnTo>
                    <a:lnTo>
                      <a:pt x="42811" y="30251"/>
                    </a:lnTo>
                    <a:lnTo>
                      <a:pt x="40429" y="18489"/>
                    </a:lnTo>
                    <a:lnTo>
                      <a:pt x="33939" y="8872"/>
                    </a:lnTo>
                    <a:lnTo>
                      <a:pt x="24321" y="2381"/>
                    </a:lnTo>
                    <a:lnTo>
                      <a:pt x="12560" y="0"/>
                    </a:lnTo>
                    <a:close/>
                  </a:path>
                </a:pathLst>
              </a:custGeom>
              <a:solidFill>
                <a:srgbClr val="919396"/>
              </a:solidFill>
            </p:spPr>
            <p:txBody>
              <a:bodyPr wrap="square" lIns="0" tIns="0" rIns="0" bIns="0" rtlCol="0"/>
              <a:lstStyle/>
              <a:p>
                <a:endParaRPr/>
              </a:p>
            </p:txBody>
          </p:sp>
          <p:sp>
            <p:nvSpPr>
              <p:cNvPr id="82" name="bk object 39"/>
              <p:cNvSpPr/>
              <p:nvPr userDrawn="1"/>
            </p:nvSpPr>
            <p:spPr>
              <a:xfrm>
                <a:off x="3066427" y="4799529"/>
                <a:ext cx="43180" cy="60960"/>
              </a:xfrm>
              <a:custGeom>
                <a:avLst/>
                <a:gdLst/>
                <a:ahLst/>
                <a:cxnLst/>
                <a:rect l="l" t="t" r="r" b="b"/>
                <a:pathLst>
                  <a:path w="43180" h="60960">
                    <a:moveTo>
                      <a:pt x="12534" y="0"/>
                    </a:moveTo>
                    <a:lnTo>
                      <a:pt x="0" y="0"/>
                    </a:lnTo>
                    <a:lnTo>
                      <a:pt x="0" y="11061"/>
                    </a:lnTo>
                    <a:lnTo>
                      <a:pt x="12534" y="11061"/>
                    </a:lnTo>
                    <a:lnTo>
                      <a:pt x="19996" y="12572"/>
                    </a:lnTo>
                    <a:lnTo>
                      <a:pt x="26096" y="16689"/>
                    </a:lnTo>
                    <a:lnTo>
                      <a:pt x="30213" y="22789"/>
                    </a:lnTo>
                    <a:lnTo>
                      <a:pt x="31724" y="30251"/>
                    </a:lnTo>
                    <a:lnTo>
                      <a:pt x="30213" y="37708"/>
                    </a:lnTo>
                    <a:lnTo>
                      <a:pt x="26096" y="43800"/>
                    </a:lnTo>
                    <a:lnTo>
                      <a:pt x="19996" y="47908"/>
                    </a:lnTo>
                    <a:lnTo>
                      <a:pt x="12534" y="49415"/>
                    </a:lnTo>
                    <a:lnTo>
                      <a:pt x="0" y="49415"/>
                    </a:lnTo>
                    <a:lnTo>
                      <a:pt x="0" y="60477"/>
                    </a:lnTo>
                    <a:lnTo>
                      <a:pt x="12534" y="60477"/>
                    </a:lnTo>
                    <a:lnTo>
                      <a:pt x="24296" y="58099"/>
                    </a:lnTo>
                    <a:lnTo>
                      <a:pt x="33913" y="51617"/>
                    </a:lnTo>
                    <a:lnTo>
                      <a:pt x="40404" y="42009"/>
                    </a:lnTo>
                    <a:lnTo>
                      <a:pt x="42786" y="30251"/>
                    </a:lnTo>
                    <a:lnTo>
                      <a:pt x="40404" y="18489"/>
                    </a:lnTo>
                    <a:lnTo>
                      <a:pt x="33913" y="8872"/>
                    </a:lnTo>
                    <a:lnTo>
                      <a:pt x="24296" y="2381"/>
                    </a:lnTo>
                    <a:lnTo>
                      <a:pt x="12534" y="0"/>
                    </a:lnTo>
                    <a:close/>
                  </a:path>
                </a:pathLst>
              </a:custGeom>
              <a:solidFill>
                <a:srgbClr val="919396"/>
              </a:solidFill>
            </p:spPr>
            <p:txBody>
              <a:bodyPr wrap="square" lIns="0" tIns="0" rIns="0" bIns="0" rtlCol="0"/>
              <a:lstStyle/>
              <a:p>
                <a:endParaRPr/>
              </a:p>
            </p:txBody>
          </p:sp>
          <p:sp>
            <p:nvSpPr>
              <p:cNvPr id="83" name="bk object 40"/>
              <p:cNvSpPr/>
              <p:nvPr userDrawn="1"/>
            </p:nvSpPr>
            <p:spPr>
              <a:xfrm>
                <a:off x="3457032" y="4799529"/>
                <a:ext cx="43180" cy="60960"/>
              </a:xfrm>
              <a:custGeom>
                <a:avLst/>
                <a:gdLst/>
                <a:ahLst/>
                <a:cxnLst/>
                <a:rect l="l" t="t" r="r" b="b"/>
                <a:pathLst>
                  <a:path w="43179" h="60960">
                    <a:moveTo>
                      <a:pt x="12534" y="0"/>
                    </a:moveTo>
                    <a:lnTo>
                      <a:pt x="0" y="0"/>
                    </a:lnTo>
                    <a:lnTo>
                      <a:pt x="0" y="11061"/>
                    </a:lnTo>
                    <a:lnTo>
                      <a:pt x="12534" y="11061"/>
                    </a:lnTo>
                    <a:lnTo>
                      <a:pt x="20007" y="12572"/>
                    </a:lnTo>
                    <a:lnTo>
                      <a:pt x="26106" y="16689"/>
                    </a:lnTo>
                    <a:lnTo>
                      <a:pt x="30217" y="22789"/>
                    </a:lnTo>
                    <a:lnTo>
                      <a:pt x="31724" y="30251"/>
                    </a:lnTo>
                    <a:lnTo>
                      <a:pt x="30217" y="37708"/>
                    </a:lnTo>
                    <a:lnTo>
                      <a:pt x="26106" y="43800"/>
                    </a:lnTo>
                    <a:lnTo>
                      <a:pt x="20007" y="47908"/>
                    </a:lnTo>
                    <a:lnTo>
                      <a:pt x="12534" y="49415"/>
                    </a:lnTo>
                    <a:lnTo>
                      <a:pt x="0" y="49415"/>
                    </a:lnTo>
                    <a:lnTo>
                      <a:pt x="0" y="60477"/>
                    </a:lnTo>
                    <a:lnTo>
                      <a:pt x="12534" y="60477"/>
                    </a:lnTo>
                    <a:lnTo>
                      <a:pt x="24307" y="58099"/>
                    </a:lnTo>
                    <a:lnTo>
                      <a:pt x="33923" y="51617"/>
                    </a:lnTo>
                    <a:lnTo>
                      <a:pt x="40408" y="42009"/>
                    </a:lnTo>
                    <a:lnTo>
                      <a:pt x="42786" y="30251"/>
                    </a:lnTo>
                    <a:lnTo>
                      <a:pt x="40408" y="18489"/>
                    </a:lnTo>
                    <a:lnTo>
                      <a:pt x="33923" y="8872"/>
                    </a:lnTo>
                    <a:lnTo>
                      <a:pt x="24307" y="2381"/>
                    </a:lnTo>
                    <a:lnTo>
                      <a:pt x="12534" y="0"/>
                    </a:lnTo>
                    <a:close/>
                  </a:path>
                </a:pathLst>
              </a:custGeom>
              <a:solidFill>
                <a:srgbClr val="919396"/>
              </a:solidFill>
            </p:spPr>
            <p:txBody>
              <a:bodyPr wrap="square" lIns="0" tIns="0" rIns="0" bIns="0" rtlCol="0"/>
              <a:lstStyle/>
              <a:p>
                <a:endParaRPr/>
              </a:p>
            </p:txBody>
          </p:sp>
          <p:sp>
            <p:nvSpPr>
              <p:cNvPr id="84" name="bk object 41"/>
              <p:cNvSpPr/>
              <p:nvPr userDrawn="1"/>
            </p:nvSpPr>
            <p:spPr>
              <a:xfrm>
                <a:off x="3847639" y="4799529"/>
                <a:ext cx="43180" cy="60960"/>
              </a:xfrm>
              <a:custGeom>
                <a:avLst/>
                <a:gdLst/>
                <a:ahLst/>
                <a:cxnLst/>
                <a:rect l="l" t="t" r="r" b="b"/>
                <a:pathLst>
                  <a:path w="43179" h="60960">
                    <a:moveTo>
                      <a:pt x="12534" y="0"/>
                    </a:moveTo>
                    <a:lnTo>
                      <a:pt x="0" y="0"/>
                    </a:lnTo>
                    <a:lnTo>
                      <a:pt x="0" y="11061"/>
                    </a:lnTo>
                    <a:lnTo>
                      <a:pt x="12534" y="11061"/>
                    </a:lnTo>
                    <a:lnTo>
                      <a:pt x="20001" y="12572"/>
                    </a:lnTo>
                    <a:lnTo>
                      <a:pt x="26101" y="16689"/>
                    </a:lnTo>
                    <a:lnTo>
                      <a:pt x="30215" y="22789"/>
                    </a:lnTo>
                    <a:lnTo>
                      <a:pt x="31724" y="30251"/>
                    </a:lnTo>
                    <a:lnTo>
                      <a:pt x="30215" y="37708"/>
                    </a:lnTo>
                    <a:lnTo>
                      <a:pt x="26101" y="43800"/>
                    </a:lnTo>
                    <a:lnTo>
                      <a:pt x="20001" y="47908"/>
                    </a:lnTo>
                    <a:lnTo>
                      <a:pt x="12534" y="49415"/>
                    </a:lnTo>
                    <a:lnTo>
                      <a:pt x="0" y="49415"/>
                    </a:lnTo>
                    <a:lnTo>
                      <a:pt x="0" y="60477"/>
                    </a:lnTo>
                    <a:lnTo>
                      <a:pt x="12534" y="60477"/>
                    </a:lnTo>
                    <a:lnTo>
                      <a:pt x="24307" y="58099"/>
                    </a:lnTo>
                    <a:lnTo>
                      <a:pt x="33923" y="51617"/>
                    </a:lnTo>
                    <a:lnTo>
                      <a:pt x="40408" y="42009"/>
                    </a:lnTo>
                    <a:lnTo>
                      <a:pt x="42786" y="30251"/>
                    </a:lnTo>
                    <a:lnTo>
                      <a:pt x="40408" y="18489"/>
                    </a:lnTo>
                    <a:lnTo>
                      <a:pt x="33923" y="8872"/>
                    </a:lnTo>
                    <a:lnTo>
                      <a:pt x="24307" y="2381"/>
                    </a:lnTo>
                    <a:lnTo>
                      <a:pt x="12534" y="0"/>
                    </a:lnTo>
                    <a:close/>
                  </a:path>
                </a:pathLst>
              </a:custGeom>
              <a:solidFill>
                <a:srgbClr val="919396"/>
              </a:solidFill>
            </p:spPr>
            <p:txBody>
              <a:bodyPr wrap="square" lIns="0" tIns="0" rIns="0" bIns="0" rtlCol="0"/>
              <a:lstStyle/>
              <a:p>
                <a:endParaRPr/>
              </a:p>
            </p:txBody>
          </p:sp>
          <p:sp>
            <p:nvSpPr>
              <p:cNvPr id="85" name="bk object 42"/>
              <p:cNvSpPr/>
              <p:nvPr userDrawn="1"/>
            </p:nvSpPr>
            <p:spPr>
              <a:xfrm>
                <a:off x="4238244" y="4799529"/>
                <a:ext cx="43180" cy="60960"/>
              </a:xfrm>
              <a:custGeom>
                <a:avLst/>
                <a:gdLst/>
                <a:ahLst/>
                <a:cxnLst/>
                <a:rect l="l" t="t" r="r" b="b"/>
                <a:pathLst>
                  <a:path w="43179" h="60960">
                    <a:moveTo>
                      <a:pt x="12560" y="0"/>
                    </a:moveTo>
                    <a:lnTo>
                      <a:pt x="0" y="0"/>
                    </a:lnTo>
                    <a:lnTo>
                      <a:pt x="0" y="11061"/>
                    </a:lnTo>
                    <a:lnTo>
                      <a:pt x="12560" y="11061"/>
                    </a:lnTo>
                    <a:lnTo>
                      <a:pt x="20021" y="12572"/>
                    </a:lnTo>
                    <a:lnTo>
                      <a:pt x="26122" y="16689"/>
                    </a:lnTo>
                    <a:lnTo>
                      <a:pt x="30239" y="22789"/>
                    </a:lnTo>
                    <a:lnTo>
                      <a:pt x="31749" y="30251"/>
                    </a:lnTo>
                    <a:lnTo>
                      <a:pt x="30239" y="37708"/>
                    </a:lnTo>
                    <a:lnTo>
                      <a:pt x="26122" y="43800"/>
                    </a:lnTo>
                    <a:lnTo>
                      <a:pt x="20021" y="47908"/>
                    </a:lnTo>
                    <a:lnTo>
                      <a:pt x="12560" y="49415"/>
                    </a:lnTo>
                    <a:lnTo>
                      <a:pt x="0" y="49415"/>
                    </a:lnTo>
                    <a:lnTo>
                      <a:pt x="0" y="60477"/>
                    </a:lnTo>
                    <a:lnTo>
                      <a:pt x="12560" y="60477"/>
                    </a:lnTo>
                    <a:lnTo>
                      <a:pt x="24316" y="58099"/>
                    </a:lnTo>
                    <a:lnTo>
                      <a:pt x="33934" y="51617"/>
                    </a:lnTo>
                    <a:lnTo>
                      <a:pt x="40428" y="42009"/>
                    </a:lnTo>
                    <a:lnTo>
                      <a:pt x="42811" y="30251"/>
                    </a:lnTo>
                    <a:lnTo>
                      <a:pt x="40428" y="18489"/>
                    </a:lnTo>
                    <a:lnTo>
                      <a:pt x="33934" y="8872"/>
                    </a:lnTo>
                    <a:lnTo>
                      <a:pt x="24316" y="2381"/>
                    </a:lnTo>
                    <a:lnTo>
                      <a:pt x="12560" y="0"/>
                    </a:lnTo>
                    <a:close/>
                  </a:path>
                </a:pathLst>
              </a:custGeom>
              <a:solidFill>
                <a:srgbClr val="919396"/>
              </a:solidFill>
            </p:spPr>
            <p:txBody>
              <a:bodyPr wrap="square" lIns="0" tIns="0" rIns="0" bIns="0" rtlCol="0"/>
              <a:lstStyle/>
              <a:p>
                <a:endParaRPr/>
              </a:p>
            </p:txBody>
          </p:sp>
          <p:sp>
            <p:nvSpPr>
              <p:cNvPr id="86" name="bk object 43"/>
              <p:cNvSpPr/>
              <p:nvPr userDrawn="1"/>
            </p:nvSpPr>
            <p:spPr>
              <a:xfrm>
                <a:off x="4628868" y="4799529"/>
                <a:ext cx="43180" cy="60960"/>
              </a:xfrm>
              <a:custGeom>
                <a:avLst/>
                <a:gdLst/>
                <a:ahLst/>
                <a:cxnLst/>
                <a:rect l="l" t="t" r="r" b="b"/>
                <a:pathLst>
                  <a:path w="43179" h="60960">
                    <a:moveTo>
                      <a:pt x="12534" y="0"/>
                    </a:moveTo>
                    <a:lnTo>
                      <a:pt x="0" y="0"/>
                    </a:lnTo>
                    <a:lnTo>
                      <a:pt x="0" y="11061"/>
                    </a:lnTo>
                    <a:lnTo>
                      <a:pt x="12534" y="11061"/>
                    </a:lnTo>
                    <a:lnTo>
                      <a:pt x="19996" y="12572"/>
                    </a:lnTo>
                    <a:lnTo>
                      <a:pt x="26096" y="16689"/>
                    </a:lnTo>
                    <a:lnTo>
                      <a:pt x="30213" y="22789"/>
                    </a:lnTo>
                    <a:lnTo>
                      <a:pt x="31724" y="30251"/>
                    </a:lnTo>
                    <a:lnTo>
                      <a:pt x="30213" y="37708"/>
                    </a:lnTo>
                    <a:lnTo>
                      <a:pt x="26096" y="43800"/>
                    </a:lnTo>
                    <a:lnTo>
                      <a:pt x="19996" y="47908"/>
                    </a:lnTo>
                    <a:lnTo>
                      <a:pt x="12534" y="49415"/>
                    </a:lnTo>
                    <a:lnTo>
                      <a:pt x="0" y="49415"/>
                    </a:lnTo>
                    <a:lnTo>
                      <a:pt x="0" y="60477"/>
                    </a:lnTo>
                    <a:lnTo>
                      <a:pt x="12534" y="60477"/>
                    </a:lnTo>
                    <a:lnTo>
                      <a:pt x="24296" y="58099"/>
                    </a:lnTo>
                    <a:lnTo>
                      <a:pt x="33913" y="51617"/>
                    </a:lnTo>
                    <a:lnTo>
                      <a:pt x="40404" y="42009"/>
                    </a:lnTo>
                    <a:lnTo>
                      <a:pt x="42786" y="30251"/>
                    </a:lnTo>
                    <a:lnTo>
                      <a:pt x="40404" y="18489"/>
                    </a:lnTo>
                    <a:lnTo>
                      <a:pt x="33913" y="8872"/>
                    </a:lnTo>
                    <a:lnTo>
                      <a:pt x="24296" y="2381"/>
                    </a:lnTo>
                    <a:lnTo>
                      <a:pt x="12534" y="0"/>
                    </a:lnTo>
                    <a:close/>
                  </a:path>
                </a:pathLst>
              </a:custGeom>
              <a:solidFill>
                <a:srgbClr val="919396"/>
              </a:solidFill>
            </p:spPr>
            <p:txBody>
              <a:bodyPr wrap="square" lIns="0" tIns="0" rIns="0" bIns="0" rtlCol="0"/>
              <a:lstStyle/>
              <a:p>
                <a:endParaRPr/>
              </a:p>
            </p:txBody>
          </p:sp>
          <p:sp>
            <p:nvSpPr>
              <p:cNvPr id="87" name="bk object 44"/>
              <p:cNvSpPr/>
              <p:nvPr userDrawn="1"/>
            </p:nvSpPr>
            <p:spPr>
              <a:xfrm>
                <a:off x="5019474" y="4799529"/>
                <a:ext cx="43180" cy="60960"/>
              </a:xfrm>
              <a:custGeom>
                <a:avLst/>
                <a:gdLst/>
                <a:ahLst/>
                <a:cxnLst/>
                <a:rect l="l" t="t" r="r" b="b"/>
                <a:pathLst>
                  <a:path w="43179" h="60960">
                    <a:moveTo>
                      <a:pt x="12534" y="0"/>
                    </a:moveTo>
                    <a:lnTo>
                      <a:pt x="0" y="0"/>
                    </a:lnTo>
                    <a:lnTo>
                      <a:pt x="0" y="11061"/>
                    </a:lnTo>
                    <a:lnTo>
                      <a:pt x="12534" y="11061"/>
                    </a:lnTo>
                    <a:lnTo>
                      <a:pt x="20001" y="12572"/>
                    </a:lnTo>
                    <a:lnTo>
                      <a:pt x="26101" y="16689"/>
                    </a:lnTo>
                    <a:lnTo>
                      <a:pt x="30215" y="22789"/>
                    </a:lnTo>
                    <a:lnTo>
                      <a:pt x="31724" y="30251"/>
                    </a:lnTo>
                    <a:lnTo>
                      <a:pt x="30215" y="37708"/>
                    </a:lnTo>
                    <a:lnTo>
                      <a:pt x="26101" y="43800"/>
                    </a:lnTo>
                    <a:lnTo>
                      <a:pt x="20001" y="47908"/>
                    </a:lnTo>
                    <a:lnTo>
                      <a:pt x="12534" y="49415"/>
                    </a:lnTo>
                    <a:lnTo>
                      <a:pt x="0" y="49415"/>
                    </a:lnTo>
                    <a:lnTo>
                      <a:pt x="0" y="60477"/>
                    </a:lnTo>
                    <a:lnTo>
                      <a:pt x="12534" y="60477"/>
                    </a:lnTo>
                    <a:lnTo>
                      <a:pt x="24296" y="58099"/>
                    </a:lnTo>
                    <a:lnTo>
                      <a:pt x="33913" y="51617"/>
                    </a:lnTo>
                    <a:lnTo>
                      <a:pt x="40404" y="42009"/>
                    </a:lnTo>
                    <a:lnTo>
                      <a:pt x="42786" y="30251"/>
                    </a:lnTo>
                    <a:lnTo>
                      <a:pt x="40404" y="18489"/>
                    </a:lnTo>
                    <a:lnTo>
                      <a:pt x="33913" y="8872"/>
                    </a:lnTo>
                    <a:lnTo>
                      <a:pt x="24296" y="2381"/>
                    </a:lnTo>
                    <a:lnTo>
                      <a:pt x="12534" y="0"/>
                    </a:lnTo>
                    <a:close/>
                  </a:path>
                </a:pathLst>
              </a:custGeom>
              <a:solidFill>
                <a:srgbClr val="919396"/>
              </a:solidFill>
            </p:spPr>
            <p:txBody>
              <a:bodyPr wrap="square" lIns="0" tIns="0" rIns="0" bIns="0" rtlCol="0"/>
              <a:lstStyle/>
              <a:p>
                <a:endParaRPr/>
              </a:p>
            </p:txBody>
          </p:sp>
        </p:grpSp>
        <p:sp>
          <p:nvSpPr>
            <p:cNvPr id="93" name="bk object 21"/>
            <p:cNvSpPr/>
            <p:nvPr userDrawn="1"/>
          </p:nvSpPr>
          <p:spPr>
            <a:xfrm>
              <a:off x="5019471" y="4410740"/>
              <a:ext cx="43180" cy="60960"/>
            </a:xfrm>
            <a:custGeom>
              <a:avLst/>
              <a:gdLst/>
              <a:ahLst/>
              <a:cxnLst/>
              <a:rect l="l" t="t" r="r" b="b"/>
              <a:pathLst>
                <a:path w="43179" h="60960">
                  <a:moveTo>
                    <a:pt x="42786" y="0"/>
                  </a:moveTo>
                  <a:lnTo>
                    <a:pt x="30251" y="0"/>
                  </a:lnTo>
                  <a:lnTo>
                    <a:pt x="18489" y="2377"/>
                  </a:lnTo>
                  <a:lnTo>
                    <a:pt x="8872" y="8859"/>
                  </a:lnTo>
                  <a:lnTo>
                    <a:pt x="2381" y="18468"/>
                  </a:lnTo>
                  <a:lnTo>
                    <a:pt x="0" y="30226"/>
                  </a:lnTo>
                  <a:lnTo>
                    <a:pt x="2381" y="41987"/>
                  </a:lnTo>
                  <a:lnTo>
                    <a:pt x="8872" y="51604"/>
                  </a:lnTo>
                  <a:lnTo>
                    <a:pt x="18489" y="58095"/>
                  </a:lnTo>
                  <a:lnTo>
                    <a:pt x="30251" y="60477"/>
                  </a:lnTo>
                  <a:lnTo>
                    <a:pt x="42786" y="60477"/>
                  </a:lnTo>
                  <a:lnTo>
                    <a:pt x="42786" y="49415"/>
                  </a:lnTo>
                  <a:lnTo>
                    <a:pt x="30251" y="49415"/>
                  </a:lnTo>
                  <a:lnTo>
                    <a:pt x="22789" y="47904"/>
                  </a:lnTo>
                  <a:lnTo>
                    <a:pt x="16689" y="43788"/>
                  </a:lnTo>
                  <a:lnTo>
                    <a:pt x="12572" y="37687"/>
                  </a:lnTo>
                  <a:lnTo>
                    <a:pt x="11061" y="30226"/>
                  </a:lnTo>
                  <a:lnTo>
                    <a:pt x="12572" y="22768"/>
                  </a:lnTo>
                  <a:lnTo>
                    <a:pt x="16689" y="16676"/>
                  </a:lnTo>
                  <a:lnTo>
                    <a:pt x="22789" y="12568"/>
                  </a:lnTo>
                  <a:lnTo>
                    <a:pt x="30251" y="11061"/>
                  </a:lnTo>
                  <a:lnTo>
                    <a:pt x="42786" y="11061"/>
                  </a:lnTo>
                  <a:lnTo>
                    <a:pt x="42786" y="0"/>
                  </a:lnTo>
                  <a:close/>
                </a:path>
              </a:pathLst>
            </a:custGeom>
            <a:solidFill>
              <a:srgbClr val="919396"/>
            </a:solidFill>
          </p:spPr>
          <p:txBody>
            <a:bodyPr wrap="square" lIns="0" tIns="0" rIns="0" bIns="0" rtlCol="0"/>
            <a:lstStyle/>
            <a:p>
              <a:endParaRPr/>
            </a:p>
          </p:txBody>
        </p:sp>
        <p:sp>
          <p:nvSpPr>
            <p:cNvPr id="94" name="bk object 22"/>
            <p:cNvSpPr/>
            <p:nvPr userDrawn="1"/>
          </p:nvSpPr>
          <p:spPr>
            <a:xfrm>
              <a:off x="4628873" y="4410740"/>
              <a:ext cx="43180" cy="60960"/>
            </a:xfrm>
            <a:custGeom>
              <a:avLst/>
              <a:gdLst/>
              <a:ahLst/>
              <a:cxnLst/>
              <a:rect l="l" t="t" r="r" b="b"/>
              <a:pathLst>
                <a:path w="43179" h="60960">
                  <a:moveTo>
                    <a:pt x="42786" y="0"/>
                  </a:moveTo>
                  <a:lnTo>
                    <a:pt x="30251" y="0"/>
                  </a:lnTo>
                  <a:lnTo>
                    <a:pt x="18479" y="2377"/>
                  </a:lnTo>
                  <a:lnTo>
                    <a:pt x="8863" y="8859"/>
                  </a:lnTo>
                  <a:lnTo>
                    <a:pt x="2378" y="18468"/>
                  </a:lnTo>
                  <a:lnTo>
                    <a:pt x="0" y="30226"/>
                  </a:lnTo>
                  <a:lnTo>
                    <a:pt x="2378" y="41987"/>
                  </a:lnTo>
                  <a:lnTo>
                    <a:pt x="8863" y="51604"/>
                  </a:lnTo>
                  <a:lnTo>
                    <a:pt x="18479" y="58095"/>
                  </a:lnTo>
                  <a:lnTo>
                    <a:pt x="30251" y="60477"/>
                  </a:lnTo>
                  <a:lnTo>
                    <a:pt x="42786" y="60477"/>
                  </a:lnTo>
                  <a:lnTo>
                    <a:pt x="42786" y="49415"/>
                  </a:lnTo>
                  <a:lnTo>
                    <a:pt x="30251" y="49415"/>
                  </a:lnTo>
                  <a:lnTo>
                    <a:pt x="22777" y="47904"/>
                  </a:lnTo>
                  <a:lnTo>
                    <a:pt x="16673" y="43788"/>
                  </a:lnTo>
                  <a:lnTo>
                    <a:pt x="12558" y="37687"/>
                  </a:lnTo>
                  <a:lnTo>
                    <a:pt x="11048" y="30226"/>
                  </a:lnTo>
                  <a:lnTo>
                    <a:pt x="12558" y="22768"/>
                  </a:lnTo>
                  <a:lnTo>
                    <a:pt x="16673" y="16676"/>
                  </a:lnTo>
                  <a:lnTo>
                    <a:pt x="22777" y="12568"/>
                  </a:lnTo>
                  <a:lnTo>
                    <a:pt x="30251" y="11061"/>
                  </a:lnTo>
                  <a:lnTo>
                    <a:pt x="42786" y="11061"/>
                  </a:lnTo>
                  <a:lnTo>
                    <a:pt x="42786" y="0"/>
                  </a:lnTo>
                  <a:close/>
                </a:path>
              </a:pathLst>
            </a:custGeom>
            <a:solidFill>
              <a:srgbClr val="919396"/>
            </a:solidFill>
          </p:spPr>
          <p:txBody>
            <a:bodyPr wrap="square" lIns="0" tIns="0" rIns="0" bIns="0" rtlCol="0"/>
            <a:lstStyle/>
            <a:p>
              <a:endParaRPr/>
            </a:p>
          </p:txBody>
        </p:sp>
        <p:sp>
          <p:nvSpPr>
            <p:cNvPr id="95" name="bk object 23"/>
            <p:cNvSpPr/>
            <p:nvPr userDrawn="1"/>
          </p:nvSpPr>
          <p:spPr>
            <a:xfrm>
              <a:off x="4238241" y="4410740"/>
              <a:ext cx="43180" cy="60960"/>
            </a:xfrm>
            <a:custGeom>
              <a:avLst/>
              <a:gdLst/>
              <a:ahLst/>
              <a:cxnLst/>
              <a:rect l="l" t="t" r="r" b="b"/>
              <a:pathLst>
                <a:path w="43179" h="60960">
                  <a:moveTo>
                    <a:pt x="42811" y="0"/>
                  </a:moveTo>
                  <a:lnTo>
                    <a:pt x="30276" y="0"/>
                  </a:lnTo>
                  <a:lnTo>
                    <a:pt x="18500" y="2377"/>
                  </a:lnTo>
                  <a:lnTo>
                    <a:pt x="8875" y="8859"/>
                  </a:lnTo>
                  <a:lnTo>
                    <a:pt x="2382" y="18468"/>
                  </a:lnTo>
                  <a:lnTo>
                    <a:pt x="0" y="30226"/>
                  </a:lnTo>
                  <a:lnTo>
                    <a:pt x="2382" y="41987"/>
                  </a:lnTo>
                  <a:lnTo>
                    <a:pt x="8875" y="51604"/>
                  </a:lnTo>
                  <a:lnTo>
                    <a:pt x="18500" y="58095"/>
                  </a:lnTo>
                  <a:lnTo>
                    <a:pt x="30276" y="60477"/>
                  </a:lnTo>
                  <a:lnTo>
                    <a:pt x="42811" y="60477"/>
                  </a:lnTo>
                  <a:lnTo>
                    <a:pt x="42811" y="49415"/>
                  </a:lnTo>
                  <a:lnTo>
                    <a:pt x="30276" y="49415"/>
                  </a:lnTo>
                  <a:lnTo>
                    <a:pt x="22802" y="47904"/>
                  </a:lnTo>
                  <a:lnTo>
                    <a:pt x="16698" y="43788"/>
                  </a:lnTo>
                  <a:lnTo>
                    <a:pt x="12583" y="37687"/>
                  </a:lnTo>
                  <a:lnTo>
                    <a:pt x="11074" y="30226"/>
                  </a:lnTo>
                  <a:lnTo>
                    <a:pt x="12583" y="22768"/>
                  </a:lnTo>
                  <a:lnTo>
                    <a:pt x="16698" y="16676"/>
                  </a:lnTo>
                  <a:lnTo>
                    <a:pt x="22802" y="12568"/>
                  </a:lnTo>
                  <a:lnTo>
                    <a:pt x="30276" y="11061"/>
                  </a:lnTo>
                  <a:lnTo>
                    <a:pt x="42811" y="11061"/>
                  </a:lnTo>
                  <a:lnTo>
                    <a:pt x="42811" y="0"/>
                  </a:lnTo>
                  <a:close/>
                </a:path>
              </a:pathLst>
            </a:custGeom>
            <a:solidFill>
              <a:srgbClr val="919396"/>
            </a:solidFill>
          </p:spPr>
          <p:txBody>
            <a:bodyPr wrap="square" lIns="0" tIns="0" rIns="0" bIns="0" rtlCol="0"/>
            <a:lstStyle/>
            <a:p>
              <a:endParaRPr/>
            </a:p>
          </p:txBody>
        </p:sp>
        <p:sp>
          <p:nvSpPr>
            <p:cNvPr id="96" name="bk object 24"/>
            <p:cNvSpPr/>
            <p:nvPr userDrawn="1"/>
          </p:nvSpPr>
          <p:spPr>
            <a:xfrm>
              <a:off x="3847636" y="4410740"/>
              <a:ext cx="43180" cy="60960"/>
            </a:xfrm>
            <a:custGeom>
              <a:avLst/>
              <a:gdLst/>
              <a:ahLst/>
              <a:cxnLst/>
              <a:rect l="l" t="t" r="r" b="b"/>
              <a:pathLst>
                <a:path w="43179" h="60960">
                  <a:moveTo>
                    <a:pt x="42811" y="0"/>
                  </a:moveTo>
                  <a:lnTo>
                    <a:pt x="30251" y="0"/>
                  </a:lnTo>
                  <a:lnTo>
                    <a:pt x="18489" y="2377"/>
                  </a:lnTo>
                  <a:lnTo>
                    <a:pt x="8872" y="8859"/>
                  </a:lnTo>
                  <a:lnTo>
                    <a:pt x="2381" y="18468"/>
                  </a:lnTo>
                  <a:lnTo>
                    <a:pt x="0" y="30226"/>
                  </a:lnTo>
                  <a:lnTo>
                    <a:pt x="2381" y="41987"/>
                  </a:lnTo>
                  <a:lnTo>
                    <a:pt x="8872" y="51604"/>
                  </a:lnTo>
                  <a:lnTo>
                    <a:pt x="18489" y="58095"/>
                  </a:lnTo>
                  <a:lnTo>
                    <a:pt x="30251" y="60477"/>
                  </a:lnTo>
                  <a:lnTo>
                    <a:pt x="42811" y="60477"/>
                  </a:lnTo>
                  <a:lnTo>
                    <a:pt x="42811" y="49415"/>
                  </a:lnTo>
                  <a:lnTo>
                    <a:pt x="30251" y="49415"/>
                  </a:lnTo>
                  <a:lnTo>
                    <a:pt x="22789" y="47904"/>
                  </a:lnTo>
                  <a:lnTo>
                    <a:pt x="16689" y="43788"/>
                  </a:lnTo>
                  <a:lnTo>
                    <a:pt x="12572" y="37687"/>
                  </a:lnTo>
                  <a:lnTo>
                    <a:pt x="11061" y="30226"/>
                  </a:lnTo>
                  <a:lnTo>
                    <a:pt x="12572" y="22768"/>
                  </a:lnTo>
                  <a:lnTo>
                    <a:pt x="16689" y="16676"/>
                  </a:lnTo>
                  <a:lnTo>
                    <a:pt x="22789" y="12568"/>
                  </a:lnTo>
                  <a:lnTo>
                    <a:pt x="30251" y="11061"/>
                  </a:lnTo>
                  <a:lnTo>
                    <a:pt x="42811" y="11061"/>
                  </a:lnTo>
                  <a:lnTo>
                    <a:pt x="42811" y="0"/>
                  </a:lnTo>
                  <a:close/>
                </a:path>
              </a:pathLst>
            </a:custGeom>
            <a:solidFill>
              <a:srgbClr val="919396"/>
            </a:solidFill>
          </p:spPr>
          <p:txBody>
            <a:bodyPr wrap="square" lIns="0" tIns="0" rIns="0" bIns="0" rtlCol="0"/>
            <a:lstStyle/>
            <a:p>
              <a:endParaRPr/>
            </a:p>
          </p:txBody>
        </p:sp>
        <p:sp>
          <p:nvSpPr>
            <p:cNvPr id="97" name="bk object 25"/>
            <p:cNvSpPr/>
            <p:nvPr userDrawn="1"/>
          </p:nvSpPr>
          <p:spPr>
            <a:xfrm>
              <a:off x="3457023" y="4410740"/>
              <a:ext cx="43180" cy="60960"/>
            </a:xfrm>
            <a:custGeom>
              <a:avLst/>
              <a:gdLst/>
              <a:ahLst/>
              <a:cxnLst/>
              <a:rect l="l" t="t" r="r" b="b"/>
              <a:pathLst>
                <a:path w="43179" h="60960">
                  <a:moveTo>
                    <a:pt x="42824" y="0"/>
                  </a:moveTo>
                  <a:lnTo>
                    <a:pt x="30264" y="0"/>
                  </a:lnTo>
                  <a:lnTo>
                    <a:pt x="18500" y="2377"/>
                  </a:lnTo>
                  <a:lnTo>
                    <a:pt x="8878" y="8859"/>
                  </a:lnTo>
                  <a:lnTo>
                    <a:pt x="2383" y="18468"/>
                  </a:lnTo>
                  <a:lnTo>
                    <a:pt x="0" y="30226"/>
                  </a:lnTo>
                  <a:lnTo>
                    <a:pt x="2383" y="41987"/>
                  </a:lnTo>
                  <a:lnTo>
                    <a:pt x="8878" y="51604"/>
                  </a:lnTo>
                  <a:lnTo>
                    <a:pt x="18500" y="58095"/>
                  </a:lnTo>
                  <a:lnTo>
                    <a:pt x="30264" y="60477"/>
                  </a:lnTo>
                  <a:lnTo>
                    <a:pt x="42824" y="60477"/>
                  </a:lnTo>
                  <a:lnTo>
                    <a:pt x="42824" y="49415"/>
                  </a:lnTo>
                  <a:lnTo>
                    <a:pt x="30264" y="49415"/>
                  </a:lnTo>
                  <a:lnTo>
                    <a:pt x="22802" y="47904"/>
                  </a:lnTo>
                  <a:lnTo>
                    <a:pt x="16702" y="43788"/>
                  </a:lnTo>
                  <a:lnTo>
                    <a:pt x="12585" y="37687"/>
                  </a:lnTo>
                  <a:lnTo>
                    <a:pt x="11074" y="30226"/>
                  </a:lnTo>
                  <a:lnTo>
                    <a:pt x="12585" y="22768"/>
                  </a:lnTo>
                  <a:lnTo>
                    <a:pt x="16702" y="16676"/>
                  </a:lnTo>
                  <a:lnTo>
                    <a:pt x="22802" y="12568"/>
                  </a:lnTo>
                  <a:lnTo>
                    <a:pt x="30264" y="11061"/>
                  </a:lnTo>
                  <a:lnTo>
                    <a:pt x="42824" y="11061"/>
                  </a:lnTo>
                  <a:lnTo>
                    <a:pt x="42824" y="0"/>
                  </a:lnTo>
                  <a:close/>
                </a:path>
              </a:pathLst>
            </a:custGeom>
            <a:solidFill>
              <a:srgbClr val="919396"/>
            </a:solidFill>
          </p:spPr>
          <p:txBody>
            <a:bodyPr wrap="square" lIns="0" tIns="0" rIns="0" bIns="0" rtlCol="0"/>
            <a:lstStyle/>
            <a:p>
              <a:endParaRPr/>
            </a:p>
          </p:txBody>
        </p:sp>
        <p:sp>
          <p:nvSpPr>
            <p:cNvPr id="98" name="bk object 26"/>
            <p:cNvSpPr/>
            <p:nvPr userDrawn="1"/>
          </p:nvSpPr>
          <p:spPr>
            <a:xfrm>
              <a:off x="3066431" y="4410740"/>
              <a:ext cx="43180" cy="60960"/>
            </a:xfrm>
            <a:custGeom>
              <a:avLst/>
              <a:gdLst/>
              <a:ahLst/>
              <a:cxnLst/>
              <a:rect l="l" t="t" r="r" b="b"/>
              <a:pathLst>
                <a:path w="43180" h="60960">
                  <a:moveTo>
                    <a:pt x="42786" y="0"/>
                  </a:moveTo>
                  <a:lnTo>
                    <a:pt x="30251" y="0"/>
                  </a:lnTo>
                  <a:lnTo>
                    <a:pt x="18489" y="2377"/>
                  </a:lnTo>
                  <a:lnTo>
                    <a:pt x="8872" y="8859"/>
                  </a:lnTo>
                  <a:lnTo>
                    <a:pt x="2381" y="18468"/>
                  </a:lnTo>
                  <a:lnTo>
                    <a:pt x="0" y="30226"/>
                  </a:lnTo>
                  <a:lnTo>
                    <a:pt x="2381" y="41987"/>
                  </a:lnTo>
                  <a:lnTo>
                    <a:pt x="8872" y="51604"/>
                  </a:lnTo>
                  <a:lnTo>
                    <a:pt x="18489" y="58095"/>
                  </a:lnTo>
                  <a:lnTo>
                    <a:pt x="30251" y="60477"/>
                  </a:lnTo>
                  <a:lnTo>
                    <a:pt x="42786" y="60477"/>
                  </a:lnTo>
                  <a:lnTo>
                    <a:pt x="42786" y="49415"/>
                  </a:lnTo>
                  <a:lnTo>
                    <a:pt x="30251" y="49415"/>
                  </a:lnTo>
                  <a:lnTo>
                    <a:pt x="22777" y="47904"/>
                  </a:lnTo>
                  <a:lnTo>
                    <a:pt x="16673" y="43788"/>
                  </a:lnTo>
                  <a:lnTo>
                    <a:pt x="12558" y="37687"/>
                  </a:lnTo>
                  <a:lnTo>
                    <a:pt x="11048" y="30226"/>
                  </a:lnTo>
                  <a:lnTo>
                    <a:pt x="12558" y="22768"/>
                  </a:lnTo>
                  <a:lnTo>
                    <a:pt x="16673" y="16676"/>
                  </a:lnTo>
                  <a:lnTo>
                    <a:pt x="22777" y="12568"/>
                  </a:lnTo>
                  <a:lnTo>
                    <a:pt x="30251" y="11061"/>
                  </a:lnTo>
                  <a:lnTo>
                    <a:pt x="42786" y="11061"/>
                  </a:lnTo>
                  <a:lnTo>
                    <a:pt x="42786" y="0"/>
                  </a:lnTo>
                  <a:close/>
                </a:path>
              </a:pathLst>
            </a:custGeom>
            <a:solidFill>
              <a:srgbClr val="919396"/>
            </a:solidFill>
          </p:spPr>
          <p:txBody>
            <a:bodyPr wrap="square" lIns="0" tIns="0" rIns="0" bIns="0" rtlCol="0"/>
            <a:lstStyle/>
            <a:p>
              <a:endParaRPr/>
            </a:p>
          </p:txBody>
        </p:sp>
        <p:sp>
          <p:nvSpPr>
            <p:cNvPr id="99" name="bk object 27"/>
            <p:cNvSpPr/>
            <p:nvPr userDrawn="1"/>
          </p:nvSpPr>
          <p:spPr>
            <a:xfrm>
              <a:off x="2675826" y="4410740"/>
              <a:ext cx="43180" cy="60960"/>
            </a:xfrm>
            <a:custGeom>
              <a:avLst/>
              <a:gdLst/>
              <a:ahLst/>
              <a:cxnLst/>
              <a:rect l="l" t="t" r="r" b="b"/>
              <a:pathLst>
                <a:path w="43180" h="60960">
                  <a:moveTo>
                    <a:pt x="42786" y="0"/>
                  </a:moveTo>
                  <a:lnTo>
                    <a:pt x="30251" y="0"/>
                  </a:lnTo>
                  <a:lnTo>
                    <a:pt x="18489" y="2377"/>
                  </a:lnTo>
                  <a:lnTo>
                    <a:pt x="8872" y="8859"/>
                  </a:lnTo>
                  <a:lnTo>
                    <a:pt x="2381" y="18468"/>
                  </a:lnTo>
                  <a:lnTo>
                    <a:pt x="0" y="30226"/>
                  </a:lnTo>
                  <a:lnTo>
                    <a:pt x="2381" y="41987"/>
                  </a:lnTo>
                  <a:lnTo>
                    <a:pt x="8872" y="51604"/>
                  </a:lnTo>
                  <a:lnTo>
                    <a:pt x="18489" y="58095"/>
                  </a:lnTo>
                  <a:lnTo>
                    <a:pt x="30251" y="60477"/>
                  </a:lnTo>
                  <a:lnTo>
                    <a:pt x="42786" y="60477"/>
                  </a:lnTo>
                  <a:lnTo>
                    <a:pt x="42786" y="49415"/>
                  </a:lnTo>
                  <a:lnTo>
                    <a:pt x="30251" y="49415"/>
                  </a:lnTo>
                  <a:lnTo>
                    <a:pt x="22777" y="47904"/>
                  </a:lnTo>
                  <a:lnTo>
                    <a:pt x="16673" y="43788"/>
                  </a:lnTo>
                  <a:lnTo>
                    <a:pt x="12558" y="37687"/>
                  </a:lnTo>
                  <a:lnTo>
                    <a:pt x="11048" y="30226"/>
                  </a:lnTo>
                  <a:lnTo>
                    <a:pt x="12558" y="22768"/>
                  </a:lnTo>
                  <a:lnTo>
                    <a:pt x="16673" y="16676"/>
                  </a:lnTo>
                  <a:lnTo>
                    <a:pt x="22777" y="12568"/>
                  </a:lnTo>
                  <a:lnTo>
                    <a:pt x="30251" y="11061"/>
                  </a:lnTo>
                  <a:lnTo>
                    <a:pt x="42786" y="11061"/>
                  </a:lnTo>
                  <a:lnTo>
                    <a:pt x="42786" y="0"/>
                  </a:lnTo>
                  <a:close/>
                </a:path>
              </a:pathLst>
            </a:custGeom>
            <a:solidFill>
              <a:srgbClr val="919396"/>
            </a:solidFill>
          </p:spPr>
          <p:txBody>
            <a:bodyPr wrap="square" lIns="0" tIns="0" rIns="0" bIns="0" rtlCol="0"/>
            <a:lstStyle/>
            <a:p>
              <a:endParaRPr/>
            </a:p>
          </p:txBody>
        </p:sp>
        <p:sp>
          <p:nvSpPr>
            <p:cNvPr id="100" name="bk object 28"/>
            <p:cNvSpPr/>
            <p:nvPr userDrawn="1"/>
          </p:nvSpPr>
          <p:spPr>
            <a:xfrm>
              <a:off x="2285194" y="4410740"/>
              <a:ext cx="43180" cy="60960"/>
            </a:xfrm>
            <a:custGeom>
              <a:avLst/>
              <a:gdLst/>
              <a:ahLst/>
              <a:cxnLst/>
              <a:rect l="l" t="t" r="r" b="b"/>
              <a:pathLst>
                <a:path w="43180" h="60960">
                  <a:moveTo>
                    <a:pt x="42811" y="0"/>
                  </a:moveTo>
                  <a:lnTo>
                    <a:pt x="30251" y="0"/>
                  </a:lnTo>
                  <a:lnTo>
                    <a:pt x="18489" y="2377"/>
                  </a:lnTo>
                  <a:lnTo>
                    <a:pt x="8872" y="8859"/>
                  </a:lnTo>
                  <a:lnTo>
                    <a:pt x="2381" y="18468"/>
                  </a:lnTo>
                  <a:lnTo>
                    <a:pt x="0" y="30226"/>
                  </a:lnTo>
                  <a:lnTo>
                    <a:pt x="2381" y="41987"/>
                  </a:lnTo>
                  <a:lnTo>
                    <a:pt x="8872" y="51604"/>
                  </a:lnTo>
                  <a:lnTo>
                    <a:pt x="18489" y="58095"/>
                  </a:lnTo>
                  <a:lnTo>
                    <a:pt x="30251" y="60477"/>
                  </a:lnTo>
                  <a:lnTo>
                    <a:pt x="42811" y="60477"/>
                  </a:lnTo>
                  <a:lnTo>
                    <a:pt x="42811" y="49415"/>
                  </a:lnTo>
                  <a:lnTo>
                    <a:pt x="30251" y="49415"/>
                  </a:lnTo>
                  <a:lnTo>
                    <a:pt x="22789" y="47904"/>
                  </a:lnTo>
                  <a:lnTo>
                    <a:pt x="16689" y="43788"/>
                  </a:lnTo>
                  <a:lnTo>
                    <a:pt x="12572" y="37687"/>
                  </a:lnTo>
                  <a:lnTo>
                    <a:pt x="11061" y="30226"/>
                  </a:lnTo>
                  <a:lnTo>
                    <a:pt x="12572" y="22768"/>
                  </a:lnTo>
                  <a:lnTo>
                    <a:pt x="16689" y="16676"/>
                  </a:lnTo>
                  <a:lnTo>
                    <a:pt x="22789" y="12568"/>
                  </a:lnTo>
                  <a:lnTo>
                    <a:pt x="30251" y="11061"/>
                  </a:lnTo>
                  <a:lnTo>
                    <a:pt x="42811" y="11061"/>
                  </a:lnTo>
                  <a:lnTo>
                    <a:pt x="42811" y="0"/>
                  </a:lnTo>
                  <a:close/>
                </a:path>
              </a:pathLst>
            </a:custGeom>
            <a:solidFill>
              <a:srgbClr val="919396"/>
            </a:solidFill>
          </p:spPr>
          <p:txBody>
            <a:bodyPr wrap="square" lIns="0" tIns="0" rIns="0" bIns="0" rtlCol="0"/>
            <a:lstStyle/>
            <a:p>
              <a:endParaRPr/>
            </a:p>
          </p:txBody>
        </p:sp>
        <p:sp>
          <p:nvSpPr>
            <p:cNvPr id="101" name="bk object 29"/>
            <p:cNvSpPr/>
            <p:nvPr userDrawn="1"/>
          </p:nvSpPr>
          <p:spPr>
            <a:xfrm>
              <a:off x="1894589" y="4410740"/>
              <a:ext cx="43180" cy="60960"/>
            </a:xfrm>
            <a:custGeom>
              <a:avLst/>
              <a:gdLst/>
              <a:ahLst/>
              <a:cxnLst/>
              <a:rect l="l" t="t" r="r" b="b"/>
              <a:pathLst>
                <a:path w="43180" h="60960">
                  <a:moveTo>
                    <a:pt x="42786" y="0"/>
                  </a:moveTo>
                  <a:lnTo>
                    <a:pt x="30251" y="0"/>
                  </a:lnTo>
                  <a:lnTo>
                    <a:pt x="18489" y="2377"/>
                  </a:lnTo>
                  <a:lnTo>
                    <a:pt x="8872" y="8859"/>
                  </a:lnTo>
                  <a:lnTo>
                    <a:pt x="2381" y="18468"/>
                  </a:lnTo>
                  <a:lnTo>
                    <a:pt x="0" y="30226"/>
                  </a:lnTo>
                  <a:lnTo>
                    <a:pt x="2381" y="41987"/>
                  </a:lnTo>
                  <a:lnTo>
                    <a:pt x="8872" y="51604"/>
                  </a:lnTo>
                  <a:lnTo>
                    <a:pt x="18489" y="58095"/>
                  </a:lnTo>
                  <a:lnTo>
                    <a:pt x="30251" y="60477"/>
                  </a:lnTo>
                  <a:lnTo>
                    <a:pt x="42786" y="60477"/>
                  </a:lnTo>
                  <a:lnTo>
                    <a:pt x="42786" y="49415"/>
                  </a:lnTo>
                  <a:lnTo>
                    <a:pt x="30251" y="49415"/>
                  </a:lnTo>
                  <a:lnTo>
                    <a:pt x="22795" y="47904"/>
                  </a:lnTo>
                  <a:lnTo>
                    <a:pt x="16694" y="43788"/>
                  </a:lnTo>
                  <a:lnTo>
                    <a:pt x="12574" y="37687"/>
                  </a:lnTo>
                  <a:lnTo>
                    <a:pt x="11061" y="30226"/>
                  </a:lnTo>
                  <a:lnTo>
                    <a:pt x="12574" y="22768"/>
                  </a:lnTo>
                  <a:lnTo>
                    <a:pt x="16694" y="16676"/>
                  </a:lnTo>
                  <a:lnTo>
                    <a:pt x="22795" y="12568"/>
                  </a:lnTo>
                  <a:lnTo>
                    <a:pt x="30251" y="11061"/>
                  </a:lnTo>
                  <a:lnTo>
                    <a:pt x="42786" y="11061"/>
                  </a:lnTo>
                  <a:lnTo>
                    <a:pt x="42786" y="0"/>
                  </a:lnTo>
                  <a:close/>
                </a:path>
              </a:pathLst>
            </a:custGeom>
            <a:solidFill>
              <a:srgbClr val="919396"/>
            </a:solidFill>
          </p:spPr>
          <p:txBody>
            <a:bodyPr wrap="square" lIns="0" tIns="0" rIns="0" bIns="0" rtlCol="0"/>
            <a:lstStyle/>
            <a:p>
              <a:endParaRPr/>
            </a:p>
          </p:txBody>
        </p:sp>
        <p:sp>
          <p:nvSpPr>
            <p:cNvPr id="102" name="bk object 30"/>
            <p:cNvSpPr/>
            <p:nvPr userDrawn="1"/>
          </p:nvSpPr>
          <p:spPr>
            <a:xfrm>
              <a:off x="1503991" y="4410740"/>
              <a:ext cx="43180" cy="60960"/>
            </a:xfrm>
            <a:custGeom>
              <a:avLst/>
              <a:gdLst/>
              <a:ahLst/>
              <a:cxnLst/>
              <a:rect l="l" t="t" r="r" b="b"/>
              <a:pathLst>
                <a:path w="43180" h="60960">
                  <a:moveTo>
                    <a:pt x="42786" y="0"/>
                  </a:moveTo>
                  <a:lnTo>
                    <a:pt x="30251" y="0"/>
                  </a:lnTo>
                  <a:lnTo>
                    <a:pt x="18489" y="2377"/>
                  </a:lnTo>
                  <a:lnTo>
                    <a:pt x="8872" y="8859"/>
                  </a:lnTo>
                  <a:lnTo>
                    <a:pt x="2381" y="18468"/>
                  </a:lnTo>
                  <a:lnTo>
                    <a:pt x="0" y="30226"/>
                  </a:lnTo>
                  <a:lnTo>
                    <a:pt x="2381" y="41987"/>
                  </a:lnTo>
                  <a:lnTo>
                    <a:pt x="8872" y="51604"/>
                  </a:lnTo>
                  <a:lnTo>
                    <a:pt x="18489" y="58095"/>
                  </a:lnTo>
                  <a:lnTo>
                    <a:pt x="30251" y="60477"/>
                  </a:lnTo>
                  <a:lnTo>
                    <a:pt x="42786" y="60477"/>
                  </a:lnTo>
                  <a:lnTo>
                    <a:pt x="42786" y="49415"/>
                  </a:lnTo>
                  <a:lnTo>
                    <a:pt x="30251" y="49415"/>
                  </a:lnTo>
                  <a:lnTo>
                    <a:pt x="22777" y="47904"/>
                  </a:lnTo>
                  <a:lnTo>
                    <a:pt x="16673" y="43788"/>
                  </a:lnTo>
                  <a:lnTo>
                    <a:pt x="12558" y="37687"/>
                  </a:lnTo>
                  <a:lnTo>
                    <a:pt x="11048" y="30226"/>
                  </a:lnTo>
                  <a:lnTo>
                    <a:pt x="12558" y="22768"/>
                  </a:lnTo>
                  <a:lnTo>
                    <a:pt x="16673" y="16676"/>
                  </a:lnTo>
                  <a:lnTo>
                    <a:pt x="22777" y="12568"/>
                  </a:lnTo>
                  <a:lnTo>
                    <a:pt x="30251" y="11061"/>
                  </a:lnTo>
                  <a:lnTo>
                    <a:pt x="42786" y="11061"/>
                  </a:lnTo>
                  <a:lnTo>
                    <a:pt x="42786" y="0"/>
                  </a:lnTo>
                  <a:close/>
                </a:path>
              </a:pathLst>
            </a:custGeom>
            <a:solidFill>
              <a:srgbClr val="919396"/>
            </a:solidFill>
          </p:spPr>
          <p:txBody>
            <a:bodyPr wrap="square" lIns="0" tIns="0" rIns="0" bIns="0" rtlCol="0"/>
            <a:lstStyle/>
            <a:p>
              <a:endParaRPr/>
            </a:p>
          </p:txBody>
        </p:sp>
        <p:sp>
          <p:nvSpPr>
            <p:cNvPr id="103" name="bk object 31"/>
            <p:cNvSpPr/>
            <p:nvPr userDrawn="1"/>
          </p:nvSpPr>
          <p:spPr>
            <a:xfrm>
              <a:off x="1113384" y="4410740"/>
              <a:ext cx="43180" cy="60960"/>
            </a:xfrm>
            <a:custGeom>
              <a:avLst/>
              <a:gdLst/>
              <a:ahLst/>
              <a:cxnLst/>
              <a:rect l="l" t="t" r="r" b="b"/>
              <a:pathLst>
                <a:path w="43180" h="60960">
                  <a:moveTo>
                    <a:pt x="42786" y="0"/>
                  </a:moveTo>
                  <a:lnTo>
                    <a:pt x="30251" y="0"/>
                  </a:lnTo>
                  <a:lnTo>
                    <a:pt x="18489" y="2377"/>
                  </a:lnTo>
                  <a:lnTo>
                    <a:pt x="8872" y="8859"/>
                  </a:lnTo>
                  <a:lnTo>
                    <a:pt x="2381" y="18468"/>
                  </a:lnTo>
                  <a:lnTo>
                    <a:pt x="0" y="30226"/>
                  </a:lnTo>
                  <a:lnTo>
                    <a:pt x="2381" y="41987"/>
                  </a:lnTo>
                  <a:lnTo>
                    <a:pt x="8872" y="51604"/>
                  </a:lnTo>
                  <a:lnTo>
                    <a:pt x="18489" y="58095"/>
                  </a:lnTo>
                  <a:lnTo>
                    <a:pt x="30251" y="60477"/>
                  </a:lnTo>
                  <a:lnTo>
                    <a:pt x="42786" y="60477"/>
                  </a:lnTo>
                  <a:lnTo>
                    <a:pt x="42786" y="49415"/>
                  </a:lnTo>
                  <a:lnTo>
                    <a:pt x="30251" y="49415"/>
                  </a:lnTo>
                  <a:lnTo>
                    <a:pt x="22779" y="47904"/>
                  </a:lnTo>
                  <a:lnTo>
                    <a:pt x="16679" y="43788"/>
                  </a:lnTo>
                  <a:lnTo>
                    <a:pt x="12568" y="37687"/>
                  </a:lnTo>
                  <a:lnTo>
                    <a:pt x="11061" y="30226"/>
                  </a:lnTo>
                  <a:lnTo>
                    <a:pt x="12568" y="22768"/>
                  </a:lnTo>
                  <a:lnTo>
                    <a:pt x="16679" y="16676"/>
                  </a:lnTo>
                  <a:lnTo>
                    <a:pt x="22779" y="12568"/>
                  </a:lnTo>
                  <a:lnTo>
                    <a:pt x="30251" y="11061"/>
                  </a:lnTo>
                  <a:lnTo>
                    <a:pt x="42786" y="11061"/>
                  </a:lnTo>
                  <a:lnTo>
                    <a:pt x="42786" y="0"/>
                  </a:lnTo>
                  <a:close/>
                </a:path>
              </a:pathLst>
            </a:custGeom>
            <a:solidFill>
              <a:srgbClr val="919396"/>
            </a:solidFill>
          </p:spPr>
          <p:txBody>
            <a:bodyPr wrap="square" lIns="0" tIns="0" rIns="0" bIns="0" rtlCol="0"/>
            <a:lstStyle/>
            <a:p>
              <a:endParaRPr/>
            </a:p>
          </p:txBody>
        </p:sp>
        <p:sp>
          <p:nvSpPr>
            <p:cNvPr id="104" name="bk object 32"/>
            <p:cNvSpPr/>
            <p:nvPr userDrawn="1"/>
          </p:nvSpPr>
          <p:spPr>
            <a:xfrm>
              <a:off x="722748" y="4410740"/>
              <a:ext cx="43180" cy="60960"/>
            </a:xfrm>
            <a:custGeom>
              <a:avLst/>
              <a:gdLst/>
              <a:ahLst/>
              <a:cxnLst/>
              <a:rect l="l" t="t" r="r" b="b"/>
              <a:pathLst>
                <a:path w="43179" h="60960">
                  <a:moveTo>
                    <a:pt x="42824" y="0"/>
                  </a:moveTo>
                  <a:lnTo>
                    <a:pt x="30264" y="0"/>
                  </a:lnTo>
                  <a:lnTo>
                    <a:pt x="18505" y="2377"/>
                  </a:lnTo>
                  <a:lnTo>
                    <a:pt x="8883" y="8859"/>
                  </a:lnTo>
                  <a:lnTo>
                    <a:pt x="2385" y="18468"/>
                  </a:lnTo>
                  <a:lnTo>
                    <a:pt x="0" y="30226"/>
                  </a:lnTo>
                  <a:lnTo>
                    <a:pt x="2385" y="41987"/>
                  </a:lnTo>
                  <a:lnTo>
                    <a:pt x="8883" y="51604"/>
                  </a:lnTo>
                  <a:lnTo>
                    <a:pt x="18505" y="58095"/>
                  </a:lnTo>
                  <a:lnTo>
                    <a:pt x="30264" y="60477"/>
                  </a:lnTo>
                  <a:lnTo>
                    <a:pt x="42824" y="60477"/>
                  </a:lnTo>
                  <a:lnTo>
                    <a:pt x="42824" y="49415"/>
                  </a:lnTo>
                  <a:lnTo>
                    <a:pt x="30264" y="49415"/>
                  </a:lnTo>
                  <a:lnTo>
                    <a:pt x="22802" y="47904"/>
                  </a:lnTo>
                  <a:lnTo>
                    <a:pt x="16702" y="43788"/>
                  </a:lnTo>
                  <a:lnTo>
                    <a:pt x="12585" y="37687"/>
                  </a:lnTo>
                  <a:lnTo>
                    <a:pt x="11074" y="30226"/>
                  </a:lnTo>
                  <a:lnTo>
                    <a:pt x="12585" y="22768"/>
                  </a:lnTo>
                  <a:lnTo>
                    <a:pt x="16702" y="16676"/>
                  </a:lnTo>
                  <a:lnTo>
                    <a:pt x="22802" y="12568"/>
                  </a:lnTo>
                  <a:lnTo>
                    <a:pt x="30264" y="11061"/>
                  </a:lnTo>
                  <a:lnTo>
                    <a:pt x="42824" y="11061"/>
                  </a:lnTo>
                  <a:lnTo>
                    <a:pt x="42824" y="0"/>
                  </a:lnTo>
                  <a:close/>
                </a:path>
              </a:pathLst>
            </a:custGeom>
            <a:solidFill>
              <a:srgbClr val="919396"/>
            </a:solidFill>
          </p:spPr>
          <p:txBody>
            <a:bodyPr wrap="square" lIns="0" tIns="0" rIns="0" bIns="0" rtlCol="0"/>
            <a:lstStyle/>
            <a:p>
              <a:endParaRPr/>
            </a:p>
          </p:txBody>
        </p:sp>
        <p:sp>
          <p:nvSpPr>
            <p:cNvPr id="105" name="bk object 33"/>
            <p:cNvSpPr/>
            <p:nvPr userDrawn="1"/>
          </p:nvSpPr>
          <p:spPr>
            <a:xfrm>
              <a:off x="722749" y="4799529"/>
              <a:ext cx="43180" cy="60960"/>
            </a:xfrm>
            <a:custGeom>
              <a:avLst/>
              <a:gdLst/>
              <a:ahLst/>
              <a:cxnLst/>
              <a:rect l="l" t="t" r="r" b="b"/>
              <a:pathLst>
                <a:path w="43179" h="60960">
                  <a:moveTo>
                    <a:pt x="12560" y="0"/>
                  </a:moveTo>
                  <a:lnTo>
                    <a:pt x="0" y="0"/>
                  </a:lnTo>
                  <a:lnTo>
                    <a:pt x="0" y="11061"/>
                  </a:lnTo>
                  <a:lnTo>
                    <a:pt x="12560" y="11061"/>
                  </a:lnTo>
                  <a:lnTo>
                    <a:pt x="20019" y="12572"/>
                  </a:lnTo>
                  <a:lnTo>
                    <a:pt x="26115" y="16689"/>
                  </a:lnTo>
                  <a:lnTo>
                    <a:pt x="30228" y="22789"/>
                  </a:lnTo>
                  <a:lnTo>
                    <a:pt x="31737" y="30251"/>
                  </a:lnTo>
                  <a:lnTo>
                    <a:pt x="30228" y="37708"/>
                  </a:lnTo>
                  <a:lnTo>
                    <a:pt x="26115" y="43800"/>
                  </a:lnTo>
                  <a:lnTo>
                    <a:pt x="20019" y="47908"/>
                  </a:lnTo>
                  <a:lnTo>
                    <a:pt x="12560" y="49415"/>
                  </a:lnTo>
                  <a:lnTo>
                    <a:pt x="0" y="49415"/>
                  </a:lnTo>
                  <a:lnTo>
                    <a:pt x="0" y="60477"/>
                  </a:lnTo>
                  <a:lnTo>
                    <a:pt x="12560" y="60477"/>
                  </a:lnTo>
                  <a:lnTo>
                    <a:pt x="24323" y="58099"/>
                  </a:lnTo>
                  <a:lnTo>
                    <a:pt x="33945" y="51617"/>
                  </a:lnTo>
                  <a:lnTo>
                    <a:pt x="40440" y="42009"/>
                  </a:lnTo>
                  <a:lnTo>
                    <a:pt x="42824" y="30251"/>
                  </a:lnTo>
                  <a:lnTo>
                    <a:pt x="40440" y="18489"/>
                  </a:lnTo>
                  <a:lnTo>
                    <a:pt x="33945" y="8872"/>
                  </a:lnTo>
                  <a:lnTo>
                    <a:pt x="24323" y="2381"/>
                  </a:lnTo>
                  <a:lnTo>
                    <a:pt x="12560" y="0"/>
                  </a:lnTo>
                  <a:close/>
                </a:path>
              </a:pathLst>
            </a:custGeom>
            <a:solidFill>
              <a:srgbClr val="919396"/>
            </a:solidFill>
          </p:spPr>
          <p:txBody>
            <a:bodyPr wrap="square" lIns="0" tIns="0" rIns="0" bIns="0" rtlCol="0"/>
            <a:lstStyle/>
            <a:p>
              <a:endParaRPr/>
            </a:p>
          </p:txBody>
        </p:sp>
        <p:sp>
          <p:nvSpPr>
            <p:cNvPr id="106" name="bk object 34"/>
            <p:cNvSpPr/>
            <p:nvPr userDrawn="1"/>
          </p:nvSpPr>
          <p:spPr>
            <a:xfrm>
              <a:off x="1113387" y="4799529"/>
              <a:ext cx="43180" cy="60960"/>
            </a:xfrm>
            <a:custGeom>
              <a:avLst/>
              <a:gdLst/>
              <a:ahLst/>
              <a:cxnLst/>
              <a:rect l="l" t="t" r="r" b="b"/>
              <a:pathLst>
                <a:path w="43180" h="60960">
                  <a:moveTo>
                    <a:pt x="12534" y="0"/>
                  </a:moveTo>
                  <a:lnTo>
                    <a:pt x="0" y="0"/>
                  </a:lnTo>
                  <a:lnTo>
                    <a:pt x="0" y="11061"/>
                  </a:lnTo>
                  <a:lnTo>
                    <a:pt x="12534" y="11061"/>
                  </a:lnTo>
                  <a:lnTo>
                    <a:pt x="19996" y="12572"/>
                  </a:lnTo>
                  <a:lnTo>
                    <a:pt x="26096" y="16689"/>
                  </a:lnTo>
                  <a:lnTo>
                    <a:pt x="30213" y="22789"/>
                  </a:lnTo>
                  <a:lnTo>
                    <a:pt x="31724" y="30251"/>
                  </a:lnTo>
                  <a:lnTo>
                    <a:pt x="30213" y="37708"/>
                  </a:lnTo>
                  <a:lnTo>
                    <a:pt x="26096" y="43800"/>
                  </a:lnTo>
                  <a:lnTo>
                    <a:pt x="19996" y="47908"/>
                  </a:lnTo>
                  <a:lnTo>
                    <a:pt x="12534" y="49415"/>
                  </a:lnTo>
                  <a:lnTo>
                    <a:pt x="0" y="49415"/>
                  </a:lnTo>
                  <a:lnTo>
                    <a:pt x="0" y="60477"/>
                  </a:lnTo>
                  <a:lnTo>
                    <a:pt x="12534" y="60477"/>
                  </a:lnTo>
                  <a:lnTo>
                    <a:pt x="24296" y="58099"/>
                  </a:lnTo>
                  <a:lnTo>
                    <a:pt x="33913" y="51617"/>
                  </a:lnTo>
                  <a:lnTo>
                    <a:pt x="40404" y="42009"/>
                  </a:lnTo>
                  <a:lnTo>
                    <a:pt x="42786" y="30251"/>
                  </a:lnTo>
                  <a:lnTo>
                    <a:pt x="40404" y="18489"/>
                  </a:lnTo>
                  <a:lnTo>
                    <a:pt x="33913" y="8872"/>
                  </a:lnTo>
                  <a:lnTo>
                    <a:pt x="24296" y="2381"/>
                  </a:lnTo>
                  <a:lnTo>
                    <a:pt x="12534" y="0"/>
                  </a:lnTo>
                  <a:close/>
                </a:path>
              </a:pathLst>
            </a:custGeom>
            <a:solidFill>
              <a:srgbClr val="000000"/>
            </a:solidFill>
          </p:spPr>
          <p:txBody>
            <a:bodyPr wrap="square" lIns="0" tIns="0" rIns="0" bIns="0" rtlCol="0"/>
            <a:lstStyle/>
            <a:p>
              <a:endParaRPr/>
            </a:p>
          </p:txBody>
        </p:sp>
        <p:sp>
          <p:nvSpPr>
            <p:cNvPr id="107" name="bk object 35"/>
            <p:cNvSpPr/>
            <p:nvPr userDrawn="1"/>
          </p:nvSpPr>
          <p:spPr>
            <a:xfrm>
              <a:off x="1503992" y="4799529"/>
              <a:ext cx="43180" cy="60960"/>
            </a:xfrm>
            <a:custGeom>
              <a:avLst/>
              <a:gdLst/>
              <a:ahLst/>
              <a:cxnLst/>
              <a:rect l="l" t="t" r="r" b="b"/>
              <a:pathLst>
                <a:path w="43180" h="60960">
                  <a:moveTo>
                    <a:pt x="12534" y="0"/>
                  </a:moveTo>
                  <a:lnTo>
                    <a:pt x="0" y="0"/>
                  </a:lnTo>
                  <a:lnTo>
                    <a:pt x="0" y="11061"/>
                  </a:lnTo>
                  <a:lnTo>
                    <a:pt x="12534" y="11061"/>
                  </a:lnTo>
                  <a:lnTo>
                    <a:pt x="20001" y="12572"/>
                  </a:lnTo>
                  <a:lnTo>
                    <a:pt x="26101" y="16689"/>
                  </a:lnTo>
                  <a:lnTo>
                    <a:pt x="30215" y="22789"/>
                  </a:lnTo>
                  <a:lnTo>
                    <a:pt x="31724" y="30251"/>
                  </a:lnTo>
                  <a:lnTo>
                    <a:pt x="30215" y="37708"/>
                  </a:lnTo>
                  <a:lnTo>
                    <a:pt x="26101" y="43800"/>
                  </a:lnTo>
                  <a:lnTo>
                    <a:pt x="20001" y="47908"/>
                  </a:lnTo>
                  <a:lnTo>
                    <a:pt x="12534" y="49415"/>
                  </a:lnTo>
                  <a:lnTo>
                    <a:pt x="0" y="49415"/>
                  </a:lnTo>
                  <a:lnTo>
                    <a:pt x="0" y="60477"/>
                  </a:lnTo>
                  <a:lnTo>
                    <a:pt x="12534" y="60477"/>
                  </a:lnTo>
                  <a:lnTo>
                    <a:pt x="24307" y="58099"/>
                  </a:lnTo>
                  <a:lnTo>
                    <a:pt x="33923" y="51617"/>
                  </a:lnTo>
                  <a:lnTo>
                    <a:pt x="40408" y="42009"/>
                  </a:lnTo>
                  <a:lnTo>
                    <a:pt x="42786" y="30251"/>
                  </a:lnTo>
                  <a:lnTo>
                    <a:pt x="40408" y="18489"/>
                  </a:lnTo>
                  <a:lnTo>
                    <a:pt x="33923" y="8872"/>
                  </a:lnTo>
                  <a:lnTo>
                    <a:pt x="24307" y="2381"/>
                  </a:lnTo>
                  <a:lnTo>
                    <a:pt x="12534" y="0"/>
                  </a:lnTo>
                  <a:close/>
                </a:path>
              </a:pathLst>
            </a:custGeom>
            <a:solidFill>
              <a:srgbClr val="000000"/>
            </a:solidFill>
          </p:spPr>
          <p:txBody>
            <a:bodyPr wrap="square" lIns="0" tIns="0" rIns="0" bIns="0" rtlCol="0"/>
            <a:lstStyle/>
            <a:p>
              <a:endParaRPr/>
            </a:p>
          </p:txBody>
        </p:sp>
        <p:sp>
          <p:nvSpPr>
            <p:cNvPr id="108" name="bk object 36"/>
            <p:cNvSpPr/>
            <p:nvPr userDrawn="1"/>
          </p:nvSpPr>
          <p:spPr>
            <a:xfrm>
              <a:off x="1894592" y="4799529"/>
              <a:ext cx="43180" cy="60960"/>
            </a:xfrm>
            <a:custGeom>
              <a:avLst/>
              <a:gdLst/>
              <a:ahLst/>
              <a:cxnLst/>
              <a:rect l="l" t="t" r="r" b="b"/>
              <a:pathLst>
                <a:path w="43180" h="60960">
                  <a:moveTo>
                    <a:pt x="12534" y="0"/>
                  </a:moveTo>
                  <a:lnTo>
                    <a:pt x="0" y="0"/>
                  </a:lnTo>
                  <a:lnTo>
                    <a:pt x="0" y="11061"/>
                  </a:lnTo>
                  <a:lnTo>
                    <a:pt x="12534" y="11061"/>
                  </a:lnTo>
                  <a:lnTo>
                    <a:pt x="20007" y="12572"/>
                  </a:lnTo>
                  <a:lnTo>
                    <a:pt x="26106" y="16689"/>
                  </a:lnTo>
                  <a:lnTo>
                    <a:pt x="30217" y="22789"/>
                  </a:lnTo>
                  <a:lnTo>
                    <a:pt x="31724" y="30251"/>
                  </a:lnTo>
                  <a:lnTo>
                    <a:pt x="30217" y="37708"/>
                  </a:lnTo>
                  <a:lnTo>
                    <a:pt x="26106" y="43800"/>
                  </a:lnTo>
                  <a:lnTo>
                    <a:pt x="20007" y="47908"/>
                  </a:lnTo>
                  <a:lnTo>
                    <a:pt x="12534" y="49415"/>
                  </a:lnTo>
                  <a:lnTo>
                    <a:pt x="0" y="49415"/>
                  </a:lnTo>
                  <a:lnTo>
                    <a:pt x="0" y="60477"/>
                  </a:lnTo>
                  <a:lnTo>
                    <a:pt x="12534" y="60477"/>
                  </a:lnTo>
                  <a:lnTo>
                    <a:pt x="24307" y="58099"/>
                  </a:lnTo>
                  <a:lnTo>
                    <a:pt x="33923" y="51617"/>
                  </a:lnTo>
                  <a:lnTo>
                    <a:pt x="40408" y="42009"/>
                  </a:lnTo>
                  <a:lnTo>
                    <a:pt x="42786" y="30251"/>
                  </a:lnTo>
                  <a:lnTo>
                    <a:pt x="40408" y="18489"/>
                  </a:lnTo>
                  <a:lnTo>
                    <a:pt x="33923" y="8872"/>
                  </a:lnTo>
                  <a:lnTo>
                    <a:pt x="24307" y="2381"/>
                  </a:lnTo>
                  <a:lnTo>
                    <a:pt x="12534" y="0"/>
                  </a:lnTo>
                  <a:close/>
                </a:path>
              </a:pathLst>
            </a:custGeom>
            <a:solidFill>
              <a:srgbClr val="000000"/>
            </a:solidFill>
          </p:spPr>
          <p:txBody>
            <a:bodyPr wrap="square" lIns="0" tIns="0" rIns="0" bIns="0" rtlCol="0"/>
            <a:lstStyle/>
            <a:p>
              <a:endParaRPr/>
            </a:p>
          </p:txBody>
        </p:sp>
        <p:sp>
          <p:nvSpPr>
            <p:cNvPr id="109" name="bk object 37"/>
            <p:cNvSpPr/>
            <p:nvPr userDrawn="1"/>
          </p:nvSpPr>
          <p:spPr>
            <a:xfrm>
              <a:off x="2285197" y="4799529"/>
              <a:ext cx="43180" cy="60960"/>
            </a:xfrm>
            <a:custGeom>
              <a:avLst/>
              <a:gdLst/>
              <a:ahLst/>
              <a:cxnLst/>
              <a:rect l="l" t="t" r="r" b="b"/>
              <a:pathLst>
                <a:path w="43180" h="60960">
                  <a:moveTo>
                    <a:pt x="12534" y="0"/>
                  </a:moveTo>
                  <a:lnTo>
                    <a:pt x="0" y="0"/>
                  </a:lnTo>
                  <a:lnTo>
                    <a:pt x="0" y="11061"/>
                  </a:lnTo>
                  <a:lnTo>
                    <a:pt x="12534" y="11061"/>
                  </a:lnTo>
                  <a:lnTo>
                    <a:pt x="20001" y="12572"/>
                  </a:lnTo>
                  <a:lnTo>
                    <a:pt x="26101" y="16689"/>
                  </a:lnTo>
                  <a:lnTo>
                    <a:pt x="30215" y="22789"/>
                  </a:lnTo>
                  <a:lnTo>
                    <a:pt x="31724" y="30251"/>
                  </a:lnTo>
                  <a:lnTo>
                    <a:pt x="30215" y="37708"/>
                  </a:lnTo>
                  <a:lnTo>
                    <a:pt x="26101" y="43800"/>
                  </a:lnTo>
                  <a:lnTo>
                    <a:pt x="20001" y="47908"/>
                  </a:lnTo>
                  <a:lnTo>
                    <a:pt x="12534" y="49415"/>
                  </a:lnTo>
                  <a:lnTo>
                    <a:pt x="0" y="49415"/>
                  </a:lnTo>
                  <a:lnTo>
                    <a:pt x="0" y="60477"/>
                  </a:lnTo>
                  <a:lnTo>
                    <a:pt x="12534" y="60477"/>
                  </a:lnTo>
                  <a:lnTo>
                    <a:pt x="24311" y="58099"/>
                  </a:lnTo>
                  <a:lnTo>
                    <a:pt x="33935" y="51617"/>
                  </a:lnTo>
                  <a:lnTo>
                    <a:pt x="40429" y="42009"/>
                  </a:lnTo>
                  <a:lnTo>
                    <a:pt x="42811" y="30251"/>
                  </a:lnTo>
                  <a:lnTo>
                    <a:pt x="40429" y="18489"/>
                  </a:lnTo>
                  <a:lnTo>
                    <a:pt x="33935" y="8872"/>
                  </a:lnTo>
                  <a:lnTo>
                    <a:pt x="24311" y="2381"/>
                  </a:lnTo>
                  <a:lnTo>
                    <a:pt x="12534" y="0"/>
                  </a:lnTo>
                  <a:close/>
                </a:path>
              </a:pathLst>
            </a:custGeom>
            <a:solidFill>
              <a:srgbClr val="919396"/>
            </a:solidFill>
          </p:spPr>
          <p:txBody>
            <a:bodyPr wrap="square" lIns="0" tIns="0" rIns="0" bIns="0" rtlCol="0"/>
            <a:lstStyle/>
            <a:p>
              <a:endParaRPr/>
            </a:p>
          </p:txBody>
        </p:sp>
        <p:sp>
          <p:nvSpPr>
            <p:cNvPr id="110" name="bk object 38"/>
            <p:cNvSpPr/>
            <p:nvPr userDrawn="1"/>
          </p:nvSpPr>
          <p:spPr>
            <a:xfrm>
              <a:off x="2675802" y="4799529"/>
              <a:ext cx="43180" cy="60960"/>
            </a:xfrm>
            <a:custGeom>
              <a:avLst/>
              <a:gdLst/>
              <a:ahLst/>
              <a:cxnLst/>
              <a:rect l="l" t="t" r="r" b="b"/>
              <a:pathLst>
                <a:path w="43180" h="60960">
                  <a:moveTo>
                    <a:pt x="12560" y="0"/>
                  </a:moveTo>
                  <a:lnTo>
                    <a:pt x="0" y="0"/>
                  </a:lnTo>
                  <a:lnTo>
                    <a:pt x="0" y="11061"/>
                  </a:lnTo>
                  <a:lnTo>
                    <a:pt x="12560" y="11061"/>
                  </a:lnTo>
                  <a:lnTo>
                    <a:pt x="20021" y="12572"/>
                  </a:lnTo>
                  <a:lnTo>
                    <a:pt x="26122" y="16689"/>
                  </a:lnTo>
                  <a:lnTo>
                    <a:pt x="30239" y="22789"/>
                  </a:lnTo>
                  <a:lnTo>
                    <a:pt x="31750" y="30251"/>
                  </a:lnTo>
                  <a:lnTo>
                    <a:pt x="30239" y="37708"/>
                  </a:lnTo>
                  <a:lnTo>
                    <a:pt x="26122" y="43800"/>
                  </a:lnTo>
                  <a:lnTo>
                    <a:pt x="20021" y="47908"/>
                  </a:lnTo>
                  <a:lnTo>
                    <a:pt x="12560" y="49415"/>
                  </a:lnTo>
                  <a:lnTo>
                    <a:pt x="0" y="49415"/>
                  </a:lnTo>
                  <a:lnTo>
                    <a:pt x="0" y="60477"/>
                  </a:lnTo>
                  <a:lnTo>
                    <a:pt x="12560" y="60477"/>
                  </a:lnTo>
                  <a:lnTo>
                    <a:pt x="24321" y="58099"/>
                  </a:lnTo>
                  <a:lnTo>
                    <a:pt x="33939" y="51617"/>
                  </a:lnTo>
                  <a:lnTo>
                    <a:pt x="40429" y="42009"/>
                  </a:lnTo>
                  <a:lnTo>
                    <a:pt x="42811" y="30251"/>
                  </a:lnTo>
                  <a:lnTo>
                    <a:pt x="40429" y="18489"/>
                  </a:lnTo>
                  <a:lnTo>
                    <a:pt x="33939" y="8872"/>
                  </a:lnTo>
                  <a:lnTo>
                    <a:pt x="24321" y="2381"/>
                  </a:lnTo>
                  <a:lnTo>
                    <a:pt x="12560" y="0"/>
                  </a:lnTo>
                  <a:close/>
                </a:path>
              </a:pathLst>
            </a:custGeom>
            <a:solidFill>
              <a:srgbClr val="919396"/>
            </a:solidFill>
          </p:spPr>
          <p:txBody>
            <a:bodyPr wrap="square" lIns="0" tIns="0" rIns="0" bIns="0" rtlCol="0"/>
            <a:lstStyle/>
            <a:p>
              <a:endParaRPr/>
            </a:p>
          </p:txBody>
        </p:sp>
        <p:sp>
          <p:nvSpPr>
            <p:cNvPr id="111" name="bk object 39"/>
            <p:cNvSpPr/>
            <p:nvPr userDrawn="1"/>
          </p:nvSpPr>
          <p:spPr>
            <a:xfrm>
              <a:off x="3066427" y="4799529"/>
              <a:ext cx="43180" cy="60960"/>
            </a:xfrm>
            <a:custGeom>
              <a:avLst/>
              <a:gdLst/>
              <a:ahLst/>
              <a:cxnLst/>
              <a:rect l="l" t="t" r="r" b="b"/>
              <a:pathLst>
                <a:path w="43180" h="60960">
                  <a:moveTo>
                    <a:pt x="12534" y="0"/>
                  </a:moveTo>
                  <a:lnTo>
                    <a:pt x="0" y="0"/>
                  </a:lnTo>
                  <a:lnTo>
                    <a:pt x="0" y="11061"/>
                  </a:lnTo>
                  <a:lnTo>
                    <a:pt x="12534" y="11061"/>
                  </a:lnTo>
                  <a:lnTo>
                    <a:pt x="19996" y="12572"/>
                  </a:lnTo>
                  <a:lnTo>
                    <a:pt x="26096" y="16689"/>
                  </a:lnTo>
                  <a:lnTo>
                    <a:pt x="30213" y="22789"/>
                  </a:lnTo>
                  <a:lnTo>
                    <a:pt x="31724" y="30251"/>
                  </a:lnTo>
                  <a:lnTo>
                    <a:pt x="30213" y="37708"/>
                  </a:lnTo>
                  <a:lnTo>
                    <a:pt x="26096" y="43800"/>
                  </a:lnTo>
                  <a:lnTo>
                    <a:pt x="19996" y="47908"/>
                  </a:lnTo>
                  <a:lnTo>
                    <a:pt x="12534" y="49415"/>
                  </a:lnTo>
                  <a:lnTo>
                    <a:pt x="0" y="49415"/>
                  </a:lnTo>
                  <a:lnTo>
                    <a:pt x="0" y="60477"/>
                  </a:lnTo>
                  <a:lnTo>
                    <a:pt x="12534" y="60477"/>
                  </a:lnTo>
                  <a:lnTo>
                    <a:pt x="24296" y="58099"/>
                  </a:lnTo>
                  <a:lnTo>
                    <a:pt x="33913" y="51617"/>
                  </a:lnTo>
                  <a:lnTo>
                    <a:pt x="40404" y="42009"/>
                  </a:lnTo>
                  <a:lnTo>
                    <a:pt x="42786" y="30251"/>
                  </a:lnTo>
                  <a:lnTo>
                    <a:pt x="40404" y="18489"/>
                  </a:lnTo>
                  <a:lnTo>
                    <a:pt x="33913" y="8872"/>
                  </a:lnTo>
                  <a:lnTo>
                    <a:pt x="24296" y="2381"/>
                  </a:lnTo>
                  <a:lnTo>
                    <a:pt x="12534" y="0"/>
                  </a:lnTo>
                  <a:close/>
                </a:path>
              </a:pathLst>
            </a:custGeom>
            <a:solidFill>
              <a:srgbClr val="919396"/>
            </a:solidFill>
          </p:spPr>
          <p:txBody>
            <a:bodyPr wrap="square" lIns="0" tIns="0" rIns="0" bIns="0" rtlCol="0"/>
            <a:lstStyle/>
            <a:p>
              <a:endParaRPr/>
            </a:p>
          </p:txBody>
        </p:sp>
        <p:sp>
          <p:nvSpPr>
            <p:cNvPr id="112" name="bk object 40"/>
            <p:cNvSpPr/>
            <p:nvPr userDrawn="1"/>
          </p:nvSpPr>
          <p:spPr>
            <a:xfrm>
              <a:off x="3457032" y="4799529"/>
              <a:ext cx="43180" cy="60960"/>
            </a:xfrm>
            <a:custGeom>
              <a:avLst/>
              <a:gdLst/>
              <a:ahLst/>
              <a:cxnLst/>
              <a:rect l="l" t="t" r="r" b="b"/>
              <a:pathLst>
                <a:path w="43179" h="60960">
                  <a:moveTo>
                    <a:pt x="12534" y="0"/>
                  </a:moveTo>
                  <a:lnTo>
                    <a:pt x="0" y="0"/>
                  </a:lnTo>
                  <a:lnTo>
                    <a:pt x="0" y="11061"/>
                  </a:lnTo>
                  <a:lnTo>
                    <a:pt x="12534" y="11061"/>
                  </a:lnTo>
                  <a:lnTo>
                    <a:pt x="20007" y="12572"/>
                  </a:lnTo>
                  <a:lnTo>
                    <a:pt x="26106" y="16689"/>
                  </a:lnTo>
                  <a:lnTo>
                    <a:pt x="30217" y="22789"/>
                  </a:lnTo>
                  <a:lnTo>
                    <a:pt x="31724" y="30251"/>
                  </a:lnTo>
                  <a:lnTo>
                    <a:pt x="30217" y="37708"/>
                  </a:lnTo>
                  <a:lnTo>
                    <a:pt x="26106" y="43800"/>
                  </a:lnTo>
                  <a:lnTo>
                    <a:pt x="20007" y="47908"/>
                  </a:lnTo>
                  <a:lnTo>
                    <a:pt x="12534" y="49415"/>
                  </a:lnTo>
                  <a:lnTo>
                    <a:pt x="0" y="49415"/>
                  </a:lnTo>
                  <a:lnTo>
                    <a:pt x="0" y="60477"/>
                  </a:lnTo>
                  <a:lnTo>
                    <a:pt x="12534" y="60477"/>
                  </a:lnTo>
                  <a:lnTo>
                    <a:pt x="24307" y="58099"/>
                  </a:lnTo>
                  <a:lnTo>
                    <a:pt x="33923" y="51617"/>
                  </a:lnTo>
                  <a:lnTo>
                    <a:pt x="40408" y="42009"/>
                  </a:lnTo>
                  <a:lnTo>
                    <a:pt x="42786" y="30251"/>
                  </a:lnTo>
                  <a:lnTo>
                    <a:pt x="40408" y="18489"/>
                  </a:lnTo>
                  <a:lnTo>
                    <a:pt x="33923" y="8872"/>
                  </a:lnTo>
                  <a:lnTo>
                    <a:pt x="24307" y="2381"/>
                  </a:lnTo>
                  <a:lnTo>
                    <a:pt x="12534" y="0"/>
                  </a:lnTo>
                  <a:close/>
                </a:path>
              </a:pathLst>
            </a:custGeom>
            <a:solidFill>
              <a:srgbClr val="919396"/>
            </a:solidFill>
          </p:spPr>
          <p:txBody>
            <a:bodyPr wrap="square" lIns="0" tIns="0" rIns="0" bIns="0" rtlCol="0"/>
            <a:lstStyle/>
            <a:p>
              <a:endParaRPr/>
            </a:p>
          </p:txBody>
        </p:sp>
        <p:sp>
          <p:nvSpPr>
            <p:cNvPr id="113" name="bk object 41"/>
            <p:cNvSpPr/>
            <p:nvPr userDrawn="1"/>
          </p:nvSpPr>
          <p:spPr>
            <a:xfrm>
              <a:off x="3847639" y="4799529"/>
              <a:ext cx="43180" cy="60960"/>
            </a:xfrm>
            <a:custGeom>
              <a:avLst/>
              <a:gdLst/>
              <a:ahLst/>
              <a:cxnLst/>
              <a:rect l="l" t="t" r="r" b="b"/>
              <a:pathLst>
                <a:path w="43179" h="60960">
                  <a:moveTo>
                    <a:pt x="12534" y="0"/>
                  </a:moveTo>
                  <a:lnTo>
                    <a:pt x="0" y="0"/>
                  </a:lnTo>
                  <a:lnTo>
                    <a:pt x="0" y="11061"/>
                  </a:lnTo>
                  <a:lnTo>
                    <a:pt x="12534" y="11061"/>
                  </a:lnTo>
                  <a:lnTo>
                    <a:pt x="20001" y="12572"/>
                  </a:lnTo>
                  <a:lnTo>
                    <a:pt x="26101" y="16689"/>
                  </a:lnTo>
                  <a:lnTo>
                    <a:pt x="30215" y="22789"/>
                  </a:lnTo>
                  <a:lnTo>
                    <a:pt x="31724" y="30251"/>
                  </a:lnTo>
                  <a:lnTo>
                    <a:pt x="30215" y="37708"/>
                  </a:lnTo>
                  <a:lnTo>
                    <a:pt x="26101" y="43800"/>
                  </a:lnTo>
                  <a:lnTo>
                    <a:pt x="20001" y="47908"/>
                  </a:lnTo>
                  <a:lnTo>
                    <a:pt x="12534" y="49415"/>
                  </a:lnTo>
                  <a:lnTo>
                    <a:pt x="0" y="49415"/>
                  </a:lnTo>
                  <a:lnTo>
                    <a:pt x="0" y="60477"/>
                  </a:lnTo>
                  <a:lnTo>
                    <a:pt x="12534" y="60477"/>
                  </a:lnTo>
                  <a:lnTo>
                    <a:pt x="24307" y="58099"/>
                  </a:lnTo>
                  <a:lnTo>
                    <a:pt x="33923" y="51617"/>
                  </a:lnTo>
                  <a:lnTo>
                    <a:pt x="40408" y="42009"/>
                  </a:lnTo>
                  <a:lnTo>
                    <a:pt x="42786" y="30251"/>
                  </a:lnTo>
                  <a:lnTo>
                    <a:pt x="40408" y="18489"/>
                  </a:lnTo>
                  <a:lnTo>
                    <a:pt x="33923" y="8872"/>
                  </a:lnTo>
                  <a:lnTo>
                    <a:pt x="24307" y="2381"/>
                  </a:lnTo>
                  <a:lnTo>
                    <a:pt x="12534" y="0"/>
                  </a:lnTo>
                  <a:close/>
                </a:path>
              </a:pathLst>
            </a:custGeom>
            <a:solidFill>
              <a:srgbClr val="919396"/>
            </a:solidFill>
          </p:spPr>
          <p:txBody>
            <a:bodyPr wrap="square" lIns="0" tIns="0" rIns="0" bIns="0" rtlCol="0"/>
            <a:lstStyle/>
            <a:p>
              <a:endParaRPr/>
            </a:p>
          </p:txBody>
        </p:sp>
        <p:sp>
          <p:nvSpPr>
            <p:cNvPr id="114" name="bk object 42"/>
            <p:cNvSpPr/>
            <p:nvPr userDrawn="1"/>
          </p:nvSpPr>
          <p:spPr>
            <a:xfrm>
              <a:off x="4238244" y="4799529"/>
              <a:ext cx="43180" cy="60960"/>
            </a:xfrm>
            <a:custGeom>
              <a:avLst/>
              <a:gdLst/>
              <a:ahLst/>
              <a:cxnLst/>
              <a:rect l="l" t="t" r="r" b="b"/>
              <a:pathLst>
                <a:path w="43179" h="60960">
                  <a:moveTo>
                    <a:pt x="12560" y="0"/>
                  </a:moveTo>
                  <a:lnTo>
                    <a:pt x="0" y="0"/>
                  </a:lnTo>
                  <a:lnTo>
                    <a:pt x="0" y="11061"/>
                  </a:lnTo>
                  <a:lnTo>
                    <a:pt x="12560" y="11061"/>
                  </a:lnTo>
                  <a:lnTo>
                    <a:pt x="20021" y="12572"/>
                  </a:lnTo>
                  <a:lnTo>
                    <a:pt x="26122" y="16689"/>
                  </a:lnTo>
                  <a:lnTo>
                    <a:pt x="30239" y="22789"/>
                  </a:lnTo>
                  <a:lnTo>
                    <a:pt x="31749" y="30251"/>
                  </a:lnTo>
                  <a:lnTo>
                    <a:pt x="30239" y="37708"/>
                  </a:lnTo>
                  <a:lnTo>
                    <a:pt x="26122" y="43800"/>
                  </a:lnTo>
                  <a:lnTo>
                    <a:pt x="20021" y="47908"/>
                  </a:lnTo>
                  <a:lnTo>
                    <a:pt x="12560" y="49415"/>
                  </a:lnTo>
                  <a:lnTo>
                    <a:pt x="0" y="49415"/>
                  </a:lnTo>
                  <a:lnTo>
                    <a:pt x="0" y="60477"/>
                  </a:lnTo>
                  <a:lnTo>
                    <a:pt x="12560" y="60477"/>
                  </a:lnTo>
                  <a:lnTo>
                    <a:pt x="24316" y="58099"/>
                  </a:lnTo>
                  <a:lnTo>
                    <a:pt x="33934" y="51617"/>
                  </a:lnTo>
                  <a:lnTo>
                    <a:pt x="40428" y="42009"/>
                  </a:lnTo>
                  <a:lnTo>
                    <a:pt x="42811" y="30251"/>
                  </a:lnTo>
                  <a:lnTo>
                    <a:pt x="40428" y="18489"/>
                  </a:lnTo>
                  <a:lnTo>
                    <a:pt x="33934" y="8872"/>
                  </a:lnTo>
                  <a:lnTo>
                    <a:pt x="24316" y="2381"/>
                  </a:lnTo>
                  <a:lnTo>
                    <a:pt x="12560" y="0"/>
                  </a:lnTo>
                  <a:close/>
                </a:path>
              </a:pathLst>
            </a:custGeom>
            <a:solidFill>
              <a:srgbClr val="919396"/>
            </a:solidFill>
          </p:spPr>
          <p:txBody>
            <a:bodyPr wrap="square" lIns="0" tIns="0" rIns="0" bIns="0" rtlCol="0"/>
            <a:lstStyle/>
            <a:p>
              <a:endParaRPr/>
            </a:p>
          </p:txBody>
        </p:sp>
        <p:sp>
          <p:nvSpPr>
            <p:cNvPr id="115" name="bk object 43"/>
            <p:cNvSpPr/>
            <p:nvPr userDrawn="1"/>
          </p:nvSpPr>
          <p:spPr>
            <a:xfrm>
              <a:off x="4628868" y="4799529"/>
              <a:ext cx="43180" cy="60960"/>
            </a:xfrm>
            <a:custGeom>
              <a:avLst/>
              <a:gdLst/>
              <a:ahLst/>
              <a:cxnLst/>
              <a:rect l="l" t="t" r="r" b="b"/>
              <a:pathLst>
                <a:path w="43179" h="60960">
                  <a:moveTo>
                    <a:pt x="12534" y="0"/>
                  </a:moveTo>
                  <a:lnTo>
                    <a:pt x="0" y="0"/>
                  </a:lnTo>
                  <a:lnTo>
                    <a:pt x="0" y="11061"/>
                  </a:lnTo>
                  <a:lnTo>
                    <a:pt x="12534" y="11061"/>
                  </a:lnTo>
                  <a:lnTo>
                    <a:pt x="19996" y="12572"/>
                  </a:lnTo>
                  <a:lnTo>
                    <a:pt x="26096" y="16689"/>
                  </a:lnTo>
                  <a:lnTo>
                    <a:pt x="30213" y="22789"/>
                  </a:lnTo>
                  <a:lnTo>
                    <a:pt x="31724" y="30251"/>
                  </a:lnTo>
                  <a:lnTo>
                    <a:pt x="30213" y="37708"/>
                  </a:lnTo>
                  <a:lnTo>
                    <a:pt x="26096" y="43800"/>
                  </a:lnTo>
                  <a:lnTo>
                    <a:pt x="19996" y="47908"/>
                  </a:lnTo>
                  <a:lnTo>
                    <a:pt x="12534" y="49415"/>
                  </a:lnTo>
                  <a:lnTo>
                    <a:pt x="0" y="49415"/>
                  </a:lnTo>
                  <a:lnTo>
                    <a:pt x="0" y="60477"/>
                  </a:lnTo>
                  <a:lnTo>
                    <a:pt x="12534" y="60477"/>
                  </a:lnTo>
                  <a:lnTo>
                    <a:pt x="24296" y="58099"/>
                  </a:lnTo>
                  <a:lnTo>
                    <a:pt x="33913" y="51617"/>
                  </a:lnTo>
                  <a:lnTo>
                    <a:pt x="40404" y="42009"/>
                  </a:lnTo>
                  <a:lnTo>
                    <a:pt x="42786" y="30251"/>
                  </a:lnTo>
                  <a:lnTo>
                    <a:pt x="40404" y="18489"/>
                  </a:lnTo>
                  <a:lnTo>
                    <a:pt x="33913" y="8872"/>
                  </a:lnTo>
                  <a:lnTo>
                    <a:pt x="24296" y="2381"/>
                  </a:lnTo>
                  <a:lnTo>
                    <a:pt x="12534" y="0"/>
                  </a:lnTo>
                  <a:close/>
                </a:path>
              </a:pathLst>
            </a:custGeom>
            <a:solidFill>
              <a:srgbClr val="919396"/>
            </a:solidFill>
          </p:spPr>
          <p:txBody>
            <a:bodyPr wrap="square" lIns="0" tIns="0" rIns="0" bIns="0" rtlCol="0"/>
            <a:lstStyle/>
            <a:p>
              <a:endParaRPr/>
            </a:p>
          </p:txBody>
        </p:sp>
        <p:sp>
          <p:nvSpPr>
            <p:cNvPr id="116" name="bk object 44"/>
            <p:cNvSpPr/>
            <p:nvPr userDrawn="1"/>
          </p:nvSpPr>
          <p:spPr>
            <a:xfrm>
              <a:off x="5019474" y="4799529"/>
              <a:ext cx="43180" cy="60960"/>
            </a:xfrm>
            <a:custGeom>
              <a:avLst/>
              <a:gdLst/>
              <a:ahLst/>
              <a:cxnLst/>
              <a:rect l="l" t="t" r="r" b="b"/>
              <a:pathLst>
                <a:path w="43179" h="60960">
                  <a:moveTo>
                    <a:pt x="12534" y="0"/>
                  </a:moveTo>
                  <a:lnTo>
                    <a:pt x="0" y="0"/>
                  </a:lnTo>
                  <a:lnTo>
                    <a:pt x="0" y="11061"/>
                  </a:lnTo>
                  <a:lnTo>
                    <a:pt x="12534" y="11061"/>
                  </a:lnTo>
                  <a:lnTo>
                    <a:pt x="20001" y="12572"/>
                  </a:lnTo>
                  <a:lnTo>
                    <a:pt x="26101" y="16689"/>
                  </a:lnTo>
                  <a:lnTo>
                    <a:pt x="30215" y="22789"/>
                  </a:lnTo>
                  <a:lnTo>
                    <a:pt x="31724" y="30251"/>
                  </a:lnTo>
                  <a:lnTo>
                    <a:pt x="30215" y="37708"/>
                  </a:lnTo>
                  <a:lnTo>
                    <a:pt x="26101" y="43800"/>
                  </a:lnTo>
                  <a:lnTo>
                    <a:pt x="20001" y="47908"/>
                  </a:lnTo>
                  <a:lnTo>
                    <a:pt x="12534" y="49415"/>
                  </a:lnTo>
                  <a:lnTo>
                    <a:pt x="0" y="49415"/>
                  </a:lnTo>
                  <a:lnTo>
                    <a:pt x="0" y="60477"/>
                  </a:lnTo>
                  <a:lnTo>
                    <a:pt x="12534" y="60477"/>
                  </a:lnTo>
                  <a:lnTo>
                    <a:pt x="24296" y="58099"/>
                  </a:lnTo>
                  <a:lnTo>
                    <a:pt x="33913" y="51617"/>
                  </a:lnTo>
                  <a:lnTo>
                    <a:pt x="40404" y="42009"/>
                  </a:lnTo>
                  <a:lnTo>
                    <a:pt x="42786" y="30251"/>
                  </a:lnTo>
                  <a:lnTo>
                    <a:pt x="40404" y="18489"/>
                  </a:lnTo>
                  <a:lnTo>
                    <a:pt x="33913" y="8872"/>
                  </a:lnTo>
                  <a:lnTo>
                    <a:pt x="24296" y="2381"/>
                  </a:lnTo>
                  <a:lnTo>
                    <a:pt x="12534" y="0"/>
                  </a:lnTo>
                  <a:close/>
                </a:path>
              </a:pathLst>
            </a:custGeom>
            <a:solidFill>
              <a:srgbClr val="919396"/>
            </a:solidFill>
          </p:spPr>
          <p:txBody>
            <a:bodyPr wrap="square" lIns="0" tIns="0" rIns="0" bIns="0" rtlCol="0"/>
            <a:lstStyle/>
            <a:p>
              <a:endParaRPr/>
            </a:p>
          </p:txBody>
        </p:sp>
        <p:sp>
          <p:nvSpPr>
            <p:cNvPr id="127" name="bk object 21"/>
            <p:cNvSpPr/>
            <p:nvPr userDrawn="1"/>
          </p:nvSpPr>
          <p:spPr>
            <a:xfrm>
              <a:off x="6191296" y="4410534"/>
              <a:ext cx="43180" cy="60960"/>
            </a:xfrm>
            <a:custGeom>
              <a:avLst/>
              <a:gdLst/>
              <a:ahLst/>
              <a:cxnLst/>
              <a:rect l="l" t="t" r="r" b="b"/>
              <a:pathLst>
                <a:path w="43179" h="60960">
                  <a:moveTo>
                    <a:pt x="42786" y="0"/>
                  </a:moveTo>
                  <a:lnTo>
                    <a:pt x="30251" y="0"/>
                  </a:lnTo>
                  <a:lnTo>
                    <a:pt x="18489" y="2377"/>
                  </a:lnTo>
                  <a:lnTo>
                    <a:pt x="8872" y="8859"/>
                  </a:lnTo>
                  <a:lnTo>
                    <a:pt x="2381" y="18468"/>
                  </a:lnTo>
                  <a:lnTo>
                    <a:pt x="0" y="30226"/>
                  </a:lnTo>
                  <a:lnTo>
                    <a:pt x="2381" y="41987"/>
                  </a:lnTo>
                  <a:lnTo>
                    <a:pt x="8872" y="51604"/>
                  </a:lnTo>
                  <a:lnTo>
                    <a:pt x="18489" y="58095"/>
                  </a:lnTo>
                  <a:lnTo>
                    <a:pt x="30251" y="60477"/>
                  </a:lnTo>
                  <a:lnTo>
                    <a:pt x="42786" y="60477"/>
                  </a:lnTo>
                  <a:lnTo>
                    <a:pt x="42786" y="49415"/>
                  </a:lnTo>
                  <a:lnTo>
                    <a:pt x="30251" y="49415"/>
                  </a:lnTo>
                  <a:lnTo>
                    <a:pt x="22789" y="47904"/>
                  </a:lnTo>
                  <a:lnTo>
                    <a:pt x="16689" y="43788"/>
                  </a:lnTo>
                  <a:lnTo>
                    <a:pt x="12572" y="37687"/>
                  </a:lnTo>
                  <a:lnTo>
                    <a:pt x="11061" y="30226"/>
                  </a:lnTo>
                  <a:lnTo>
                    <a:pt x="12572" y="22768"/>
                  </a:lnTo>
                  <a:lnTo>
                    <a:pt x="16689" y="16676"/>
                  </a:lnTo>
                  <a:lnTo>
                    <a:pt x="22789" y="12568"/>
                  </a:lnTo>
                  <a:lnTo>
                    <a:pt x="30251" y="11061"/>
                  </a:lnTo>
                  <a:lnTo>
                    <a:pt x="42786" y="11061"/>
                  </a:lnTo>
                  <a:lnTo>
                    <a:pt x="42786" y="0"/>
                  </a:lnTo>
                  <a:close/>
                </a:path>
              </a:pathLst>
            </a:custGeom>
            <a:solidFill>
              <a:srgbClr val="919396"/>
            </a:solidFill>
          </p:spPr>
          <p:txBody>
            <a:bodyPr wrap="square" lIns="0" tIns="0" rIns="0" bIns="0" rtlCol="0"/>
            <a:lstStyle/>
            <a:p>
              <a:endParaRPr/>
            </a:p>
          </p:txBody>
        </p:sp>
        <p:sp>
          <p:nvSpPr>
            <p:cNvPr id="128" name="bk object 22"/>
            <p:cNvSpPr/>
            <p:nvPr userDrawn="1"/>
          </p:nvSpPr>
          <p:spPr>
            <a:xfrm>
              <a:off x="5800698" y="4410534"/>
              <a:ext cx="43180" cy="60960"/>
            </a:xfrm>
            <a:custGeom>
              <a:avLst/>
              <a:gdLst/>
              <a:ahLst/>
              <a:cxnLst/>
              <a:rect l="l" t="t" r="r" b="b"/>
              <a:pathLst>
                <a:path w="43179" h="60960">
                  <a:moveTo>
                    <a:pt x="42786" y="0"/>
                  </a:moveTo>
                  <a:lnTo>
                    <a:pt x="30251" y="0"/>
                  </a:lnTo>
                  <a:lnTo>
                    <a:pt x="18479" y="2377"/>
                  </a:lnTo>
                  <a:lnTo>
                    <a:pt x="8863" y="8859"/>
                  </a:lnTo>
                  <a:lnTo>
                    <a:pt x="2378" y="18468"/>
                  </a:lnTo>
                  <a:lnTo>
                    <a:pt x="0" y="30226"/>
                  </a:lnTo>
                  <a:lnTo>
                    <a:pt x="2378" y="41987"/>
                  </a:lnTo>
                  <a:lnTo>
                    <a:pt x="8863" y="51604"/>
                  </a:lnTo>
                  <a:lnTo>
                    <a:pt x="18479" y="58095"/>
                  </a:lnTo>
                  <a:lnTo>
                    <a:pt x="30251" y="60477"/>
                  </a:lnTo>
                  <a:lnTo>
                    <a:pt x="42786" y="60477"/>
                  </a:lnTo>
                  <a:lnTo>
                    <a:pt x="42786" y="49415"/>
                  </a:lnTo>
                  <a:lnTo>
                    <a:pt x="30251" y="49415"/>
                  </a:lnTo>
                  <a:lnTo>
                    <a:pt x="22777" y="47904"/>
                  </a:lnTo>
                  <a:lnTo>
                    <a:pt x="16673" y="43788"/>
                  </a:lnTo>
                  <a:lnTo>
                    <a:pt x="12558" y="37687"/>
                  </a:lnTo>
                  <a:lnTo>
                    <a:pt x="11048" y="30226"/>
                  </a:lnTo>
                  <a:lnTo>
                    <a:pt x="12558" y="22768"/>
                  </a:lnTo>
                  <a:lnTo>
                    <a:pt x="16673" y="16676"/>
                  </a:lnTo>
                  <a:lnTo>
                    <a:pt x="22777" y="12568"/>
                  </a:lnTo>
                  <a:lnTo>
                    <a:pt x="30251" y="11061"/>
                  </a:lnTo>
                  <a:lnTo>
                    <a:pt x="42786" y="11061"/>
                  </a:lnTo>
                  <a:lnTo>
                    <a:pt x="42786" y="0"/>
                  </a:lnTo>
                  <a:close/>
                </a:path>
              </a:pathLst>
            </a:custGeom>
            <a:solidFill>
              <a:srgbClr val="919396"/>
            </a:solidFill>
          </p:spPr>
          <p:txBody>
            <a:bodyPr wrap="square" lIns="0" tIns="0" rIns="0" bIns="0" rtlCol="0"/>
            <a:lstStyle/>
            <a:p>
              <a:endParaRPr/>
            </a:p>
          </p:txBody>
        </p:sp>
        <p:sp>
          <p:nvSpPr>
            <p:cNvPr id="129" name="bk object 23"/>
            <p:cNvSpPr/>
            <p:nvPr userDrawn="1"/>
          </p:nvSpPr>
          <p:spPr>
            <a:xfrm>
              <a:off x="5410066" y="4410534"/>
              <a:ext cx="43180" cy="60960"/>
            </a:xfrm>
            <a:custGeom>
              <a:avLst/>
              <a:gdLst/>
              <a:ahLst/>
              <a:cxnLst/>
              <a:rect l="l" t="t" r="r" b="b"/>
              <a:pathLst>
                <a:path w="43179" h="60960">
                  <a:moveTo>
                    <a:pt x="42811" y="0"/>
                  </a:moveTo>
                  <a:lnTo>
                    <a:pt x="30276" y="0"/>
                  </a:lnTo>
                  <a:lnTo>
                    <a:pt x="18500" y="2377"/>
                  </a:lnTo>
                  <a:lnTo>
                    <a:pt x="8875" y="8859"/>
                  </a:lnTo>
                  <a:lnTo>
                    <a:pt x="2382" y="18468"/>
                  </a:lnTo>
                  <a:lnTo>
                    <a:pt x="0" y="30226"/>
                  </a:lnTo>
                  <a:lnTo>
                    <a:pt x="2382" y="41987"/>
                  </a:lnTo>
                  <a:lnTo>
                    <a:pt x="8875" y="51604"/>
                  </a:lnTo>
                  <a:lnTo>
                    <a:pt x="18500" y="58095"/>
                  </a:lnTo>
                  <a:lnTo>
                    <a:pt x="30276" y="60477"/>
                  </a:lnTo>
                  <a:lnTo>
                    <a:pt x="42811" y="60477"/>
                  </a:lnTo>
                  <a:lnTo>
                    <a:pt x="42811" y="49415"/>
                  </a:lnTo>
                  <a:lnTo>
                    <a:pt x="30276" y="49415"/>
                  </a:lnTo>
                  <a:lnTo>
                    <a:pt x="22802" y="47904"/>
                  </a:lnTo>
                  <a:lnTo>
                    <a:pt x="16698" y="43788"/>
                  </a:lnTo>
                  <a:lnTo>
                    <a:pt x="12583" y="37687"/>
                  </a:lnTo>
                  <a:lnTo>
                    <a:pt x="11074" y="30226"/>
                  </a:lnTo>
                  <a:lnTo>
                    <a:pt x="12583" y="22768"/>
                  </a:lnTo>
                  <a:lnTo>
                    <a:pt x="16698" y="16676"/>
                  </a:lnTo>
                  <a:lnTo>
                    <a:pt x="22802" y="12568"/>
                  </a:lnTo>
                  <a:lnTo>
                    <a:pt x="30276" y="11061"/>
                  </a:lnTo>
                  <a:lnTo>
                    <a:pt x="42811" y="11061"/>
                  </a:lnTo>
                  <a:lnTo>
                    <a:pt x="42811" y="0"/>
                  </a:lnTo>
                  <a:close/>
                </a:path>
              </a:pathLst>
            </a:custGeom>
            <a:solidFill>
              <a:srgbClr val="919396"/>
            </a:solidFill>
          </p:spPr>
          <p:txBody>
            <a:bodyPr wrap="square" lIns="0" tIns="0" rIns="0" bIns="0" rtlCol="0"/>
            <a:lstStyle/>
            <a:p>
              <a:endParaRPr/>
            </a:p>
          </p:txBody>
        </p:sp>
        <p:sp>
          <p:nvSpPr>
            <p:cNvPr id="130" name="bk object 42"/>
            <p:cNvSpPr/>
            <p:nvPr userDrawn="1"/>
          </p:nvSpPr>
          <p:spPr>
            <a:xfrm>
              <a:off x="5410069" y="4799323"/>
              <a:ext cx="43180" cy="60960"/>
            </a:xfrm>
            <a:custGeom>
              <a:avLst/>
              <a:gdLst/>
              <a:ahLst/>
              <a:cxnLst/>
              <a:rect l="l" t="t" r="r" b="b"/>
              <a:pathLst>
                <a:path w="43179" h="60960">
                  <a:moveTo>
                    <a:pt x="12560" y="0"/>
                  </a:moveTo>
                  <a:lnTo>
                    <a:pt x="0" y="0"/>
                  </a:lnTo>
                  <a:lnTo>
                    <a:pt x="0" y="11061"/>
                  </a:lnTo>
                  <a:lnTo>
                    <a:pt x="12560" y="11061"/>
                  </a:lnTo>
                  <a:lnTo>
                    <a:pt x="20021" y="12572"/>
                  </a:lnTo>
                  <a:lnTo>
                    <a:pt x="26122" y="16689"/>
                  </a:lnTo>
                  <a:lnTo>
                    <a:pt x="30239" y="22789"/>
                  </a:lnTo>
                  <a:lnTo>
                    <a:pt x="31749" y="30251"/>
                  </a:lnTo>
                  <a:lnTo>
                    <a:pt x="30239" y="37708"/>
                  </a:lnTo>
                  <a:lnTo>
                    <a:pt x="26122" y="43800"/>
                  </a:lnTo>
                  <a:lnTo>
                    <a:pt x="20021" y="47908"/>
                  </a:lnTo>
                  <a:lnTo>
                    <a:pt x="12560" y="49415"/>
                  </a:lnTo>
                  <a:lnTo>
                    <a:pt x="0" y="49415"/>
                  </a:lnTo>
                  <a:lnTo>
                    <a:pt x="0" y="60477"/>
                  </a:lnTo>
                  <a:lnTo>
                    <a:pt x="12560" y="60477"/>
                  </a:lnTo>
                  <a:lnTo>
                    <a:pt x="24316" y="58099"/>
                  </a:lnTo>
                  <a:lnTo>
                    <a:pt x="33934" y="51617"/>
                  </a:lnTo>
                  <a:lnTo>
                    <a:pt x="40428" y="42009"/>
                  </a:lnTo>
                  <a:lnTo>
                    <a:pt x="42811" y="30251"/>
                  </a:lnTo>
                  <a:lnTo>
                    <a:pt x="40428" y="18489"/>
                  </a:lnTo>
                  <a:lnTo>
                    <a:pt x="33934" y="8872"/>
                  </a:lnTo>
                  <a:lnTo>
                    <a:pt x="24316" y="2381"/>
                  </a:lnTo>
                  <a:lnTo>
                    <a:pt x="12560" y="0"/>
                  </a:lnTo>
                  <a:close/>
                </a:path>
              </a:pathLst>
            </a:custGeom>
            <a:solidFill>
              <a:srgbClr val="919396"/>
            </a:solidFill>
          </p:spPr>
          <p:txBody>
            <a:bodyPr wrap="square" lIns="0" tIns="0" rIns="0" bIns="0" rtlCol="0"/>
            <a:lstStyle/>
            <a:p>
              <a:endParaRPr/>
            </a:p>
          </p:txBody>
        </p:sp>
        <p:sp>
          <p:nvSpPr>
            <p:cNvPr id="131" name="bk object 43"/>
            <p:cNvSpPr/>
            <p:nvPr userDrawn="1"/>
          </p:nvSpPr>
          <p:spPr>
            <a:xfrm>
              <a:off x="5800693" y="4799323"/>
              <a:ext cx="43180" cy="60960"/>
            </a:xfrm>
            <a:custGeom>
              <a:avLst/>
              <a:gdLst/>
              <a:ahLst/>
              <a:cxnLst/>
              <a:rect l="l" t="t" r="r" b="b"/>
              <a:pathLst>
                <a:path w="43179" h="60960">
                  <a:moveTo>
                    <a:pt x="12534" y="0"/>
                  </a:moveTo>
                  <a:lnTo>
                    <a:pt x="0" y="0"/>
                  </a:lnTo>
                  <a:lnTo>
                    <a:pt x="0" y="11061"/>
                  </a:lnTo>
                  <a:lnTo>
                    <a:pt x="12534" y="11061"/>
                  </a:lnTo>
                  <a:lnTo>
                    <a:pt x="19996" y="12572"/>
                  </a:lnTo>
                  <a:lnTo>
                    <a:pt x="26096" y="16689"/>
                  </a:lnTo>
                  <a:lnTo>
                    <a:pt x="30213" y="22789"/>
                  </a:lnTo>
                  <a:lnTo>
                    <a:pt x="31724" y="30251"/>
                  </a:lnTo>
                  <a:lnTo>
                    <a:pt x="30213" y="37708"/>
                  </a:lnTo>
                  <a:lnTo>
                    <a:pt x="26096" y="43800"/>
                  </a:lnTo>
                  <a:lnTo>
                    <a:pt x="19996" y="47908"/>
                  </a:lnTo>
                  <a:lnTo>
                    <a:pt x="12534" y="49415"/>
                  </a:lnTo>
                  <a:lnTo>
                    <a:pt x="0" y="49415"/>
                  </a:lnTo>
                  <a:lnTo>
                    <a:pt x="0" y="60477"/>
                  </a:lnTo>
                  <a:lnTo>
                    <a:pt x="12534" y="60477"/>
                  </a:lnTo>
                  <a:lnTo>
                    <a:pt x="24296" y="58099"/>
                  </a:lnTo>
                  <a:lnTo>
                    <a:pt x="33913" y="51617"/>
                  </a:lnTo>
                  <a:lnTo>
                    <a:pt x="40404" y="42009"/>
                  </a:lnTo>
                  <a:lnTo>
                    <a:pt x="42786" y="30251"/>
                  </a:lnTo>
                  <a:lnTo>
                    <a:pt x="40404" y="18489"/>
                  </a:lnTo>
                  <a:lnTo>
                    <a:pt x="33913" y="8872"/>
                  </a:lnTo>
                  <a:lnTo>
                    <a:pt x="24296" y="2381"/>
                  </a:lnTo>
                  <a:lnTo>
                    <a:pt x="12534" y="0"/>
                  </a:lnTo>
                  <a:close/>
                </a:path>
              </a:pathLst>
            </a:custGeom>
            <a:solidFill>
              <a:srgbClr val="919396"/>
            </a:solidFill>
          </p:spPr>
          <p:txBody>
            <a:bodyPr wrap="square" lIns="0" tIns="0" rIns="0" bIns="0" rtlCol="0"/>
            <a:lstStyle/>
            <a:p>
              <a:endParaRPr/>
            </a:p>
          </p:txBody>
        </p:sp>
        <p:sp>
          <p:nvSpPr>
            <p:cNvPr id="132" name="bk object 44"/>
            <p:cNvSpPr/>
            <p:nvPr userDrawn="1"/>
          </p:nvSpPr>
          <p:spPr>
            <a:xfrm>
              <a:off x="6191299" y="4799323"/>
              <a:ext cx="43180" cy="60960"/>
            </a:xfrm>
            <a:custGeom>
              <a:avLst/>
              <a:gdLst/>
              <a:ahLst/>
              <a:cxnLst/>
              <a:rect l="l" t="t" r="r" b="b"/>
              <a:pathLst>
                <a:path w="43179" h="60960">
                  <a:moveTo>
                    <a:pt x="12534" y="0"/>
                  </a:moveTo>
                  <a:lnTo>
                    <a:pt x="0" y="0"/>
                  </a:lnTo>
                  <a:lnTo>
                    <a:pt x="0" y="11061"/>
                  </a:lnTo>
                  <a:lnTo>
                    <a:pt x="12534" y="11061"/>
                  </a:lnTo>
                  <a:lnTo>
                    <a:pt x="20001" y="12572"/>
                  </a:lnTo>
                  <a:lnTo>
                    <a:pt x="26101" y="16689"/>
                  </a:lnTo>
                  <a:lnTo>
                    <a:pt x="30215" y="22789"/>
                  </a:lnTo>
                  <a:lnTo>
                    <a:pt x="31724" y="30251"/>
                  </a:lnTo>
                  <a:lnTo>
                    <a:pt x="30215" y="37708"/>
                  </a:lnTo>
                  <a:lnTo>
                    <a:pt x="26101" y="43800"/>
                  </a:lnTo>
                  <a:lnTo>
                    <a:pt x="20001" y="47908"/>
                  </a:lnTo>
                  <a:lnTo>
                    <a:pt x="12534" y="49415"/>
                  </a:lnTo>
                  <a:lnTo>
                    <a:pt x="0" y="49415"/>
                  </a:lnTo>
                  <a:lnTo>
                    <a:pt x="0" y="60477"/>
                  </a:lnTo>
                  <a:lnTo>
                    <a:pt x="12534" y="60477"/>
                  </a:lnTo>
                  <a:lnTo>
                    <a:pt x="24296" y="58099"/>
                  </a:lnTo>
                  <a:lnTo>
                    <a:pt x="33913" y="51617"/>
                  </a:lnTo>
                  <a:lnTo>
                    <a:pt x="40404" y="42009"/>
                  </a:lnTo>
                  <a:lnTo>
                    <a:pt x="42786" y="30251"/>
                  </a:lnTo>
                  <a:lnTo>
                    <a:pt x="40404" y="18489"/>
                  </a:lnTo>
                  <a:lnTo>
                    <a:pt x="33913" y="8872"/>
                  </a:lnTo>
                  <a:lnTo>
                    <a:pt x="24296" y="2381"/>
                  </a:lnTo>
                  <a:lnTo>
                    <a:pt x="12534" y="0"/>
                  </a:lnTo>
                  <a:close/>
                </a:path>
              </a:pathLst>
            </a:custGeom>
            <a:solidFill>
              <a:srgbClr val="919396"/>
            </a:solidFill>
          </p:spPr>
          <p:txBody>
            <a:bodyPr wrap="square" lIns="0" tIns="0" rIns="0" bIns="0" rtlCol="0"/>
            <a:lstStyle/>
            <a:p>
              <a:endParaRPr/>
            </a:p>
          </p:txBody>
        </p:sp>
      </p:grpSp>
      <p:sp>
        <p:nvSpPr>
          <p:cNvPr id="92" name="Текст 5"/>
          <p:cNvSpPr>
            <a:spLocks noGrp="1"/>
          </p:cNvSpPr>
          <p:nvPr>
            <p:ph type="body" sz="quarter" idx="10" hasCustomPrompt="1"/>
          </p:nvPr>
        </p:nvSpPr>
        <p:spPr>
          <a:xfrm>
            <a:off x="631441" y="3875681"/>
            <a:ext cx="7988684" cy="373156"/>
          </a:xfrm>
          <a:prstGeom prst="rect">
            <a:avLst/>
          </a:prstGeom>
        </p:spPr>
        <p:txBody>
          <a:bodyPr/>
          <a:lstStyle>
            <a:lvl1pPr marL="0" marR="0" indent="0" algn="l" defTabSz="1007943" rtl="0" eaLnBrk="1" fontAlgn="auto" latinLnBrk="0" hangingPunct="1">
              <a:lnSpc>
                <a:spcPct val="90000"/>
              </a:lnSpc>
              <a:spcBef>
                <a:spcPts val="1102"/>
              </a:spcBef>
              <a:spcAft>
                <a:spcPts val="0"/>
              </a:spcAft>
              <a:buClrTx/>
              <a:buSzTx/>
              <a:buFont typeface="Arial" panose="020B0604020202020204" pitchFamily="34" charset="0"/>
              <a:buNone/>
              <a:tabLst/>
              <a:defRPr sz="2000" baseline="0">
                <a:solidFill>
                  <a:schemeClr val="bg2">
                    <a:lumMod val="50000"/>
                  </a:schemeClr>
                </a:solidFill>
              </a:defRPr>
            </a:lvl1pPr>
          </a:lstStyle>
          <a:p>
            <a:pPr marL="0" marR="0" lvl="0" indent="0" algn="l" defTabSz="1007943" rtl="0" eaLnBrk="1" fontAlgn="auto" latinLnBrk="0" hangingPunct="1">
              <a:lnSpc>
                <a:spcPct val="90000"/>
              </a:lnSpc>
              <a:spcBef>
                <a:spcPts val="1102"/>
              </a:spcBef>
              <a:spcAft>
                <a:spcPts val="0"/>
              </a:spcAft>
              <a:buClrTx/>
              <a:buSzTx/>
              <a:buFont typeface="Arial" panose="020B0604020202020204" pitchFamily="34" charset="0"/>
              <a:buNone/>
              <a:tabLst/>
              <a:defRPr/>
            </a:pPr>
            <a:r>
              <a:rPr lang="uk-UA"/>
              <a:t>Підзаголовок слайда</a:t>
            </a:r>
            <a:endParaRPr lang="ru-RU"/>
          </a:p>
        </p:txBody>
      </p:sp>
      <p:pic>
        <p:nvPicPr>
          <p:cNvPr id="5" name="Рисунок 3">
            <a:extLst>
              <a:ext uri="{FF2B5EF4-FFF2-40B4-BE49-F238E27FC236}">
                <a16:creationId xmlns:a16="http://schemas.microsoft.com/office/drawing/2014/main" id="{E806BA94-1F25-17BB-7D4F-B6B055D38EA1}"/>
              </a:ext>
            </a:extLst>
          </p:cNvPr>
          <p:cNvPicPr>
            <a:picLocks noChangeAspect="1"/>
          </p:cNvPicPr>
          <p:nvPr userDrawn="1"/>
        </p:nvPicPr>
        <p:blipFill>
          <a:blip r:embed="rId7"/>
          <a:stretch>
            <a:fillRect/>
          </a:stretch>
        </p:blipFill>
        <p:spPr>
          <a:xfrm>
            <a:off x="9199418" y="6479674"/>
            <a:ext cx="3148719" cy="1080000"/>
          </a:xfrm>
          <a:prstGeom prst="rect">
            <a:avLst/>
          </a:prstGeom>
        </p:spPr>
      </p:pic>
    </p:spTree>
    <p:extLst>
      <p:ext uri="{BB962C8B-B14F-4D97-AF65-F5344CB8AC3E}">
        <p14:creationId xmlns:p14="http://schemas.microsoft.com/office/powerpoint/2010/main" val="4055427278"/>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image" Target="../media/image1.png"/><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theme" Target="../theme/theme2.xml"/><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slideLayout" Target="../slideLayouts/slideLayout9.xml"/><Relationship Id="rId5" Type="http://schemas.openxmlformats.org/officeDocument/2006/relationships/slideLayout" Target="../slideLayouts/slideLayout8.xml"/><Relationship Id="rId4" Type="http://schemas.openxmlformats.org/officeDocument/2006/relationships/slideLayout" Target="../slideLayouts/slideLayout7.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22.xml"/><Relationship Id="rId18" Type="http://schemas.openxmlformats.org/officeDocument/2006/relationships/slideLayout" Target="../slideLayouts/slideLayout27.xml"/><Relationship Id="rId26" Type="http://schemas.openxmlformats.org/officeDocument/2006/relationships/slideLayout" Target="../slideLayouts/slideLayout35.xml"/><Relationship Id="rId39" Type="http://schemas.openxmlformats.org/officeDocument/2006/relationships/slideLayout" Target="../slideLayouts/slideLayout48.xml"/><Relationship Id="rId21" Type="http://schemas.openxmlformats.org/officeDocument/2006/relationships/slideLayout" Target="../slideLayouts/slideLayout30.xml"/><Relationship Id="rId34" Type="http://schemas.openxmlformats.org/officeDocument/2006/relationships/slideLayout" Target="../slideLayouts/slideLayout43.xml"/><Relationship Id="rId42" Type="http://schemas.openxmlformats.org/officeDocument/2006/relationships/slideLayout" Target="../slideLayouts/slideLayout51.xml"/><Relationship Id="rId47" Type="http://schemas.openxmlformats.org/officeDocument/2006/relationships/tags" Target="../tags/tag8.xml"/><Relationship Id="rId7" Type="http://schemas.openxmlformats.org/officeDocument/2006/relationships/slideLayout" Target="../slideLayouts/slideLayout16.xml"/><Relationship Id="rId2" Type="http://schemas.openxmlformats.org/officeDocument/2006/relationships/slideLayout" Target="../slideLayouts/slideLayout11.xml"/><Relationship Id="rId16" Type="http://schemas.openxmlformats.org/officeDocument/2006/relationships/slideLayout" Target="../slideLayouts/slideLayout25.xml"/><Relationship Id="rId29" Type="http://schemas.openxmlformats.org/officeDocument/2006/relationships/slideLayout" Target="../slideLayouts/slideLayout38.xml"/><Relationship Id="rId11" Type="http://schemas.openxmlformats.org/officeDocument/2006/relationships/slideLayout" Target="../slideLayouts/slideLayout20.xml"/><Relationship Id="rId24" Type="http://schemas.openxmlformats.org/officeDocument/2006/relationships/slideLayout" Target="../slideLayouts/slideLayout33.xml"/><Relationship Id="rId32" Type="http://schemas.openxmlformats.org/officeDocument/2006/relationships/slideLayout" Target="../slideLayouts/slideLayout41.xml"/><Relationship Id="rId37" Type="http://schemas.openxmlformats.org/officeDocument/2006/relationships/slideLayout" Target="../slideLayouts/slideLayout46.xml"/><Relationship Id="rId40" Type="http://schemas.openxmlformats.org/officeDocument/2006/relationships/slideLayout" Target="../slideLayouts/slideLayout49.xml"/><Relationship Id="rId45" Type="http://schemas.openxmlformats.org/officeDocument/2006/relationships/slideLayout" Target="../slideLayouts/slideLayout54.xml"/><Relationship Id="rId5" Type="http://schemas.openxmlformats.org/officeDocument/2006/relationships/slideLayout" Target="../slideLayouts/slideLayout14.xml"/><Relationship Id="rId15" Type="http://schemas.openxmlformats.org/officeDocument/2006/relationships/slideLayout" Target="../slideLayouts/slideLayout24.xml"/><Relationship Id="rId23" Type="http://schemas.openxmlformats.org/officeDocument/2006/relationships/slideLayout" Target="../slideLayouts/slideLayout32.xml"/><Relationship Id="rId28" Type="http://schemas.openxmlformats.org/officeDocument/2006/relationships/slideLayout" Target="../slideLayouts/slideLayout37.xml"/><Relationship Id="rId36" Type="http://schemas.openxmlformats.org/officeDocument/2006/relationships/slideLayout" Target="../slideLayouts/slideLayout45.xml"/><Relationship Id="rId49" Type="http://schemas.openxmlformats.org/officeDocument/2006/relationships/image" Target="../media/image8.emf"/><Relationship Id="rId10" Type="http://schemas.openxmlformats.org/officeDocument/2006/relationships/slideLayout" Target="../slideLayouts/slideLayout19.xml"/><Relationship Id="rId19" Type="http://schemas.openxmlformats.org/officeDocument/2006/relationships/slideLayout" Target="../slideLayouts/slideLayout28.xml"/><Relationship Id="rId31" Type="http://schemas.openxmlformats.org/officeDocument/2006/relationships/slideLayout" Target="../slideLayouts/slideLayout40.xml"/><Relationship Id="rId44" Type="http://schemas.openxmlformats.org/officeDocument/2006/relationships/slideLayout" Target="../slideLayouts/slideLayout53.xml"/><Relationship Id="rId4" Type="http://schemas.openxmlformats.org/officeDocument/2006/relationships/slideLayout" Target="../slideLayouts/slideLayout13.xml"/><Relationship Id="rId9" Type="http://schemas.openxmlformats.org/officeDocument/2006/relationships/slideLayout" Target="../slideLayouts/slideLayout18.xml"/><Relationship Id="rId14" Type="http://schemas.openxmlformats.org/officeDocument/2006/relationships/slideLayout" Target="../slideLayouts/slideLayout23.xml"/><Relationship Id="rId22" Type="http://schemas.openxmlformats.org/officeDocument/2006/relationships/slideLayout" Target="../slideLayouts/slideLayout31.xml"/><Relationship Id="rId27" Type="http://schemas.openxmlformats.org/officeDocument/2006/relationships/slideLayout" Target="../slideLayouts/slideLayout36.xml"/><Relationship Id="rId30" Type="http://schemas.openxmlformats.org/officeDocument/2006/relationships/slideLayout" Target="../slideLayouts/slideLayout39.xml"/><Relationship Id="rId35" Type="http://schemas.openxmlformats.org/officeDocument/2006/relationships/slideLayout" Target="../slideLayouts/slideLayout44.xml"/><Relationship Id="rId43" Type="http://schemas.openxmlformats.org/officeDocument/2006/relationships/slideLayout" Target="../slideLayouts/slideLayout52.xml"/><Relationship Id="rId48" Type="http://schemas.openxmlformats.org/officeDocument/2006/relationships/oleObject" Target="../embeddings/oleObject3.bin"/><Relationship Id="rId8" Type="http://schemas.openxmlformats.org/officeDocument/2006/relationships/slideLayout" Target="../slideLayouts/slideLayout17.xml"/><Relationship Id="rId3" Type="http://schemas.openxmlformats.org/officeDocument/2006/relationships/slideLayout" Target="../slideLayouts/slideLayout12.xml"/><Relationship Id="rId12" Type="http://schemas.openxmlformats.org/officeDocument/2006/relationships/slideLayout" Target="../slideLayouts/slideLayout21.xml"/><Relationship Id="rId17" Type="http://schemas.openxmlformats.org/officeDocument/2006/relationships/slideLayout" Target="../slideLayouts/slideLayout26.xml"/><Relationship Id="rId25" Type="http://schemas.openxmlformats.org/officeDocument/2006/relationships/slideLayout" Target="../slideLayouts/slideLayout34.xml"/><Relationship Id="rId33" Type="http://schemas.openxmlformats.org/officeDocument/2006/relationships/slideLayout" Target="../slideLayouts/slideLayout42.xml"/><Relationship Id="rId38" Type="http://schemas.openxmlformats.org/officeDocument/2006/relationships/slideLayout" Target="../slideLayouts/slideLayout47.xml"/><Relationship Id="rId46" Type="http://schemas.openxmlformats.org/officeDocument/2006/relationships/theme" Target="../theme/theme3.xml"/><Relationship Id="rId20" Type="http://schemas.openxmlformats.org/officeDocument/2006/relationships/slideLayout" Target="../slideLayouts/slideLayout29.xml"/><Relationship Id="rId41" Type="http://schemas.openxmlformats.org/officeDocument/2006/relationships/slideLayout" Target="../slideLayouts/slideLayout50.xml"/><Relationship Id="rId1" Type="http://schemas.openxmlformats.org/officeDocument/2006/relationships/slideLayout" Target="../slideLayouts/slideLayout10.xml"/><Relationship Id="rId6" Type="http://schemas.openxmlformats.org/officeDocument/2006/relationships/slideLayout" Target="../slideLayouts/slideLayout1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2.xml"/><Relationship Id="rId13" Type="http://schemas.openxmlformats.org/officeDocument/2006/relationships/tags" Target="../tags/tag19.xml"/><Relationship Id="rId3" Type="http://schemas.openxmlformats.org/officeDocument/2006/relationships/slideLayout" Target="../slideLayouts/slideLayout57.xml"/><Relationship Id="rId7" Type="http://schemas.openxmlformats.org/officeDocument/2006/relationships/slideLayout" Target="../slideLayouts/slideLayout61.xml"/><Relationship Id="rId12" Type="http://schemas.openxmlformats.org/officeDocument/2006/relationships/theme" Target="../theme/theme4.xml"/><Relationship Id="rId2" Type="http://schemas.openxmlformats.org/officeDocument/2006/relationships/slideLayout" Target="../slideLayouts/slideLayout56.xml"/><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slideLayout" Target="../slideLayouts/slideLayout65.xml"/><Relationship Id="rId5" Type="http://schemas.openxmlformats.org/officeDocument/2006/relationships/slideLayout" Target="../slideLayouts/slideLayout59.xml"/><Relationship Id="rId15" Type="http://schemas.openxmlformats.org/officeDocument/2006/relationships/image" Target="../media/image8.emf"/><Relationship Id="rId10" Type="http://schemas.openxmlformats.org/officeDocument/2006/relationships/slideLayout" Target="../slideLayouts/slideLayout64.xml"/><Relationship Id="rId4" Type="http://schemas.openxmlformats.org/officeDocument/2006/relationships/slideLayout" Target="../slideLayouts/slideLayout58.xml"/><Relationship Id="rId9" Type="http://schemas.openxmlformats.org/officeDocument/2006/relationships/slideLayout" Target="../slideLayouts/slideLayout63.xml"/><Relationship Id="rId14" Type="http://schemas.openxmlformats.org/officeDocument/2006/relationships/oleObject" Target="../embeddings/oleObject3.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7" name="Прямоугольник 6"/>
          <p:cNvSpPr/>
          <p:nvPr userDrawn="1"/>
        </p:nvSpPr>
        <p:spPr>
          <a:xfrm>
            <a:off x="12473609" y="7163300"/>
            <a:ext cx="450764" cy="363176"/>
          </a:xfrm>
          <a:prstGeom prst="rect">
            <a:avLst/>
          </a:prstGeom>
        </p:spPr>
        <p:txBody>
          <a:bodyPr wrap="none">
            <a:spAutoFit/>
          </a:bodyPr>
          <a:lstStyle/>
          <a:p>
            <a:fld id="{D2AB4A33-C29B-46DB-B7DE-3F7E22048103}" type="slidenum">
              <a:rPr lang="en-US" sz="1760" smtClean="0">
                <a:solidFill>
                  <a:prstClr val="black">
                    <a:tint val="75000"/>
                  </a:prstClr>
                </a:solidFill>
              </a:rPr>
              <a:pPr/>
              <a:t>‹№›</a:t>
            </a:fld>
            <a:endParaRPr lang="en-US" sz="1760">
              <a:solidFill>
                <a:prstClr val="black">
                  <a:tint val="75000"/>
                </a:prstClr>
              </a:solidFill>
            </a:endParaRPr>
          </a:p>
        </p:txBody>
      </p:sp>
      <p:sp>
        <p:nvSpPr>
          <p:cNvPr id="10" name="Title 9"/>
          <p:cNvSpPr txBox="1">
            <a:spLocks/>
          </p:cNvSpPr>
          <p:nvPr userDrawn="1"/>
        </p:nvSpPr>
        <p:spPr>
          <a:xfrm>
            <a:off x="707137" y="441550"/>
            <a:ext cx="10649824" cy="415146"/>
          </a:xfrm>
          <a:prstGeom prst="rect">
            <a:avLst/>
          </a:prstGeom>
        </p:spPr>
        <p:txBody>
          <a:bodyPr>
            <a:noAutofit/>
          </a:bodyPr>
          <a:lstStyle>
            <a:lvl1pPr algn="l" defTabSz="1007943" rtl="0" eaLnBrk="1" latinLnBrk="0" hangingPunct="1">
              <a:lnSpc>
                <a:spcPct val="90000"/>
              </a:lnSpc>
              <a:spcBef>
                <a:spcPct val="0"/>
              </a:spcBef>
              <a:buNone/>
              <a:defRPr sz="2600" b="1" kern="1200">
                <a:solidFill>
                  <a:srgbClr val="000000"/>
                </a:solidFill>
                <a:latin typeface="+mj-lt"/>
                <a:ea typeface="+mj-ea"/>
                <a:cs typeface="+mj-cs"/>
              </a:defRPr>
            </a:lvl1pPr>
          </a:lstStyle>
          <a:p>
            <a:endParaRPr lang="ru-RU" sz="3268"/>
          </a:p>
        </p:txBody>
      </p:sp>
    </p:spTree>
    <p:extLst>
      <p:ext uri="{BB962C8B-B14F-4D97-AF65-F5344CB8AC3E}">
        <p14:creationId xmlns:p14="http://schemas.microsoft.com/office/powerpoint/2010/main" val="3954287319"/>
      </p:ext>
    </p:extLst>
  </p:cSld>
  <p:clrMap bg1="lt1" tx1="dk1" bg2="lt2" tx2="dk2" accent1="accent1" accent2="accent2" accent3="accent3" accent4="accent4" accent5="accent5" accent6="accent6" hlink="hlink" folHlink="folHlink"/>
  <p:sldLayoutIdLst>
    <p:sldLayoutId id="2147484338" r:id="rId1"/>
    <p:sldLayoutId id="2147484339" r:id="rId2"/>
    <p:sldLayoutId id="2147484340" r:id="rId3"/>
  </p:sldLayoutIdLst>
  <p:hf hdr="0" ftr="0" dt="0"/>
  <p:txStyles>
    <p:titleStyle>
      <a:lvl1pPr algn="l" defTabSz="1007943" rtl="0" eaLnBrk="1" latinLnBrk="0" hangingPunct="1">
        <a:lnSpc>
          <a:spcPct val="90000"/>
        </a:lnSpc>
        <a:spcBef>
          <a:spcPct val="0"/>
        </a:spcBef>
        <a:buNone/>
        <a:defRPr sz="4850" kern="1200">
          <a:solidFill>
            <a:schemeClr val="tx1"/>
          </a:solidFill>
          <a:latin typeface="+mj-lt"/>
          <a:ea typeface="+mj-ea"/>
          <a:cs typeface="+mj-cs"/>
        </a:defRPr>
      </a:lvl1pPr>
    </p:titleStyle>
    <p:bodyStyle>
      <a:lvl1pPr marL="251986" indent="-251986" algn="l" defTabSz="1007943" rtl="0" eaLnBrk="1" latinLnBrk="0" hangingPunct="1">
        <a:lnSpc>
          <a:spcPct val="90000"/>
        </a:lnSpc>
        <a:spcBef>
          <a:spcPts val="1102"/>
        </a:spcBef>
        <a:buFont typeface="Arial" panose="020B0604020202020204" pitchFamily="34" charset="0"/>
        <a:buChar char="•"/>
        <a:defRPr sz="3086" kern="1200">
          <a:solidFill>
            <a:schemeClr val="tx1"/>
          </a:solidFill>
          <a:latin typeface="+mn-lt"/>
          <a:ea typeface="+mn-ea"/>
          <a:cs typeface="+mn-cs"/>
        </a:defRPr>
      </a:lvl1pPr>
      <a:lvl2pPr marL="755957" indent="-251986" algn="l" defTabSz="1007943" rtl="0" eaLnBrk="1" latinLnBrk="0" hangingPunct="1">
        <a:lnSpc>
          <a:spcPct val="90000"/>
        </a:lnSpc>
        <a:spcBef>
          <a:spcPts val="551"/>
        </a:spcBef>
        <a:buFont typeface="Arial" panose="020B0604020202020204" pitchFamily="34" charset="0"/>
        <a:buChar char="•"/>
        <a:defRPr sz="2646" kern="1200">
          <a:solidFill>
            <a:schemeClr val="tx1"/>
          </a:solidFill>
          <a:latin typeface="+mn-lt"/>
          <a:ea typeface="+mn-ea"/>
          <a:cs typeface="+mn-cs"/>
        </a:defRPr>
      </a:lvl2pPr>
      <a:lvl3pPr marL="1259929" indent="-251986" algn="l" defTabSz="1007943" rtl="0" eaLnBrk="1" latinLnBrk="0" hangingPunct="1">
        <a:lnSpc>
          <a:spcPct val="90000"/>
        </a:lnSpc>
        <a:spcBef>
          <a:spcPts val="551"/>
        </a:spcBef>
        <a:buFont typeface="Arial" panose="020B0604020202020204" pitchFamily="34" charset="0"/>
        <a:buChar char="•"/>
        <a:defRPr sz="2205" kern="1200">
          <a:solidFill>
            <a:schemeClr val="tx1"/>
          </a:solidFill>
          <a:latin typeface="+mn-lt"/>
          <a:ea typeface="+mn-ea"/>
          <a:cs typeface="+mn-cs"/>
        </a:defRPr>
      </a:lvl3pPr>
      <a:lvl4pPr marL="1763900" indent="-251986" algn="l" defTabSz="1007943"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4pPr>
      <a:lvl5pPr marL="2267872" indent="-251986" algn="l" defTabSz="1007943"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5pPr>
      <a:lvl6pPr marL="2771844" indent="-251986" algn="l" defTabSz="1007943"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6pPr>
      <a:lvl7pPr marL="3275815" indent="-251986" algn="l" defTabSz="1007943"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7pPr>
      <a:lvl8pPr marL="3779787" indent="-251986" algn="l" defTabSz="1007943"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8pPr>
      <a:lvl9pPr marL="4283758" indent="-251986" algn="l" defTabSz="1007943"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9pPr>
    </p:bodyStyle>
    <p:otherStyle>
      <a:defPPr>
        <a:defRPr lang="en-US"/>
      </a:defPPr>
      <a:lvl1pPr marL="0" algn="l" defTabSz="1007943" rtl="0" eaLnBrk="1" latinLnBrk="0" hangingPunct="1">
        <a:defRPr sz="1984" kern="1200">
          <a:solidFill>
            <a:schemeClr val="tx1"/>
          </a:solidFill>
          <a:latin typeface="+mn-lt"/>
          <a:ea typeface="+mn-ea"/>
          <a:cs typeface="+mn-cs"/>
        </a:defRPr>
      </a:lvl1pPr>
      <a:lvl2pPr marL="503972" algn="l" defTabSz="1007943" rtl="0" eaLnBrk="1" latinLnBrk="0" hangingPunct="1">
        <a:defRPr sz="1984" kern="1200">
          <a:solidFill>
            <a:schemeClr val="tx1"/>
          </a:solidFill>
          <a:latin typeface="+mn-lt"/>
          <a:ea typeface="+mn-ea"/>
          <a:cs typeface="+mn-cs"/>
        </a:defRPr>
      </a:lvl2pPr>
      <a:lvl3pPr marL="1007943" algn="l" defTabSz="1007943" rtl="0" eaLnBrk="1" latinLnBrk="0" hangingPunct="1">
        <a:defRPr sz="1984" kern="1200">
          <a:solidFill>
            <a:schemeClr val="tx1"/>
          </a:solidFill>
          <a:latin typeface="+mn-lt"/>
          <a:ea typeface="+mn-ea"/>
          <a:cs typeface="+mn-cs"/>
        </a:defRPr>
      </a:lvl3pPr>
      <a:lvl4pPr marL="1511915" algn="l" defTabSz="1007943" rtl="0" eaLnBrk="1" latinLnBrk="0" hangingPunct="1">
        <a:defRPr sz="1984" kern="1200">
          <a:solidFill>
            <a:schemeClr val="tx1"/>
          </a:solidFill>
          <a:latin typeface="+mn-lt"/>
          <a:ea typeface="+mn-ea"/>
          <a:cs typeface="+mn-cs"/>
        </a:defRPr>
      </a:lvl4pPr>
      <a:lvl5pPr marL="2015886" algn="l" defTabSz="1007943" rtl="0" eaLnBrk="1" latinLnBrk="0" hangingPunct="1">
        <a:defRPr sz="1984" kern="1200">
          <a:solidFill>
            <a:schemeClr val="tx1"/>
          </a:solidFill>
          <a:latin typeface="+mn-lt"/>
          <a:ea typeface="+mn-ea"/>
          <a:cs typeface="+mn-cs"/>
        </a:defRPr>
      </a:lvl5pPr>
      <a:lvl6pPr marL="2519858" algn="l" defTabSz="1007943" rtl="0" eaLnBrk="1" latinLnBrk="0" hangingPunct="1">
        <a:defRPr sz="1984" kern="1200">
          <a:solidFill>
            <a:schemeClr val="tx1"/>
          </a:solidFill>
          <a:latin typeface="+mn-lt"/>
          <a:ea typeface="+mn-ea"/>
          <a:cs typeface="+mn-cs"/>
        </a:defRPr>
      </a:lvl6pPr>
      <a:lvl7pPr marL="3023829" algn="l" defTabSz="1007943" rtl="0" eaLnBrk="1" latinLnBrk="0" hangingPunct="1">
        <a:defRPr sz="1984" kern="1200">
          <a:solidFill>
            <a:schemeClr val="tx1"/>
          </a:solidFill>
          <a:latin typeface="+mn-lt"/>
          <a:ea typeface="+mn-ea"/>
          <a:cs typeface="+mn-cs"/>
        </a:defRPr>
      </a:lvl7pPr>
      <a:lvl8pPr marL="3527801" algn="l" defTabSz="1007943" rtl="0" eaLnBrk="1" latinLnBrk="0" hangingPunct="1">
        <a:defRPr sz="1984" kern="1200">
          <a:solidFill>
            <a:schemeClr val="tx1"/>
          </a:solidFill>
          <a:latin typeface="+mn-lt"/>
          <a:ea typeface="+mn-ea"/>
          <a:cs typeface="+mn-cs"/>
        </a:defRPr>
      </a:lvl8pPr>
      <a:lvl9pPr marL="4031772" algn="l" defTabSz="1007943" rtl="0" eaLnBrk="1" latinLnBrk="0" hangingPunct="1">
        <a:defRPr sz="1984"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381" userDrawn="1">
          <p15:clr>
            <a:srgbClr val="F26B43"/>
          </p15:clr>
        </p15:guide>
        <p15:guide id="2" pos="423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
        <p:cNvGrpSpPr/>
        <p:nvPr/>
      </p:nvGrpSpPr>
      <p:grpSpPr>
        <a:xfrm>
          <a:off x="0" y="0"/>
          <a:ext cx="0" cy="0"/>
          <a:chOff x="0" y="0"/>
          <a:chExt cx="0" cy="0"/>
        </a:xfrm>
      </p:grpSpPr>
      <p:sp>
        <p:nvSpPr>
          <p:cNvPr id="6" name="Google Shape;6;p1"/>
          <p:cNvSpPr txBox="1">
            <a:spLocks noGrp="1"/>
          </p:cNvSpPr>
          <p:nvPr>
            <p:ph type="title"/>
          </p:nvPr>
        </p:nvSpPr>
        <p:spPr>
          <a:xfrm>
            <a:off x="458134" y="654077"/>
            <a:ext cx="12523507" cy="841728"/>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dk1"/>
              </a:buClr>
              <a:buSzPts val="2800"/>
              <a:buFont typeface="Livvic"/>
              <a:buNone/>
              <a:defRPr sz="2800" b="1">
                <a:solidFill>
                  <a:schemeClr val="dk1"/>
                </a:solidFill>
                <a:latin typeface="Livvic"/>
                <a:ea typeface="Livvic"/>
                <a:cs typeface="Livvic"/>
                <a:sym typeface="Livvic"/>
              </a:defRPr>
            </a:lvl1pPr>
            <a:lvl2pPr lvl="1" rtl="0">
              <a:spcBef>
                <a:spcPts val="0"/>
              </a:spcBef>
              <a:spcAft>
                <a:spcPts val="0"/>
              </a:spcAft>
              <a:buClr>
                <a:schemeClr val="dk1"/>
              </a:buClr>
              <a:buSzPts val="2800"/>
              <a:buFont typeface="Livvic"/>
              <a:buNone/>
              <a:defRPr sz="2800" b="1">
                <a:solidFill>
                  <a:schemeClr val="dk1"/>
                </a:solidFill>
                <a:latin typeface="Livvic"/>
                <a:ea typeface="Livvic"/>
                <a:cs typeface="Livvic"/>
                <a:sym typeface="Livvic"/>
              </a:defRPr>
            </a:lvl2pPr>
            <a:lvl3pPr lvl="2" rtl="0">
              <a:spcBef>
                <a:spcPts val="0"/>
              </a:spcBef>
              <a:spcAft>
                <a:spcPts val="0"/>
              </a:spcAft>
              <a:buClr>
                <a:schemeClr val="dk1"/>
              </a:buClr>
              <a:buSzPts val="2800"/>
              <a:buFont typeface="Livvic"/>
              <a:buNone/>
              <a:defRPr sz="2800" b="1">
                <a:solidFill>
                  <a:schemeClr val="dk1"/>
                </a:solidFill>
                <a:latin typeface="Livvic"/>
                <a:ea typeface="Livvic"/>
                <a:cs typeface="Livvic"/>
                <a:sym typeface="Livvic"/>
              </a:defRPr>
            </a:lvl3pPr>
            <a:lvl4pPr lvl="3" rtl="0">
              <a:spcBef>
                <a:spcPts val="0"/>
              </a:spcBef>
              <a:spcAft>
                <a:spcPts val="0"/>
              </a:spcAft>
              <a:buClr>
                <a:schemeClr val="dk1"/>
              </a:buClr>
              <a:buSzPts val="2800"/>
              <a:buFont typeface="Livvic"/>
              <a:buNone/>
              <a:defRPr sz="2800" b="1">
                <a:solidFill>
                  <a:schemeClr val="dk1"/>
                </a:solidFill>
                <a:latin typeface="Livvic"/>
                <a:ea typeface="Livvic"/>
                <a:cs typeface="Livvic"/>
                <a:sym typeface="Livvic"/>
              </a:defRPr>
            </a:lvl4pPr>
            <a:lvl5pPr lvl="4" rtl="0">
              <a:spcBef>
                <a:spcPts val="0"/>
              </a:spcBef>
              <a:spcAft>
                <a:spcPts val="0"/>
              </a:spcAft>
              <a:buClr>
                <a:schemeClr val="dk1"/>
              </a:buClr>
              <a:buSzPts val="2800"/>
              <a:buFont typeface="Livvic"/>
              <a:buNone/>
              <a:defRPr sz="2800" b="1">
                <a:solidFill>
                  <a:schemeClr val="dk1"/>
                </a:solidFill>
                <a:latin typeface="Livvic"/>
                <a:ea typeface="Livvic"/>
                <a:cs typeface="Livvic"/>
                <a:sym typeface="Livvic"/>
              </a:defRPr>
            </a:lvl5pPr>
            <a:lvl6pPr lvl="5" rtl="0">
              <a:spcBef>
                <a:spcPts val="0"/>
              </a:spcBef>
              <a:spcAft>
                <a:spcPts val="0"/>
              </a:spcAft>
              <a:buClr>
                <a:schemeClr val="dk1"/>
              </a:buClr>
              <a:buSzPts val="2800"/>
              <a:buFont typeface="Livvic"/>
              <a:buNone/>
              <a:defRPr sz="2800" b="1">
                <a:solidFill>
                  <a:schemeClr val="dk1"/>
                </a:solidFill>
                <a:latin typeface="Livvic"/>
                <a:ea typeface="Livvic"/>
                <a:cs typeface="Livvic"/>
                <a:sym typeface="Livvic"/>
              </a:defRPr>
            </a:lvl6pPr>
            <a:lvl7pPr lvl="6" rtl="0">
              <a:spcBef>
                <a:spcPts val="0"/>
              </a:spcBef>
              <a:spcAft>
                <a:spcPts val="0"/>
              </a:spcAft>
              <a:buClr>
                <a:schemeClr val="dk1"/>
              </a:buClr>
              <a:buSzPts val="2800"/>
              <a:buFont typeface="Livvic"/>
              <a:buNone/>
              <a:defRPr sz="2800" b="1">
                <a:solidFill>
                  <a:schemeClr val="dk1"/>
                </a:solidFill>
                <a:latin typeface="Livvic"/>
                <a:ea typeface="Livvic"/>
                <a:cs typeface="Livvic"/>
                <a:sym typeface="Livvic"/>
              </a:defRPr>
            </a:lvl7pPr>
            <a:lvl8pPr lvl="7" rtl="0">
              <a:spcBef>
                <a:spcPts val="0"/>
              </a:spcBef>
              <a:spcAft>
                <a:spcPts val="0"/>
              </a:spcAft>
              <a:buClr>
                <a:schemeClr val="dk1"/>
              </a:buClr>
              <a:buSzPts val="2800"/>
              <a:buFont typeface="Livvic"/>
              <a:buNone/>
              <a:defRPr sz="2800" b="1">
                <a:solidFill>
                  <a:schemeClr val="dk1"/>
                </a:solidFill>
                <a:latin typeface="Livvic"/>
                <a:ea typeface="Livvic"/>
                <a:cs typeface="Livvic"/>
                <a:sym typeface="Livvic"/>
              </a:defRPr>
            </a:lvl8pPr>
            <a:lvl9pPr lvl="8" rtl="0">
              <a:spcBef>
                <a:spcPts val="0"/>
              </a:spcBef>
              <a:spcAft>
                <a:spcPts val="0"/>
              </a:spcAft>
              <a:buClr>
                <a:schemeClr val="dk1"/>
              </a:buClr>
              <a:buSzPts val="2800"/>
              <a:buFont typeface="Livvic"/>
              <a:buNone/>
              <a:defRPr sz="2800" b="1">
                <a:solidFill>
                  <a:schemeClr val="dk1"/>
                </a:solidFill>
                <a:latin typeface="Livvic"/>
                <a:ea typeface="Livvic"/>
                <a:cs typeface="Livvic"/>
                <a:sym typeface="Livvic"/>
              </a:defRPr>
            </a:lvl9pPr>
          </a:lstStyle>
          <a:p>
            <a:endParaRPr/>
          </a:p>
        </p:txBody>
      </p:sp>
      <p:sp>
        <p:nvSpPr>
          <p:cNvPr id="7" name="Google Shape;7;p1"/>
          <p:cNvSpPr txBox="1">
            <a:spLocks noGrp="1"/>
          </p:cNvSpPr>
          <p:nvPr>
            <p:ph type="body" idx="1"/>
          </p:nvPr>
        </p:nvSpPr>
        <p:spPr>
          <a:xfrm>
            <a:off x="458134" y="1693854"/>
            <a:ext cx="12523507" cy="5021264"/>
          </a:xfrm>
          <a:prstGeom prst="rect">
            <a:avLst/>
          </a:prstGeom>
          <a:noFill/>
          <a:ln>
            <a:noFill/>
          </a:ln>
        </p:spPr>
        <p:txBody>
          <a:bodyPr spcFirstLastPara="1" wrap="square" lIns="91425" tIns="91425" rIns="91425" bIns="91425" anchor="t" anchorCtr="0">
            <a:noAutofit/>
          </a:bodyPr>
          <a:lstStyle>
            <a:lvl1pPr marL="457200" lvl="0" indent="-304800" rtl="0">
              <a:lnSpc>
                <a:spcPct val="115000"/>
              </a:lnSpc>
              <a:spcBef>
                <a:spcPts val="0"/>
              </a:spcBef>
              <a:spcAft>
                <a:spcPts val="0"/>
              </a:spcAft>
              <a:buClr>
                <a:schemeClr val="dk1"/>
              </a:buClr>
              <a:buSzPts val="1200"/>
              <a:buFont typeface="Catamaran Light"/>
              <a:buChar char="●"/>
              <a:defRPr sz="1200">
                <a:solidFill>
                  <a:schemeClr val="dk1"/>
                </a:solidFill>
                <a:latin typeface="Catamaran Light"/>
                <a:ea typeface="Catamaran Light"/>
                <a:cs typeface="Catamaran Light"/>
                <a:sym typeface="Catamaran Light"/>
              </a:defRPr>
            </a:lvl1pPr>
            <a:lvl2pPr marL="914400" lvl="1" indent="-304800" rtl="0">
              <a:lnSpc>
                <a:spcPct val="115000"/>
              </a:lnSpc>
              <a:spcBef>
                <a:spcPts val="1600"/>
              </a:spcBef>
              <a:spcAft>
                <a:spcPts val="0"/>
              </a:spcAft>
              <a:buClr>
                <a:schemeClr val="dk1"/>
              </a:buClr>
              <a:buSzPts val="1200"/>
              <a:buFont typeface="Catamaran Light"/>
              <a:buChar char="○"/>
              <a:defRPr sz="1200">
                <a:solidFill>
                  <a:schemeClr val="dk1"/>
                </a:solidFill>
                <a:latin typeface="Catamaran Light"/>
                <a:ea typeface="Catamaran Light"/>
                <a:cs typeface="Catamaran Light"/>
                <a:sym typeface="Catamaran Light"/>
              </a:defRPr>
            </a:lvl2pPr>
            <a:lvl3pPr marL="1371600" lvl="2" indent="-304800" rtl="0">
              <a:lnSpc>
                <a:spcPct val="115000"/>
              </a:lnSpc>
              <a:spcBef>
                <a:spcPts val="1600"/>
              </a:spcBef>
              <a:spcAft>
                <a:spcPts val="0"/>
              </a:spcAft>
              <a:buClr>
                <a:schemeClr val="dk1"/>
              </a:buClr>
              <a:buSzPts val="1200"/>
              <a:buFont typeface="Catamaran Light"/>
              <a:buChar char="■"/>
              <a:defRPr sz="1200">
                <a:solidFill>
                  <a:schemeClr val="dk1"/>
                </a:solidFill>
                <a:latin typeface="Catamaran Light"/>
                <a:ea typeface="Catamaran Light"/>
                <a:cs typeface="Catamaran Light"/>
                <a:sym typeface="Catamaran Light"/>
              </a:defRPr>
            </a:lvl3pPr>
            <a:lvl4pPr marL="1828800" lvl="3" indent="-304800" rtl="0">
              <a:lnSpc>
                <a:spcPct val="115000"/>
              </a:lnSpc>
              <a:spcBef>
                <a:spcPts val="1600"/>
              </a:spcBef>
              <a:spcAft>
                <a:spcPts val="0"/>
              </a:spcAft>
              <a:buClr>
                <a:schemeClr val="dk1"/>
              </a:buClr>
              <a:buSzPts val="1200"/>
              <a:buFont typeface="Catamaran Light"/>
              <a:buChar char="●"/>
              <a:defRPr sz="1200">
                <a:solidFill>
                  <a:schemeClr val="dk1"/>
                </a:solidFill>
                <a:latin typeface="Catamaran Light"/>
                <a:ea typeface="Catamaran Light"/>
                <a:cs typeface="Catamaran Light"/>
                <a:sym typeface="Catamaran Light"/>
              </a:defRPr>
            </a:lvl4pPr>
            <a:lvl5pPr marL="2286000" lvl="4" indent="-304800" rtl="0">
              <a:lnSpc>
                <a:spcPct val="115000"/>
              </a:lnSpc>
              <a:spcBef>
                <a:spcPts val="1600"/>
              </a:spcBef>
              <a:spcAft>
                <a:spcPts val="0"/>
              </a:spcAft>
              <a:buClr>
                <a:schemeClr val="dk1"/>
              </a:buClr>
              <a:buSzPts val="1200"/>
              <a:buFont typeface="Catamaran Light"/>
              <a:buChar char="○"/>
              <a:defRPr sz="1200">
                <a:solidFill>
                  <a:schemeClr val="dk1"/>
                </a:solidFill>
                <a:latin typeface="Catamaran Light"/>
                <a:ea typeface="Catamaran Light"/>
                <a:cs typeface="Catamaran Light"/>
                <a:sym typeface="Catamaran Light"/>
              </a:defRPr>
            </a:lvl5pPr>
            <a:lvl6pPr marL="2743200" lvl="5" indent="-304800" rtl="0">
              <a:lnSpc>
                <a:spcPct val="115000"/>
              </a:lnSpc>
              <a:spcBef>
                <a:spcPts val="1600"/>
              </a:spcBef>
              <a:spcAft>
                <a:spcPts val="0"/>
              </a:spcAft>
              <a:buClr>
                <a:schemeClr val="dk1"/>
              </a:buClr>
              <a:buSzPts val="1200"/>
              <a:buFont typeface="Catamaran Light"/>
              <a:buChar char="■"/>
              <a:defRPr sz="1200">
                <a:solidFill>
                  <a:schemeClr val="dk1"/>
                </a:solidFill>
                <a:latin typeface="Catamaran Light"/>
                <a:ea typeface="Catamaran Light"/>
                <a:cs typeface="Catamaran Light"/>
                <a:sym typeface="Catamaran Light"/>
              </a:defRPr>
            </a:lvl6pPr>
            <a:lvl7pPr marL="3200400" lvl="6" indent="-304800" rtl="0">
              <a:lnSpc>
                <a:spcPct val="115000"/>
              </a:lnSpc>
              <a:spcBef>
                <a:spcPts val="1600"/>
              </a:spcBef>
              <a:spcAft>
                <a:spcPts val="0"/>
              </a:spcAft>
              <a:buClr>
                <a:schemeClr val="dk1"/>
              </a:buClr>
              <a:buSzPts val="1200"/>
              <a:buFont typeface="Catamaran Light"/>
              <a:buChar char="●"/>
              <a:defRPr sz="1200">
                <a:solidFill>
                  <a:schemeClr val="dk1"/>
                </a:solidFill>
                <a:latin typeface="Catamaran Light"/>
                <a:ea typeface="Catamaran Light"/>
                <a:cs typeface="Catamaran Light"/>
                <a:sym typeface="Catamaran Light"/>
              </a:defRPr>
            </a:lvl7pPr>
            <a:lvl8pPr marL="3657600" lvl="7" indent="-304800" rtl="0">
              <a:lnSpc>
                <a:spcPct val="115000"/>
              </a:lnSpc>
              <a:spcBef>
                <a:spcPts val="1600"/>
              </a:spcBef>
              <a:spcAft>
                <a:spcPts val="0"/>
              </a:spcAft>
              <a:buClr>
                <a:schemeClr val="dk1"/>
              </a:buClr>
              <a:buSzPts val="1200"/>
              <a:buFont typeface="Catamaran Light"/>
              <a:buChar char="○"/>
              <a:defRPr sz="1200">
                <a:solidFill>
                  <a:schemeClr val="dk1"/>
                </a:solidFill>
                <a:latin typeface="Catamaran Light"/>
                <a:ea typeface="Catamaran Light"/>
                <a:cs typeface="Catamaran Light"/>
                <a:sym typeface="Catamaran Light"/>
              </a:defRPr>
            </a:lvl8pPr>
            <a:lvl9pPr marL="4114800" lvl="8" indent="-304800" rtl="0">
              <a:lnSpc>
                <a:spcPct val="115000"/>
              </a:lnSpc>
              <a:spcBef>
                <a:spcPts val="1600"/>
              </a:spcBef>
              <a:spcAft>
                <a:spcPts val="1600"/>
              </a:spcAft>
              <a:buClr>
                <a:schemeClr val="dk1"/>
              </a:buClr>
              <a:buSzPts val="1200"/>
              <a:buFont typeface="Catamaran Light"/>
              <a:buChar char="■"/>
              <a:defRPr sz="1200">
                <a:solidFill>
                  <a:schemeClr val="dk1"/>
                </a:solidFill>
                <a:latin typeface="Catamaran Light"/>
                <a:ea typeface="Catamaran Light"/>
                <a:cs typeface="Catamaran Light"/>
                <a:sym typeface="Catamaran Light"/>
              </a:defRPr>
            </a:lvl9pPr>
          </a:lstStyle>
          <a:p>
            <a:endParaRPr/>
          </a:p>
        </p:txBody>
      </p:sp>
    </p:spTree>
    <p:extLst>
      <p:ext uri="{BB962C8B-B14F-4D97-AF65-F5344CB8AC3E}">
        <p14:creationId xmlns:p14="http://schemas.microsoft.com/office/powerpoint/2010/main" val="1502187247"/>
      </p:ext>
    </p:extLst>
  </p:cSld>
  <p:clrMap bg1="lt1" tx1="dk1" bg2="dk2" tx2="lt2" accent1="accent1" accent2="accent2" accent3="accent3" accent4="accent4" accent5="accent5" accent6="accent6" hlink="hlink" folHlink="folHlink"/>
  <p:sldLayoutIdLst>
    <p:sldLayoutId id="2147484329" r:id="rId1"/>
    <p:sldLayoutId id="2147484330" r:id="rId2"/>
    <p:sldLayoutId id="2147484331" r:id="rId3"/>
    <p:sldLayoutId id="2147484333" r:id="rId4"/>
    <p:sldLayoutId id="2147484334" r:id="rId5"/>
    <p:sldLayoutId id="2147484345" r:id="rId6"/>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058"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058"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058"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058"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058"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058"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058"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058"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058"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058"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058"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058"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058"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058"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058"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058"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058"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058"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058"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058"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058"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058"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058"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058"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058"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058"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058" b="0" i="0" u="none" strike="noStrike" cap="none">
          <a:solidFill>
            <a:srgbClr val="000000"/>
          </a:solidFill>
          <a:latin typeface="Arial"/>
          <a:ea typeface="Arial"/>
          <a:cs typeface="Arial"/>
          <a:sym typeface="Arial"/>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Объект 1" hidden="1">
            <a:extLst>
              <a:ext uri="{FF2B5EF4-FFF2-40B4-BE49-F238E27FC236}">
                <a16:creationId xmlns:a16="http://schemas.microsoft.com/office/drawing/2014/main" id="{71CA3DA3-AD60-4D54-96BF-BF78B642C93B}"/>
              </a:ext>
            </a:extLst>
          </p:cNvPr>
          <p:cNvGraphicFramePr>
            <a:graphicFrameLocks noChangeAspect="1"/>
          </p:cNvGraphicFramePr>
          <p:nvPr>
            <p:custDataLst>
              <p:tags r:id="rId47"/>
            </p:custDataLst>
            <p:extLst>
              <p:ext uri="{D42A27DB-BD31-4B8C-83A1-F6EECF244321}">
                <p14:modId xmlns:p14="http://schemas.microsoft.com/office/powerpoint/2010/main" val="3743047973"/>
              </p:ext>
            </p:extLst>
          </p:nvPr>
        </p:nvGraphicFramePr>
        <p:xfrm>
          <a:off x="1588" y="1590"/>
          <a:ext cx="1587" cy="1588"/>
        </p:xfrm>
        <a:graphic>
          <a:graphicData uri="http://schemas.openxmlformats.org/presentationml/2006/ole">
            <mc:AlternateContent xmlns:mc="http://schemas.openxmlformats.org/markup-compatibility/2006">
              <mc:Choice xmlns:v="urn:schemas-microsoft-com:vml" Requires="v">
                <p:oleObj name="think-cell Slide" r:id="rId48" imgW="359" imgH="360" progId="TCLayout.ActiveDocument.1">
                  <p:embed/>
                </p:oleObj>
              </mc:Choice>
              <mc:Fallback>
                <p:oleObj name="think-cell Slide" r:id="rId48" imgW="359" imgH="360" progId="TCLayout.ActiveDocument.1">
                  <p:embed/>
                  <p:pic>
                    <p:nvPicPr>
                      <p:cNvPr id="2" name="Объект 1" hidden="1">
                        <a:extLst>
                          <a:ext uri="{FF2B5EF4-FFF2-40B4-BE49-F238E27FC236}">
                            <a16:creationId xmlns:a16="http://schemas.microsoft.com/office/drawing/2014/main" id="{71CA3DA3-AD60-4D54-96BF-BF78B642C93B}"/>
                          </a:ext>
                        </a:extLst>
                      </p:cNvPr>
                      <p:cNvPicPr/>
                      <p:nvPr/>
                    </p:nvPicPr>
                    <p:blipFill>
                      <a:blip r:embed="rId49"/>
                      <a:stretch>
                        <a:fillRect/>
                      </a:stretch>
                    </p:blipFill>
                    <p:spPr>
                      <a:xfrm>
                        <a:off x="1588" y="1590"/>
                        <a:ext cx="1587" cy="1588"/>
                      </a:xfrm>
                      <a:prstGeom prst="rect">
                        <a:avLst/>
                      </a:prstGeom>
                    </p:spPr>
                  </p:pic>
                </p:oleObj>
              </mc:Fallback>
            </mc:AlternateContent>
          </a:graphicData>
        </a:graphic>
      </p:graphicFrame>
      <p:sp>
        <p:nvSpPr>
          <p:cNvPr id="7" name="Прямоугольник 6"/>
          <p:cNvSpPr/>
          <p:nvPr/>
        </p:nvSpPr>
        <p:spPr>
          <a:xfrm>
            <a:off x="12473608" y="7163300"/>
            <a:ext cx="450764" cy="363176"/>
          </a:xfrm>
          <a:prstGeom prst="rect">
            <a:avLst/>
          </a:prstGeom>
        </p:spPr>
        <p:txBody>
          <a:bodyPr wrap="none">
            <a:spAutoFit/>
          </a:bodyPr>
          <a:lstStyle/>
          <a:p>
            <a:fld id="{D2AB4A33-C29B-46DB-B7DE-3F7E22048103}" type="slidenum">
              <a:rPr lang="en-US" sz="1760" smtClean="0">
                <a:solidFill>
                  <a:prstClr val="black">
                    <a:tint val="75000"/>
                  </a:prstClr>
                </a:solidFill>
              </a:rPr>
              <a:pPr/>
              <a:t>‹№›</a:t>
            </a:fld>
            <a:endParaRPr lang="en-US" sz="1760">
              <a:solidFill>
                <a:prstClr val="black">
                  <a:tint val="75000"/>
                </a:prstClr>
              </a:solidFill>
            </a:endParaRPr>
          </a:p>
        </p:txBody>
      </p:sp>
      <p:sp>
        <p:nvSpPr>
          <p:cNvPr id="10" name="Title 9"/>
          <p:cNvSpPr txBox="1">
            <a:spLocks/>
          </p:cNvSpPr>
          <p:nvPr/>
        </p:nvSpPr>
        <p:spPr>
          <a:xfrm>
            <a:off x="707138" y="441552"/>
            <a:ext cx="10649822" cy="415146"/>
          </a:xfrm>
          <a:prstGeom prst="rect">
            <a:avLst/>
          </a:prstGeom>
        </p:spPr>
        <p:txBody>
          <a:bodyPr>
            <a:noAutofit/>
          </a:bodyPr>
          <a:lstStyle>
            <a:lvl1pPr algn="l" defTabSz="1007943" rtl="0" eaLnBrk="1" latinLnBrk="0" hangingPunct="1">
              <a:lnSpc>
                <a:spcPct val="90000"/>
              </a:lnSpc>
              <a:spcBef>
                <a:spcPct val="0"/>
              </a:spcBef>
              <a:buNone/>
              <a:defRPr sz="2600" b="1" kern="1200">
                <a:solidFill>
                  <a:srgbClr val="000000"/>
                </a:solidFill>
                <a:latin typeface="+mj-lt"/>
                <a:ea typeface="+mj-ea"/>
                <a:cs typeface="+mj-cs"/>
              </a:defRPr>
            </a:lvl1pPr>
          </a:lstStyle>
          <a:p>
            <a:endParaRPr lang="ru-RU" sz="3267"/>
          </a:p>
        </p:txBody>
      </p:sp>
      <p:sp>
        <p:nvSpPr>
          <p:cNvPr id="49" name="Прямоугольник 48"/>
          <p:cNvSpPr/>
          <p:nvPr/>
        </p:nvSpPr>
        <p:spPr>
          <a:xfrm>
            <a:off x="465909" y="1"/>
            <a:ext cx="757645" cy="888274"/>
          </a:xfrm>
          <a:prstGeom prst="rect">
            <a:avLst/>
          </a:prstGeom>
          <a:solidFill>
            <a:srgbClr val="FED1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ru-RU" sz="1800"/>
          </a:p>
        </p:txBody>
      </p:sp>
      <p:grpSp>
        <p:nvGrpSpPr>
          <p:cNvPr id="58" name="Группа 57"/>
          <p:cNvGrpSpPr/>
          <p:nvPr/>
        </p:nvGrpSpPr>
        <p:grpSpPr>
          <a:xfrm>
            <a:off x="10092514" y="6976271"/>
            <a:ext cx="3166616" cy="200338"/>
            <a:chOff x="10092512" y="6976271"/>
            <a:chExt cx="3166616" cy="200338"/>
          </a:xfrm>
        </p:grpSpPr>
        <p:grpSp>
          <p:nvGrpSpPr>
            <p:cNvPr id="30" name="Группа 29"/>
            <p:cNvGrpSpPr/>
            <p:nvPr/>
          </p:nvGrpSpPr>
          <p:grpSpPr>
            <a:xfrm>
              <a:off x="10947495" y="6976271"/>
              <a:ext cx="2311633" cy="200338"/>
              <a:chOff x="8189998" y="6976271"/>
              <a:chExt cx="2311633" cy="200338"/>
            </a:xfrm>
          </p:grpSpPr>
          <p:sp>
            <p:nvSpPr>
              <p:cNvPr id="31" name="object 4"/>
              <p:cNvSpPr/>
              <p:nvPr/>
            </p:nvSpPr>
            <p:spPr>
              <a:xfrm>
                <a:off x="8190002" y="6976271"/>
                <a:ext cx="31750" cy="42545"/>
              </a:xfrm>
              <a:custGeom>
                <a:avLst/>
                <a:gdLst/>
                <a:ahLst/>
                <a:cxnLst/>
                <a:rect l="l" t="t" r="r" b="b"/>
                <a:pathLst>
                  <a:path w="31750" h="42545">
                    <a:moveTo>
                      <a:pt x="9144" y="0"/>
                    </a:moveTo>
                    <a:lnTo>
                      <a:pt x="0" y="0"/>
                    </a:lnTo>
                    <a:lnTo>
                      <a:pt x="0" y="7721"/>
                    </a:lnTo>
                    <a:lnTo>
                      <a:pt x="16878" y="7721"/>
                    </a:lnTo>
                    <a:lnTo>
                      <a:pt x="23152" y="13741"/>
                    </a:lnTo>
                    <a:lnTo>
                      <a:pt x="23152" y="28511"/>
                    </a:lnTo>
                    <a:lnTo>
                      <a:pt x="16878" y="34505"/>
                    </a:lnTo>
                    <a:lnTo>
                      <a:pt x="0" y="34505"/>
                    </a:lnTo>
                    <a:lnTo>
                      <a:pt x="0" y="42227"/>
                    </a:lnTo>
                    <a:lnTo>
                      <a:pt x="9144" y="42227"/>
                    </a:lnTo>
                    <a:lnTo>
                      <a:pt x="17730" y="40567"/>
                    </a:lnTo>
                    <a:lnTo>
                      <a:pt x="24747" y="36041"/>
                    </a:lnTo>
                    <a:lnTo>
                      <a:pt x="29480" y="29331"/>
                    </a:lnTo>
                    <a:lnTo>
                      <a:pt x="31216" y="21120"/>
                    </a:lnTo>
                    <a:lnTo>
                      <a:pt x="29480" y="12906"/>
                    </a:lnTo>
                    <a:lnTo>
                      <a:pt x="24747" y="6192"/>
                    </a:lnTo>
                    <a:lnTo>
                      <a:pt x="17730" y="1662"/>
                    </a:lnTo>
                    <a:lnTo>
                      <a:pt x="9144" y="0"/>
                    </a:lnTo>
                    <a:close/>
                  </a:path>
                </a:pathLst>
              </a:custGeom>
              <a:solidFill>
                <a:srgbClr val="9B9B9A"/>
              </a:solidFill>
            </p:spPr>
            <p:txBody>
              <a:bodyPr wrap="square" lIns="0" tIns="0" rIns="0" bIns="0" rtlCol="0"/>
              <a:lstStyle/>
              <a:p>
                <a:endParaRPr sz="1800"/>
              </a:p>
            </p:txBody>
          </p:sp>
          <p:sp>
            <p:nvSpPr>
              <p:cNvPr id="32" name="object 5"/>
              <p:cNvSpPr/>
              <p:nvPr/>
            </p:nvSpPr>
            <p:spPr>
              <a:xfrm>
                <a:off x="8474982" y="6976271"/>
                <a:ext cx="31750" cy="42545"/>
              </a:xfrm>
              <a:custGeom>
                <a:avLst/>
                <a:gdLst/>
                <a:ahLst/>
                <a:cxnLst/>
                <a:rect l="l" t="t" r="r" b="b"/>
                <a:pathLst>
                  <a:path w="31750" h="42545">
                    <a:moveTo>
                      <a:pt x="9144" y="0"/>
                    </a:moveTo>
                    <a:lnTo>
                      <a:pt x="0" y="0"/>
                    </a:lnTo>
                    <a:lnTo>
                      <a:pt x="0" y="7721"/>
                    </a:lnTo>
                    <a:lnTo>
                      <a:pt x="16878" y="7721"/>
                    </a:lnTo>
                    <a:lnTo>
                      <a:pt x="23152" y="13741"/>
                    </a:lnTo>
                    <a:lnTo>
                      <a:pt x="23152" y="28511"/>
                    </a:lnTo>
                    <a:lnTo>
                      <a:pt x="16878" y="34505"/>
                    </a:lnTo>
                    <a:lnTo>
                      <a:pt x="0" y="34505"/>
                    </a:lnTo>
                    <a:lnTo>
                      <a:pt x="0" y="42227"/>
                    </a:lnTo>
                    <a:lnTo>
                      <a:pt x="9144" y="42227"/>
                    </a:lnTo>
                    <a:lnTo>
                      <a:pt x="17732" y="40567"/>
                    </a:lnTo>
                    <a:lnTo>
                      <a:pt x="24753" y="36041"/>
                    </a:lnTo>
                    <a:lnTo>
                      <a:pt x="29491" y="29331"/>
                    </a:lnTo>
                    <a:lnTo>
                      <a:pt x="31229" y="21120"/>
                    </a:lnTo>
                    <a:lnTo>
                      <a:pt x="29491" y="12906"/>
                    </a:lnTo>
                    <a:lnTo>
                      <a:pt x="24753" y="6192"/>
                    </a:lnTo>
                    <a:lnTo>
                      <a:pt x="17732" y="1662"/>
                    </a:lnTo>
                    <a:lnTo>
                      <a:pt x="9144" y="0"/>
                    </a:lnTo>
                    <a:close/>
                  </a:path>
                </a:pathLst>
              </a:custGeom>
              <a:solidFill>
                <a:srgbClr val="9B9B9A"/>
              </a:solidFill>
            </p:spPr>
            <p:txBody>
              <a:bodyPr wrap="square" lIns="0" tIns="0" rIns="0" bIns="0" rtlCol="0"/>
              <a:lstStyle/>
              <a:p>
                <a:endParaRPr sz="1800"/>
              </a:p>
            </p:txBody>
          </p:sp>
          <p:sp>
            <p:nvSpPr>
              <p:cNvPr id="33" name="object 6"/>
              <p:cNvSpPr/>
              <p:nvPr/>
            </p:nvSpPr>
            <p:spPr>
              <a:xfrm>
                <a:off x="8759956" y="6976271"/>
                <a:ext cx="31750" cy="42545"/>
              </a:xfrm>
              <a:custGeom>
                <a:avLst/>
                <a:gdLst/>
                <a:ahLst/>
                <a:cxnLst/>
                <a:rect l="l" t="t" r="r" b="b"/>
                <a:pathLst>
                  <a:path w="31750" h="42545">
                    <a:moveTo>
                      <a:pt x="9169" y="0"/>
                    </a:moveTo>
                    <a:lnTo>
                      <a:pt x="0" y="0"/>
                    </a:lnTo>
                    <a:lnTo>
                      <a:pt x="0" y="7721"/>
                    </a:lnTo>
                    <a:lnTo>
                      <a:pt x="16878" y="7721"/>
                    </a:lnTo>
                    <a:lnTo>
                      <a:pt x="23177" y="13741"/>
                    </a:lnTo>
                    <a:lnTo>
                      <a:pt x="23177" y="28511"/>
                    </a:lnTo>
                    <a:lnTo>
                      <a:pt x="16878" y="34505"/>
                    </a:lnTo>
                    <a:lnTo>
                      <a:pt x="0" y="34505"/>
                    </a:lnTo>
                    <a:lnTo>
                      <a:pt x="0" y="42227"/>
                    </a:lnTo>
                    <a:lnTo>
                      <a:pt x="9169" y="42227"/>
                    </a:lnTo>
                    <a:lnTo>
                      <a:pt x="17751" y="40567"/>
                    </a:lnTo>
                    <a:lnTo>
                      <a:pt x="24768" y="36041"/>
                    </a:lnTo>
                    <a:lnTo>
                      <a:pt x="29504" y="29331"/>
                    </a:lnTo>
                    <a:lnTo>
                      <a:pt x="31241" y="21120"/>
                    </a:lnTo>
                    <a:lnTo>
                      <a:pt x="29504" y="12906"/>
                    </a:lnTo>
                    <a:lnTo>
                      <a:pt x="24768" y="6192"/>
                    </a:lnTo>
                    <a:lnTo>
                      <a:pt x="17751" y="1662"/>
                    </a:lnTo>
                    <a:lnTo>
                      <a:pt x="9169" y="0"/>
                    </a:lnTo>
                    <a:close/>
                  </a:path>
                </a:pathLst>
              </a:custGeom>
              <a:solidFill>
                <a:srgbClr val="9B9B9A"/>
              </a:solidFill>
            </p:spPr>
            <p:txBody>
              <a:bodyPr wrap="square" lIns="0" tIns="0" rIns="0" bIns="0" rtlCol="0"/>
              <a:lstStyle/>
              <a:p>
                <a:endParaRPr sz="1800"/>
              </a:p>
            </p:txBody>
          </p:sp>
          <p:sp>
            <p:nvSpPr>
              <p:cNvPr id="34" name="object 7"/>
              <p:cNvSpPr/>
              <p:nvPr/>
            </p:nvSpPr>
            <p:spPr>
              <a:xfrm>
                <a:off x="9044957" y="6976271"/>
                <a:ext cx="31750" cy="42545"/>
              </a:xfrm>
              <a:custGeom>
                <a:avLst/>
                <a:gdLst/>
                <a:ahLst/>
                <a:cxnLst/>
                <a:rect l="l" t="t" r="r" b="b"/>
                <a:pathLst>
                  <a:path w="31750" h="42545">
                    <a:moveTo>
                      <a:pt x="9144" y="0"/>
                    </a:moveTo>
                    <a:lnTo>
                      <a:pt x="0" y="0"/>
                    </a:lnTo>
                    <a:lnTo>
                      <a:pt x="0" y="7721"/>
                    </a:lnTo>
                    <a:lnTo>
                      <a:pt x="16865" y="7721"/>
                    </a:lnTo>
                    <a:lnTo>
                      <a:pt x="23152" y="13741"/>
                    </a:lnTo>
                    <a:lnTo>
                      <a:pt x="23152" y="28511"/>
                    </a:lnTo>
                    <a:lnTo>
                      <a:pt x="16865" y="34505"/>
                    </a:lnTo>
                    <a:lnTo>
                      <a:pt x="0" y="34505"/>
                    </a:lnTo>
                    <a:lnTo>
                      <a:pt x="0" y="42227"/>
                    </a:lnTo>
                    <a:lnTo>
                      <a:pt x="9144" y="42227"/>
                    </a:lnTo>
                    <a:lnTo>
                      <a:pt x="17725" y="40567"/>
                    </a:lnTo>
                    <a:lnTo>
                      <a:pt x="24742" y="36041"/>
                    </a:lnTo>
                    <a:lnTo>
                      <a:pt x="29478" y="29331"/>
                    </a:lnTo>
                    <a:lnTo>
                      <a:pt x="31216" y="21120"/>
                    </a:lnTo>
                    <a:lnTo>
                      <a:pt x="29478" y="12906"/>
                    </a:lnTo>
                    <a:lnTo>
                      <a:pt x="24742" y="6192"/>
                    </a:lnTo>
                    <a:lnTo>
                      <a:pt x="17725" y="1662"/>
                    </a:lnTo>
                    <a:lnTo>
                      <a:pt x="9144" y="0"/>
                    </a:lnTo>
                    <a:close/>
                  </a:path>
                </a:pathLst>
              </a:custGeom>
              <a:solidFill>
                <a:srgbClr val="9B9B9A"/>
              </a:solidFill>
            </p:spPr>
            <p:txBody>
              <a:bodyPr wrap="square" lIns="0" tIns="0" rIns="0" bIns="0" rtlCol="0"/>
              <a:lstStyle/>
              <a:p>
                <a:endParaRPr sz="1800"/>
              </a:p>
            </p:txBody>
          </p:sp>
          <p:sp>
            <p:nvSpPr>
              <p:cNvPr id="35" name="object 8"/>
              <p:cNvSpPr/>
              <p:nvPr/>
            </p:nvSpPr>
            <p:spPr>
              <a:xfrm>
                <a:off x="9329938" y="6976271"/>
                <a:ext cx="31750" cy="42545"/>
              </a:xfrm>
              <a:custGeom>
                <a:avLst/>
                <a:gdLst/>
                <a:ahLst/>
                <a:cxnLst/>
                <a:rect l="l" t="t" r="r" b="b"/>
                <a:pathLst>
                  <a:path w="31750" h="42545">
                    <a:moveTo>
                      <a:pt x="9144" y="0"/>
                    </a:moveTo>
                    <a:lnTo>
                      <a:pt x="0" y="0"/>
                    </a:lnTo>
                    <a:lnTo>
                      <a:pt x="0" y="7721"/>
                    </a:lnTo>
                    <a:lnTo>
                      <a:pt x="16878" y="7721"/>
                    </a:lnTo>
                    <a:lnTo>
                      <a:pt x="23152" y="13741"/>
                    </a:lnTo>
                    <a:lnTo>
                      <a:pt x="23152" y="28511"/>
                    </a:lnTo>
                    <a:lnTo>
                      <a:pt x="16878" y="34505"/>
                    </a:lnTo>
                    <a:lnTo>
                      <a:pt x="0" y="34505"/>
                    </a:lnTo>
                    <a:lnTo>
                      <a:pt x="0" y="42227"/>
                    </a:lnTo>
                    <a:lnTo>
                      <a:pt x="9144" y="42227"/>
                    </a:lnTo>
                    <a:lnTo>
                      <a:pt x="17730" y="40567"/>
                    </a:lnTo>
                    <a:lnTo>
                      <a:pt x="24747" y="36041"/>
                    </a:lnTo>
                    <a:lnTo>
                      <a:pt x="29480" y="29331"/>
                    </a:lnTo>
                    <a:lnTo>
                      <a:pt x="31216" y="21120"/>
                    </a:lnTo>
                    <a:lnTo>
                      <a:pt x="29480" y="12906"/>
                    </a:lnTo>
                    <a:lnTo>
                      <a:pt x="24747" y="6192"/>
                    </a:lnTo>
                    <a:lnTo>
                      <a:pt x="17730" y="1662"/>
                    </a:lnTo>
                    <a:lnTo>
                      <a:pt x="9144" y="0"/>
                    </a:lnTo>
                    <a:close/>
                  </a:path>
                </a:pathLst>
              </a:custGeom>
              <a:solidFill>
                <a:srgbClr val="9B9B9A"/>
              </a:solidFill>
            </p:spPr>
            <p:txBody>
              <a:bodyPr wrap="square" lIns="0" tIns="0" rIns="0" bIns="0" rtlCol="0"/>
              <a:lstStyle/>
              <a:p>
                <a:endParaRPr sz="1800"/>
              </a:p>
            </p:txBody>
          </p:sp>
          <p:sp>
            <p:nvSpPr>
              <p:cNvPr id="36" name="object 9"/>
              <p:cNvSpPr/>
              <p:nvPr/>
            </p:nvSpPr>
            <p:spPr>
              <a:xfrm>
                <a:off x="9614926" y="6976271"/>
                <a:ext cx="31750" cy="42545"/>
              </a:xfrm>
              <a:custGeom>
                <a:avLst/>
                <a:gdLst/>
                <a:ahLst/>
                <a:cxnLst/>
                <a:rect l="l" t="t" r="r" b="b"/>
                <a:pathLst>
                  <a:path w="31750" h="42545">
                    <a:moveTo>
                      <a:pt x="9144" y="0"/>
                    </a:moveTo>
                    <a:lnTo>
                      <a:pt x="0" y="0"/>
                    </a:lnTo>
                    <a:lnTo>
                      <a:pt x="0" y="7721"/>
                    </a:lnTo>
                    <a:lnTo>
                      <a:pt x="16865" y="7721"/>
                    </a:lnTo>
                    <a:lnTo>
                      <a:pt x="23152" y="13741"/>
                    </a:lnTo>
                    <a:lnTo>
                      <a:pt x="23152" y="28511"/>
                    </a:lnTo>
                    <a:lnTo>
                      <a:pt x="16865" y="34505"/>
                    </a:lnTo>
                    <a:lnTo>
                      <a:pt x="0" y="34505"/>
                    </a:lnTo>
                    <a:lnTo>
                      <a:pt x="0" y="42227"/>
                    </a:lnTo>
                    <a:lnTo>
                      <a:pt x="9144" y="42227"/>
                    </a:lnTo>
                    <a:lnTo>
                      <a:pt x="17730" y="40567"/>
                    </a:lnTo>
                    <a:lnTo>
                      <a:pt x="24747" y="36041"/>
                    </a:lnTo>
                    <a:lnTo>
                      <a:pt x="29480" y="29331"/>
                    </a:lnTo>
                    <a:lnTo>
                      <a:pt x="31216" y="21120"/>
                    </a:lnTo>
                    <a:lnTo>
                      <a:pt x="29480" y="12906"/>
                    </a:lnTo>
                    <a:lnTo>
                      <a:pt x="24747" y="6192"/>
                    </a:lnTo>
                    <a:lnTo>
                      <a:pt x="17730" y="1662"/>
                    </a:lnTo>
                    <a:lnTo>
                      <a:pt x="9144" y="0"/>
                    </a:lnTo>
                    <a:close/>
                  </a:path>
                </a:pathLst>
              </a:custGeom>
              <a:solidFill>
                <a:srgbClr val="9B9B9A"/>
              </a:solidFill>
            </p:spPr>
            <p:txBody>
              <a:bodyPr wrap="square" lIns="0" tIns="0" rIns="0" bIns="0" rtlCol="0"/>
              <a:lstStyle/>
              <a:p>
                <a:endParaRPr sz="1800"/>
              </a:p>
            </p:txBody>
          </p:sp>
          <p:sp>
            <p:nvSpPr>
              <p:cNvPr id="37" name="object 10"/>
              <p:cNvSpPr/>
              <p:nvPr/>
            </p:nvSpPr>
            <p:spPr>
              <a:xfrm>
                <a:off x="9899900" y="6976271"/>
                <a:ext cx="31750" cy="42545"/>
              </a:xfrm>
              <a:custGeom>
                <a:avLst/>
                <a:gdLst/>
                <a:ahLst/>
                <a:cxnLst/>
                <a:rect l="l" t="t" r="r" b="b"/>
                <a:pathLst>
                  <a:path w="31750" h="42545">
                    <a:moveTo>
                      <a:pt x="9169" y="0"/>
                    </a:moveTo>
                    <a:lnTo>
                      <a:pt x="0" y="0"/>
                    </a:lnTo>
                    <a:lnTo>
                      <a:pt x="0" y="7721"/>
                    </a:lnTo>
                    <a:lnTo>
                      <a:pt x="16878" y="7721"/>
                    </a:lnTo>
                    <a:lnTo>
                      <a:pt x="23177" y="13741"/>
                    </a:lnTo>
                    <a:lnTo>
                      <a:pt x="23177" y="28511"/>
                    </a:lnTo>
                    <a:lnTo>
                      <a:pt x="16878" y="34505"/>
                    </a:lnTo>
                    <a:lnTo>
                      <a:pt x="0" y="34505"/>
                    </a:lnTo>
                    <a:lnTo>
                      <a:pt x="0" y="42227"/>
                    </a:lnTo>
                    <a:lnTo>
                      <a:pt x="9169" y="42227"/>
                    </a:lnTo>
                    <a:lnTo>
                      <a:pt x="17751" y="40567"/>
                    </a:lnTo>
                    <a:lnTo>
                      <a:pt x="24768" y="36041"/>
                    </a:lnTo>
                    <a:lnTo>
                      <a:pt x="29504" y="29331"/>
                    </a:lnTo>
                    <a:lnTo>
                      <a:pt x="31241" y="21120"/>
                    </a:lnTo>
                    <a:lnTo>
                      <a:pt x="29504" y="12906"/>
                    </a:lnTo>
                    <a:lnTo>
                      <a:pt x="24768" y="6192"/>
                    </a:lnTo>
                    <a:lnTo>
                      <a:pt x="17751" y="1662"/>
                    </a:lnTo>
                    <a:lnTo>
                      <a:pt x="9169" y="0"/>
                    </a:lnTo>
                    <a:close/>
                  </a:path>
                </a:pathLst>
              </a:custGeom>
              <a:solidFill>
                <a:srgbClr val="9B9B9A"/>
              </a:solidFill>
            </p:spPr>
            <p:txBody>
              <a:bodyPr wrap="square" lIns="0" tIns="0" rIns="0" bIns="0" rtlCol="0"/>
              <a:lstStyle/>
              <a:p>
                <a:endParaRPr sz="1800"/>
              </a:p>
            </p:txBody>
          </p:sp>
          <p:sp>
            <p:nvSpPr>
              <p:cNvPr id="38" name="object 11"/>
              <p:cNvSpPr/>
              <p:nvPr/>
            </p:nvSpPr>
            <p:spPr>
              <a:xfrm>
                <a:off x="10184900" y="6976271"/>
                <a:ext cx="31750" cy="42545"/>
              </a:xfrm>
              <a:custGeom>
                <a:avLst/>
                <a:gdLst/>
                <a:ahLst/>
                <a:cxnLst/>
                <a:rect l="l" t="t" r="r" b="b"/>
                <a:pathLst>
                  <a:path w="31750" h="42545">
                    <a:moveTo>
                      <a:pt x="9144" y="0"/>
                    </a:moveTo>
                    <a:lnTo>
                      <a:pt x="0" y="0"/>
                    </a:lnTo>
                    <a:lnTo>
                      <a:pt x="0" y="7721"/>
                    </a:lnTo>
                    <a:lnTo>
                      <a:pt x="16852" y="7721"/>
                    </a:lnTo>
                    <a:lnTo>
                      <a:pt x="23152" y="13741"/>
                    </a:lnTo>
                    <a:lnTo>
                      <a:pt x="23152" y="28511"/>
                    </a:lnTo>
                    <a:lnTo>
                      <a:pt x="16852" y="34505"/>
                    </a:lnTo>
                    <a:lnTo>
                      <a:pt x="0" y="34505"/>
                    </a:lnTo>
                    <a:lnTo>
                      <a:pt x="0" y="42227"/>
                    </a:lnTo>
                    <a:lnTo>
                      <a:pt x="9144" y="42227"/>
                    </a:lnTo>
                    <a:lnTo>
                      <a:pt x="17725" y="40567"/>
                    </a:lnTo>
                    <a:lnTo>
                      <a:pt x="24742" y="36041"/>
                    </a:lnTo>
                    <a:lnTo>
                      <a:pt x="29478" y="29331"/>
                    </a:lnTo>
                    <a:lnTo>
                      <a:pt x="31216" y="21120"/>
                    </a:lnTo>
                    <a:lnTo>
                      <a:pt x="29478" y="12906"/>
                    </a:lnTo>
                    <a:lnTo>
                      <a:pt x="24742" y="6192"/>
                    </a:lnTo>
                    <a:lnTo>
                      <a:pt x="17725" y="1662"/>
                    </a:lnTo>
                    <a:lnTo>
                      <a:pt x="9144" y="0"/>
                    </a:lnTo>
                    <a:close/>
                  </a:path>
                </a:pathLst>
              </a:custGeom>
              <a:solidFill>
                <a:srgbClr val="9B9B9A"/>
              </a:solidFill>
            </p:spPr>
            <p:txBody>
              <a:bodyPr wrap="square" lIns="0" tIns="0" rIns="0" bIns="0" rtlCol="0"/>
              <a:lstStyle/>
              <a:p>
                <a:endParaRPr sz="1800"/>
              </a:p>
            </p:txBody>
          </p:sp>
          <p:sp>
            <p:nvSpPr>
              <p:cNvPr id="39" name="object 12"/>
              <p:cNvSpPr/>
              <p:nvPr/>
            </p:nvSpPr>
            <p:spPr>
              <a:xfrm>
                <a:off x="10469881" y="6976271"/>
                <a:ext cx="31750" cy="42545"/>
              </a:xfrm>
              <a:custGeom>
                <a:avLst/>
                <a:gdLst/>
                <a:ahLst/>
                <a:cxnLst/>
                <a:rect l="l" t="t" r="r" b="b"/>
                <a:pathLst>
                  <a:path w="31750" h="42545">
                    <a:moveTo>
                      <a:pt x="9144" y="0"/>
                    </a:moveTo>
                    <a:lnTo>
                      <a:pt x="0" y="0"/>
                    </a:lnTo>
                    <a:lnTo>
                      <a:pt x="0" y="7721"/>
                    </a:lnTo>
                    <a:lnTo>
                      <a:pt x="16878" y="7721"/>
                    </a:lnTo>
                    <a:lnTo>
                      <a:pt x="23152" y="13741"/>
                    </a:lnTo>
                    <a:lnTo>
                      <a:pt x="23152" y="28511"/>
                    </a:lnTo>
                    <a:lnTo>
                      <a:pt x="16878" y="34505"/>
                    </a:lnTo>
                    <a:lnTo>
                      <a:pt x="0" y="34505"/>
                    </a:lnTo>
                    <a:lnTo>
                      <a:pt x="0" y="42227"/>
                    </a:lnTo>
                    <a:lnTo>
                      <a:pt x="9144" y="42227"/>
                    </a:lnTo>
                    <a:lnTo>
                      <a:pt x="17725" y="40567"/>
                    </a:lnTo>
                    <a:lnTo>
                      <a:pt x="24742" y="36041"/>
                    </a:lnTo>
                    <a:lnTo>
                      <a:pt x="29478" y="29331"/>
                    </a:lnTo>
                    <a:lnTo>
                      <a:pt x="31216" y="21120"/>
                    </a:lnTo>
                    <a:lnTo>
                      <a:pt x="29478" y="12906"/>
                    </a:lnTo>
                    <a:lnTo>
                      <a:pt x="24742" y="6192"/>
                    </a:lnTo>
                    <a:lnTo>
                      <a:pt x="17725" y="1662"/>
                    </a:lnTo>
                    <a:lnTo>
                      <a:pt x="9144" y="0"/>
                    </a:lnTo>
                    <a:close/>
                  </a:path>
                </a:pathLst>
              </a:custGeom>
              <a:solidFill>
                <a:srgbClr val="9B9B9A"/>
              </a:solidFill>
            </p:spPr>
            <p:txBody>
              <a:bodyPr wrap="square" lIns="0" tIns="0" rIns="0" bIns="0" rtlCol="0"/>
              <a:lstStyle/>
              <a:p>
                <a:endParaRPr sz="1800"/>
              </a:p>
            </p:txBody>
          </p:sp>
          <p:sp>
            <p:nvSpPr>
              <p:cNvPr id="40" name="object 13"/>
              <p:cNvSpPr/>
              <p:nvPr/>
            </p:nvSpPr>
            <p:spPr>
              <a:xfrm>
                <a:off x="10469878" y="7134064"/>
                <a:ext cx="31750" cy="42545"/>
              </a:xfrm>
              <a:custGeom>
                <a:avLst/>
                <a:gdLst/>
                <a:ahLst/>
                <a:cxnLst/>
                <a:rect l="l" t="t" r="r" b="b"/>
                <a:pathLst>
                  <a:path w="31750" h="42545">
                    <a:moveTo>
                      <a:pt x="31216" y="0"/>
                    </a:moveTo>
                    <a:lnTo>
                      <a:pt x="22072" y="0"/>
                    </a:lnTo>
                    <a:lnTo>
                      <a:pt x="13490" y="1660"/>
                    </a:lnTo>
                    <a:lnTo>
                      <a:pt x="6473" y="6186"/>
                    </a:lnTo>
                    <a:lnTo>
                      <a:pt x="1737" y="12896"/>
                    </a:lnTo>
                    <a:lnTo>
                      <a:pt x="0" y="21107"/>
                    </a:lnTo>
                    <a:lnTo>
                      <a:pt x="1737" y="29320"/>
                    </a:lnTo>
                    <a:lnTo>
                      <a:pt x="6473" y="36034"/>
                    </a:lnTo>
                    <a:lnTo>
                      <a:pt x="13490" y="40565"/>
                    </a:lnTo>
                    <a:lnTo>
                      <a:pt x="22072" y="42227"/>
                    </a:lnTo>
                    <a:lnTo>
                      <a:pt x="31216" y="42227"/>
                    </a:lnTo>
                    <a:lnTo>
                      <a:pt x="31216" y="34505"/>
                    </a:lnTo>
                    <a:lnTo>
                      <a:pt x="14350" y="34505"/>
                    </a:lnTo>
                    <a:lnTo>
                      <a:pt x="8077" y="28486"/>
                    </a:lnTo>
                    <a:lnTo>
                      <a:pt x="8077" y="13715"/>
                    </a:lnTo>
                    <a:lnTo>
                      <a:pt x="14350" y="7721"/>
                    </a:lnTo>
                    <a:lnTo>
                      <a:pt x="31216" y="7721"/>
                    </a:lnTo>
                    <a:lnTo>
                      <a:pt x="31216" y="0"/>
                    </a:lnTo>
                    <a:close/>
                  </a:path>
                </a:pathLst>
              </a:custGeom>
              <a:solidFill>
                <a:srgbClr val="9B9B9A"/>
              </a:solidFill>
            </p:spPr>
            <p:txBody>
              <a:bodyPr wrap="square" lIns="0" tIns="0" rIns="0" bIns="0" rtlCol="0"/>
              <a:lstStyle/>
              <a:p>
                <a:endParaRPr sz="1800"/>
              </a:p>
            </p:txBody>
          </p:sp>
          <p:sp>
            <p:nvSpPr>
              <p:cNvPr id="41" name="object 14"/>
              <p:cNvSpPr/>
              <p:nvPr/>
            </p:nvSpPr>
            <p:spPr>
              <a:xfrm>
                <a:off x="10184903" y="7134064"/>
                <a:ext cx="31750" cy="42545"/>
              </a:xfrm>
              <a:custGeom>
                <a:avLst/>
                <a:gdLst/>
                <a:ahLst/>
                <a:cxnLst/>
                <a:rect l="l" t="t" r="r" b="b"/>
                <a:pathLst>
                  <a:path w="31750" h="42545">
                    <a:moveTo>
                      <a:pt x="31216" y="0"/>
                    </a:moveTo>
                    <a:lnTo>
                      <a:pt x="22072" y="0"/>
                    </a:lnTo>
                    <a:lnTo>
                      <a:pt x="13480" y="1660"/>
                    </a:lnTo>
                    <a:lnTo>
                      <a:pt x="6464" y="6186"/>
                    </a:lnTo>
                    <a:lnTo>
                      <a:pt x="1734" y="12896"/>
                    </a:lnTo>
                    <a:lnTo>
                      <a:pt x="0" y="21107"/>
                    </a:lnTo>
                    <a:lnTo>
                      <a:pt x="1734" y="29320"/>
                    </a:lnTo>
                    <a:lnTo>
                      <a:pt x="6464" y="36034"/>
                    </a:lnTo>
                    <a:lnTo>
                      <a:pt x="13480" y="40565"/>
                    </a:lnTo>
                    <a:lnTo>
                      <a:pt x="22072" y="42227"/>
                    </a:lnTo>
                    <a:lnTo>
                      <a:pt x="31216" y="42227"/>
                    </a:lnTo>
                    <a:lnTo>
                      <a:pt x="31216" y="34505"/>
                    </a:lnTo>
                    <a:lnTo>
                      <a:pt x="14325" y="34505"/>
                    </a:lnTo>
                    <a:lnTo>
                      <a:pt x="8064" y="28486"/>
                    </a:lnTo>
                    <a:lnTo>
                      <a:pt x="8064" y="13715"/>
                    </a:lnTo>
                    <a:lnTo>
                      <a:pt x="14325" y="7721"/>
                    </a:lnTo>
                    <a:lnTo>
                      <a:pt x="31216" y="7721"/>
                    </a:lnTo>
                    <a:lnTo>
                      <a:pt x="31216" y="0"/>
                    </a:lnTo>
                    <a:close/>
                  </a:path>
                </a:pathLst>
              </a:custGeom>
              <a:solidFill>
                <a:srgbClr val="9B9B9A"/>
              </a:solidFill>
            </p:spPr>
            <p:txBody>
              <a:bodyPr wrap="square" lIns="0" tIns="0" rIns="0" bIns="0" rtlCol="0"/>
              <a:lstStyle/>
              <a:p>
                <a:endParaRPr sz="1800"/>
              </a:p>
            </p:txBody>
          </p:sp>
          <p:sp>
            <p:nvSpPr>
              <p:cNvPr id="42" name="object 15"/>
              <p:cNvSpPr/>
              <p:nvPr/>
            </p:nvSpPr>
            <p:spPr>
              <a:xfrm>
                <a:off x="9899910" y="7134064"/>
                <a:ext cx="31750" cy="42545"/>
              </a:xfrm>
              <a:custGeom>
                <a:avLst/>
                <a:gdLst/>
                <a:ahLst/>
                <a:cxnLst/>
                <a:rect l="l" t="t" r="r" b="b"/>
                <a:pathLst>
                  <a:path w="31750" h="42545">
                    <a:moveTo>
                      <a:pt x="31229" y="0"/>
                    </a:moveTo>
                    <a:lnTo>
                      <a:pt x="22072" y="0"/>
                    </a:lnTo>
                    <a:lnTo>
                      <a:pt x="13485" y="1660"/>
                    </a:lnTo>
                    <a:lnTo>
                      <a:pt x="6469" y="6186"/>
                    </a:lnTo>
                    <a:lnTo>
                      <a:pt x="1736" y="12896"/>
                    </a:lnTo>
                    <a:lnTo>
                      <a:pt x="0" y="21107"/>
                    </a:lnTo>
                    <a:lnTo>
                      <a:pt x="1736" y="29320"/>
                    </a:lnTo>
                    <a:lnTo>
                      <a:pt x="6469" y="36034"/>
                    </a:lnTo>
                    <a:lnTo>
                      <a:pt x="13485" y="40565"/>
                    </a:lnTo>
                    <a:lnTo>
                      <a:pt x="22072" y="42227"/>
                    </a:lnTo>
                    <a:lnTo>
                      <a:pt x="31229" y="42227"/>
                    </a:lnTo>
                    <a:lnTo>
                      <a:pt x="31229" y="34505"/>
                    </a:lnTo>
                    <a:lnTo>
                      <a:pt x="14350" y="34505"/>
                    </a:lnTo>
                    <a:lnTo>
                      <a:pt x="8077" y="28486"/>
                    </a:lnTo>
                    <a:lnTo>
                      <a:pt x="8077" y="13715"/>
                    </a:lnTo>
                    <a:lnTo>
                      <a:pt x="14350" y="7721"/>
                    </a:lnTo>
                    <a:lnTo>
                      <a:pt x="31229" y="7721"/>
                    </a:lnTo>
                    <a:lnTo>
                      <a:pt x="31229" y="0"/>
                    </a:lnTo>
                    <a:close/>
                  </a:path>
                </a:pathLst>
              </a:custGeom>
              <a:solidFill>
                <a:srgbClr val="9B9B9A"/>
              </a:solidFill>
            </p:spPr>
            <p:txBody>
              <a:bodyPr wrap="square" lIns="0" tIns="0" rIns="0" bIns="0" rtlCol="0"/>
              <a:lstStyle/>
              <a:p>
                <a:endParaRPr sz="1800"/>
              </a:p>
            </p:txBody>
          </p:sp>
          <p:sp>
            <p:nvSpPr>
              <p:cNvPr id="43" name="object 16"/>
              <p:cNvSpPr/>
              <p:nvPr/>
            </p:nvSpPr>
            <p:spPr>
              <a:xfrm>
                <a:off x="9614923" y="7134064"/>
                <a:ext cx="31750" cy="42545"/>
              </a:xfrm>
              <a:custGeom>
                <a:avLst/>
                <a:gdLst/>
                <a:ahLst/>
                <a:cxnLst/>
                <a:rect l="l" t="t" r="r" b="b"/>
                <a:pathLst>
                  <a:path w="31750" h="42545">
                    <a:moveTo>
                      <a:pt x="31229" y="0"/>
                    </a:moveTo>
                    <a:lnTo>
                      <a:pt x="22059" y="0"/>
                    </a:lnTo>
                    <a:lnTo>
                      <a:pt x="13485" y="1660"/>
                    </a:lnTo>
                    <a:lnTo>
                      <a:pt x="6472" y="6186"/>
                    </a:lnTo>
                    <a:lnTo>
                      <a:pt x="1737" y="12896"/>
                    </a:lnTo>
                    <a:lnTo>
                      <a:pt x="0" y="21107"/>
                    </a:lnTo>
                    <a:lnTo>
                      <a:pt x="1737" y="29320"/>
                    </a:lnTo>
                    <a:lnTo>
                      <a:pt x="6472" y="36034"/>
                    </a:lnTo>
                    <a:lnTo>
                      <a:pt x="13485" y="40565"/>
                    </a:lnTo>
                    <a:lnTo>
                      <a:pt x="22059" y="42227"/>
                    </a:lnTo>
                    <a:lnTo>
                      <a:pt x="31229" y="42227"/>
                    </a:lnTo>
                    <a:lnTo>
                      <a:pt x="31229" y="34505"/>
                    </a:lnTo>
                    <a:lnTo>
                      <a:pt x="14350" y="34505"/>
                    </a:lnTo>
                    <a:lnTo>
                      <a:pt x="8064" y="28486"/>
                    </a:lnTo>
                    <a:lnTo>
                      <a:pt x="8064" y="13715"/>
                    </a:lnTo>
                    <a:lnTo>
                      <a:pt x="14350" y="7721"/>
                    </a:lnTo>
                    <a:lnTo>
                      <a:pt x="31229" y="7721"/>
                    </a:lnTo>
                    <a:lnTo>
                      <a:pt x="31229" y="0"/>
                    </a:lnTo>
                    <a:close/>
                  </a:path>
                </a:pathLst>
              </a:custGeom>
              <a:solidFill>
                <a:srgbClr val="9B9B9A"/>
              </a:solidFill>
            </p:spPr>
            <p:txBody>
              <a:bodyPr wrap="square" lIns="0" tIns="0" rIns="0" bIns="0" rtlCol="0"/>
              <a:lstStyle/>
              <a:p>
                <a:endParaRPr sz="1800"/>
              </a:p>
            </p:txBody>
          </p:sp>
          <p:sp>
            <p:nvSpPr>
              <p:cNvPr id="44" name="object 17"/>
              <p:cNvSpPr/>
              <p:nvPr/>
            </p:nvSpPr>
            <p:spPr>
              <a:xfrm>
                <a:off x="9329935" y="7134064"/>
                <a:ext cx="31750" cy="42545"/>
              </a:xfrm>
              <a:custGeom>
                <a:avLst/>
                <a:gdLst/>
                <a:ahLst/>
                <a:cxnLst/>
                <a:rect l="l" t="t" r="r" b="b"/>
                <a:pathLst>
                  <a:path w="31750" h="42545">
                    <a:moveTo>
                      <a:pt x="31242" y="0"/>
                    </a:moveTo>
                    <a:lnTo>
                      <a:pt x="22072" y="0"/>
                    </a:lnTo>
                    <a:lnTo>
                      <a:pt x="13490" y="1660"/>
                    </a:lnTo>
                    <a:lnTo>
                      <a:pt x="6473" y="6186"/>
                    </a:lnTo>
                    <a:lnTo>
                      <a:pt x="1737" y="12896"/>
                    </a:lnTo>
                    <a:lnTo>
                      <a:pt x="0" y="21107"/>
                    </a:lnTo>
                    <a:lnTo>
                      <a:pt x="1737" y="29320"/>
                    </a:lnTo>
                    <a:lnTo>
                      <a:pt x="6473" y="36034"/>
                    </a:lnTo>
                    <a:lnTo>
                      <a:pt x="13490" y="40565"/>
                    </a:lnTo>
                    <a:lnTo>
                      <a:pt x="22072" y="42227"/>
                    </a:lnTo>
                    <a:lnTo>
                      <a:pt x="31242" y="42227"/>
                    </a:lnTo>
                    <a:lnTo>
                      <a:pt x="31242" y="34505"/>
                    </a:lnTo>
                    <a:lnTo>
                      <a:pt x="14351" y="34505"/>
                    </a:lnTo>
                    <a:lnTo>
                      <a:pt x="8077" y="28486"/>
                    </a:lnTo>
                    <a:lnTo>
                      <a:pt x="8077" y="13715"/>
                    </a:lnTo>
                    <a:lnTo>
                      <a:pt x="14351" y="7721"/>
                    </a:lnTo>
                    <a:lnTo>
                      <a:pt x="31242" y="7721"/>
                    </a:lnTo>
                    <a:lnTo>
                      <a:pt x="31242" y="0"/>
                    </a:lnTo>
                    <a:close/>
                  </a:path>
                </a:pathLst>
              </a:custGeom>
              <a:solidFill>
                <a:srgbClr val="9B9B9A"/>
              </a:solidFill>
            </p:spPr>
            <p:txBody>
              <a:bodyPr wrap="square" lIns="0" tIns="0" rIns="0" bIns="0" rtlCol="0"/>
              <a:lstStyle/>
              <a:p>
                <a:endParaRPr sz="1800"/>
              </a:p>
            </p:txBody>
          </p:sp>
          <p:sp>
            <p:nvSpPr>
              <p:cNvPr id="45" name="object 18"/>
              <p:cNvSpPr/>
              <p:nvPr/>
            </p:nvSpPr>
            <p:spPr>
              <a:xfrm>
                <a:off x="9044961" y="7134064"/>
                <a:ext cx="31750" cy="42545"/>
              </a:xfrm>
              <a:custGeom>
                <a:avLst/>
                <a:gdLst/>
                <a:ahLst/>
                <a:cxnLst/>
                <a:rect l="l" t="t" r="r" b="b"/>
                <a:pathLst>
                  <a:path w="31750" h="42545">
                    <a:moveTo>
                      <a:pt x="31216" y="0"/>
                    </a:moveTo>
                    <a:lnTo>
                      <a:pt x="22072" y="0"/>
                    </a:lnTo>
                    <a:lnTo>
                      <a:pt x="13490" y="1660"/>
                    </a:lnTo>
                    <a:lnTo>
                      <a:pt x="6473" y="6186"/>
                    </a:lnTo>
                    <a:lnTo>
                      <a:pt x="1737" y="12896"/>
                    </a:lnTo>
                    <a:lnTo>
                      <a:pt x="0" y="21107"/>
                    </a:lnTo>
                    <a:lnTo>
                      <a:pt x="1737" y="29320"/>
                    </a:lnTo>
                    <a:lnTo>
                      <a:pt x="6473" y="36034"/>
                    </a:lnTo>
                    <a:lnTo>
                      <a:pt x="13490" y="40565"/>
                    </a:lnTo>
                    <a:lnTo>
                      <a:pt x="22072" y="42227"/>
                    </a:lnTo>
                    <a:lnTo>
                      <a:pt x="31216" y="42227"/>
                    </a:lnTo>
                    <a:lnTo>
                      <a:pt x="31216" y="34505"/>
                    </a:lnTo>
                    <a:lnTo>
                      <a:pt x="14338" y="34505"/>
                    </a:lnTo>
                    <a:lnTo>
                      <a:pt x="8064" y="28486"/>
                    </a:lnTo>
                    <a:lnTo>
                      <a:pt x="8064" y="13715"/>
                    </a:lnTo>
                    <a:lnTo>
                      <a:pt x="14338" y="7721"/>
                    </a:lnTo>
                    <a:lnTo>
                      <a:pt x="31216" y="7721"/>
                    </a:lnTo>
                    <a:lnTo>
                      <a:pt x="31216" y="0"/>
                    </a:lnTo>
                    <a:close/>
                  </a:path>
                </a:pathLst>
              </a:custGeom>
              <a:solidFill>
                <a:srgbClr val="9B9B9A"/>
              </a:solidFill>
            </p:spPr>
            <p:txBody>
              <a:bodyPr wrap="square" lIns="0" tIns="0" rIns="0" bIns="0" rtlCol="0"/>
              <a:lstStyle/>
              <a:p>
                <a:endParaRPr sz="1800"/>
              </a:p>
            </p:txBody>
          </p:sp>
          <p:sp>
            <p:nvSpPr>
              <p:cNvPr id="46" name="object 19"/>
              <p:cNvSpPr/>
              <p:nvPr/>
            </p:nvSpPr>
            <p:spPr>
              <a:xfrm>
                <a:off x="8759980" y="7134064"/>
                <a:ext cx="31750" cy="42545"/>
              </a:xfrm>
              <a:custGeom>
                <a:avLst/>
                <a:gdLst/>
                <a:ahLst/>
                <a:cxnLst/>
                <a:rect l="l" t="t" r="r" b="b"/>
                <a:pathLst>
                  <a:path w="31750" h="42545">
                    <a:moveTo>
                      <a:pt x="31216" y="0"/>
                    </a:moveTo>
                    <a:lnTo>
                      <a:pt x="22059" y="0"/>
                    </a:lnTo>
                    <a:lnTo>
                      <a:pt x="13485" y="1660"/>
                    </a:lnTo>
                    <a:lnTo>
                      <a:pt x="6472" y="6186"/>
                    </a:lnTo>
                    <a:lnTo>
                      <a:pt x="1737" y="12896"/>
                    </a:lnTo>
                    <a:lnTo>
                      <a:pt x="0" y="21107"/>
                    </a:lnTo>
                    <a:lnTo>
                      <a:pt x="1737" y="29320"/>
                    </a:lnTo>
                    <a:lnTo>
                      <a:pt x="6472" y="36034"/>
                    </a:lnTo>
                    <a:lnTo>
                      <a:pt x="13485" y="40565"/>
                    </a:lnTo>
                    <a:lnTo>
                      <a:pt x="22059" y="42227"/>
                    </a:lnTo>
                    <a:lnTo>
                      <a:pt x="31216" y="42227"/>
                    </a:lnTo>
                    <a:lnTo>
                      <a:pt x="31216" y="34505"/>
                    </a:lnTo>
                    <a:lnTo>
                      <a:pt x="14338" y="34505"/>
                    </a:lnTo>
                    <a:lnTo>
                      <a:pt x="8064" y="28486"/>
                    </a:lnTo>
                    <a:lnTo>
                      <a:pt x="8064" y="13715"/>
                    </a:lnTo>
                    <a:lnTo>
                      <a:pt x="14338" y="7721"/>
                    </a:lnTo>
                    <a:lnTo>
                      <a:pt x="31216" y="7721"/>
                    </a:lnTo>
                    <a:lnTo>
                      <a:pt x="31216" y="0"/>
                    </a:lnTo>
                    <a:close/>
                  </a:path>
                </a:pathLst>
              </a:custGeom>
              <a:solidFill>
                <a:srgbClr val="9B9B9A"/>
              </a:solidFill>
            </p:spPr>
            <p:txBody>
              <a:bodyPr wrap="square" lIns="0" tIns="0" rIns="0" bIns="0" rtlCol="0"/>
              <a:lstStyle/>
              <a:p>
                <a:endParaRPr sz="1800"/>
              </a:p>
            </p:txBody>
          </p:sp>
          <p:sp>
            <p:nvSpPr>
              <p:cNvPr id="47" name="object 20"/>
              <p:cNvSpPr/>
              <p:nvPr/>
            </p:nvSpPr>
            <p:spPr>
              <a:xfrm>
                <a:off x="8474980" y="7134064"/>
                <a:ext cx="31750" cy="42545"/>
              </a:xfrm>
              <a:custGeom>
                <a:avLst/>
                <a:gdLst/>
                <a:ahLst/>
                <a:cxnLst/>
                <a:rect l="l" t="t" r="r" b="b"/>
                <a:pathLst>
                  <a:path w="31750" h="42545">
                    <a:moveTo>
                      <a:pt x="31229" y="0"/>
                    </a:moveTo>
                    <a:lnTo>
                      <a:pt x="22072" y="0"/>
                    </a:lnTo>
                    <a:lnTo>
                      <a:pt x="13490" y="1660"/>
                    </a:lnTo>
                    <a:lnTo>
                      <a:pt x="6473" y="6186"/>
                    </a:lnTo>
                    <a:lnTo>
                      <a:pt x="1737" y="12896"/>
                    </a:lnTo>
                    <a:lnTo>
                      <a:pt x="0" y="21107"/>
                    </a:lnTo>
                    <a:lnTo>
                      <a:pt x="1737" y="29320"/>
                    </a:lnTo>
                    <a:lnTo>
                      <a:pt x="6473" y="36034"/>
                    </a:lnTo>
                    <a:lnTo>
                      <a:pt x="13490" y="40565"/>
                    </a:lnTo>
                    <a:lnTo>
                      <a:pt x="22072" y="42227"/>
                    </a:lnTo>
                    <a:lnTo>
                      <a:pt x="31229" y="42227"/>
                    </a:lnTo>
                    <a:lnTo>
                      <a:pt x="31229" y="34505"/>
                    </a:lnTo>
                    <a:lnTo>
                      <a:pt x="14350" y="34505"/>
                    </a:lnTo>
                    <a:lnTo>
                      <a:pt x="8064" y="28486"/>
                    </a:lnTo>
                    <a:lnTo>
                      <a:pt x="8064" y="13715"/>
                    </a:lnTo>
                    <a:lnTo>
                      <a:pt x="14350" y="7721"/>
                    </a:lnTo>
                    <a:lnTo>
                      <a:pt x="31229" y="7721"/>
                    </a:lnTo>
                    <a:lnTo>
                      <a:pt x="31229" y="0"/>
                    </a:lnTo>
                    <a:close/>
                  </a:path>
                </a:pathLst>
              </a:custGeom>
              <a:solidFill>
                <a:srgbClr val="9B9B9A"/>
              </a:solidFill>
            </p:spPr>
            <p:txBody>
              <a:bodyPr wrap="square" lIns="0" tIns="0" rIns="0" bIns="0" rtlCol="0"/>
              <a:lstStyle/>
              <a:p>
                <a:endParaRPr sz="1800"/>
              </a:p>
            </p:txBody>
          </p:sp>
          <p:sp>
            <p:nvSpPr>
              <p:cNvPr id="48" name="object 21"/>
              <p:cNvSpPr/>
              <p:nvPr/>
            </p:nvSpPr>
            <p:spPr>
              <a:xfrm>
                <a:off x="8189998" y="7134064"/>
                <a:ext cx="31750" cy="42545"/>
              </a:xfrm>
              <a:custGeom>
                <a:avLst/>
                <a:gdLst/>
                <a:ahLst/>
                <a:cxnLst/>
                <a:rect l="l" t="t" r="r" b="b"/>
                <a:pathLst>
                  <a:path w="31750" h="42545">
                    <a:moveTo>
                      <a:pt x="31216" y="0"/>
                    </a:moveTo>
                    <a:lnTo>
                      <a:pt x="22072" y="0"/>
                    </a:lnTo>
                    <a:lnTo>
                      <a:pt x="13490" y="1660"/>
                    </a:lnTo>
                    <a:lnTo>
                      <a:pt x="6473" y="6186"/>
                    </a:lnTo>
                    <a:lnTo>
                      <a:pt x="1737" y="12896"/>
                    </a:lnTo>
                    <a:lnTo>
                      <a:pt x="0" y="21107"/>
                    </a:lnTo>
                    <a:lnTo>
                      <a:pt x="1737" y="29320"/>
                    </a:lnTo>
                    <a:lnTo>
                      <a:pt x="6473" y="36034"/>
                    </a:lnTo>
                    <a:lnTo>
                      <a:pt x="13490" y="40565"/>
                    </a:lnTo>
                    <a:lnTo>
                      <a:pt x="22072" y="42227"/>
                    </a:lnTo>
                    <a:lnTo>
                      <a:pt x="31216" y="42227"/>
                    </a:lnTo>
                    <a:lnTo>
                      <a:pt x="31216" y="34505"/>
                    </a:lnTo>
                    <a:lnTo>
                      <a:pt x="14350" y="34505"/>
                    </a:lnTo>
                    <a:lnTo>
                      <a:pt x="8064" y="28486"/>
                    </a:lnTo>
                    <a:lnTo>
                      <a:pt x="8064" y="13715"/>
                    </a:lnTo>
                    <a:lnTo>
                      <a:pt x="14350" y="7721"/>
                    </a:lnTo>
                    <a:lnTo>
                      <a:pt x="31216" y="7721"/>
                    </a:lnTo>
                    <a:lnTo>
                      <a:pt x="31216" y="0"/>
                    </a:lnTo>
                    <a:close/>
                  </a:path>
                </a:pathLst>
              </a:custGeom>
              <a:solidFill>
                <a:srgbClr val="9B9B9A"/>
              </a:solidFill>
            </p:spPr>
            <p:txBody>
              <a:bodyPr wrap="square" lIns="0" tIns="0" rIns="0" bIns="0" rtlCol="0"/>
              <a:lstStyle/>
              <a:p>
                <a:endParaRPr sz="1800"/>
              </a:p>
            </p:txBody>
          </p:sp>
        </p:grpSp>
        <p:sp>
          <p:nvSpPr>
            <p:cNvPr id="52" name="object 4"/>
            <p:cNvSpPr/>
            <p:nvPr/>
          </p:nvSpPr>
          <p:spPr>
            <a:xfrm>
              <a:off x="10092516" y="6976271"/>
              <a:ext cx="31750" cy="42545"/>
            </a:xfrm>
            <a:custGeom>
              <a:avLst/>
              <a:gdLst/>
              <a:ahLst/>
              <a:cxnLst/>
              <a:rect l="l" t="t" r="r" b="b"/>
              <a:pathLst>
                <a:path w="31750" h="42545">
                  <a:moveTo>
                    <a:pt x="9144" y="0"/>
                  </a:moveTo>
                  <a:lnTo>
                    <a:pt x="0" y="0"/>
                  </a:lnTo>
                  <a:lnTo>
                    <a:pt x="0" y="7721"/>
                  </a:lnTo>
                  <a:lnTo>
                    <a:pt x="16878" y="7721"/>
                  </a:lnTo>
                  <a:lnTo>
                    <a:pt x="23152" y="13741"/>
                  </a:lnTo>
                  <a:lnTo>
                    <a:pt x="23152" y="28511"/>
                  </a:lnTo>
                  <a:lnTo>
                    <a:pt x="16878" y="34505"/>
                  </a:lnTo>
                  <a:lnTo>
                    <a:pt x="0" y="34505"/>
                  </a:lnTo>
                  <a:lnTo>
                    <a:pt x="0" y="42227"/>
                  </a:lnTo>
                  <a:lnTo>
                    <a:pt x="9144" y="42227"/>
                  </a:lnTo>
                  <a:lnTo>
                    <a:pt x="17730" y="40567"/>
                  </a:lnTo>
                  <a:lnTo>
                    <a:pt x="24747" y="36041"/>
                  </a:lnTo>
                  <a:lnTo>
                    <a:pt x="29480" y="29331"/>
                  </a:lnTo>
                  <a:lnTo>
                    <a:pt x="31216" y="21120"/>
                  </a:lnTo>
                  <a:lnTo>
                    <a:pt x="29480" y="12906"/>
                  </a:lnTo>
                  <a:lnTo>
                    <a:pt x="24747" y="6192"/>
                  </a:lnTo>
                  <a:lnTo>
                    <a:pt x="17730" y="1662"/>
                  </a:lnTo>
                  <a:lnTo>
                    <a:pt x="9144" y="0"/>
                  </a:lnTo>
                  <a:close/>
                </a:path>
              </a:pathLst>
            </a:custGeom>
            <a:solidFill>
              <a:srgbClr val="9B9B9A"/>
            </a:solidFill>
          </p:spPr>
          <p:txBody>
            <a:bodyPr wrap="square" lIns="0" tIns="0" rIns="0" bIns="0" rtlCol="0"/>
            <a:lstStyle/>
            <a:p>
              <a:endParaRPr sz="1800"/>
            </a:p>
          </p:txBody>
        </p:sp>
        <p:sp>
          <p:nvSpPr>
            <p:cNvPr id="53" name="object 5"/>
            <p:cNvSpPr/>
            <p:nvPr/>
          </p:nvSpPr>
          <p:spPr>
            <a:xfrm>
              <a:off x="10377496" y="6976271"/>
              <a:ext cx="31750" cy="42545"/>
            </a:xfrm>
            <a:custGeom>
              <a:avLst/>
              <a:gdLst/>
              <a:ahLst/>
              <a:cxnLst/>
              <a:rect l="l" t="t" r="r" b="b"/>
              <a:pathLst>
                <a:path w="31750" h="42545">
                  <a:moveTo>
                    <a:pt x="9144" y="0"/>
                  </a:moveTo>
                  <a:lnTo>
                    <a:pt x="0" y="0"/>
                  </a:lnTo>
                  <a:lnTo>
                    <a:pt x="0" y="7721"/>
                  </a:lnTo>
                  <a:lnTo>
                    <a:pt x="16878" y="7721"/>
                  </a:lnTo>
                  <a:lnTo>
                    <a:pt x="23152" y="13741"/>
                  </a:lnTo>
                  <a:lnTo>
                    <a:pt x="23152" y="28511"/>
                  </a:lnTo>
                  <a:lnTo>
                    <a:pt x="16878" y="34505"/>
                  </a:lnTo>
                  <a:lnTo>
                    <a:pt x="0" y="34505"/>
                  </a:lnTo>
                  <a:lnTo>
                    <a:pt x="0" y="42227"/>
                  </a:lnTo>
                  <a:lnTo>
                    <a:pt x="9144" y="42227"/>
                  </a:lnTo>
                  <a:lnTo>
                    <a:pt x="17732" y="40567"/>
                  </a:lnTo>
                  <a:lnTo>
                    <a:pt x="24753" y="36041"/>
                  </a:lnTo>
                  <a:lnTo>
                    <a:pt x="29491" y="29331"/>
                  </a:lnTo>
                  <a:lnTo>
                    <a:pt x="31229" y="21120"/>
                  </a:lnTo>
                  <a:lnTo>
                    <a:pt x="29491" y="12906"/>
                  </a:lnTo>
                  <a:lnTo>
                    <a:pt x="24753" y="6192"/>
                  </a:lnTo>
                  <a:lnTo>
                    <a:pt x="17732" y="1662"/>
                  </a:lnTo>
                  <a:lnTo>
                    <a:pt x="9144" y="0"/>
                  </a:lnTo>
                  <a:close/>
                </a:path>
              </a:pathLst>
            </a:custGeom>
            <a:solidFill>
              <a:srgbClr val="9B9B9A"/>
            </a:solidFill>
          </p:spPr>
          <p:txBody>
            <a:bodyPr wrap="square" lIns="0" tIns="0" rIns="0" bIns="0" rtlCol="0"/>
            <a:lstStyle/>
            <a:p>
              <a:endParaRPr sz="1800"/>
            </a:p>
          </p:txBody>
        </p:sp>
        <p:sp>
          <p:nvSpPr>
            <p:cNvPr id="54" name="object 6"/>
            <p:cNvSpPr/>
            <p:nvPr/>
          </p:nvSpPr>
          <p:spPr>
            <a:xfrm>
              <a:off x="10662470" y="6976271"/>
              <a:ext cx="31750" cy="42545"/>
            </a:xfrm>
            <a:custGeom>
              <a:avLst/>
              <a:gdLst/>
              <a:ahLst/>
              <a:cxnLst/>
              <a:rect l="l" t="t" r="r" b="b"/>
              <a:pathLst>
                <a:path w="31750" h="42545">
                  <a:moveTo>
                    <a:pt x="9169" y="0"/>
                  </a:moveTo>
                  <a:lnTo>
                    <a:pt x="0" y="0"/>
                  </a:lnTo>
                  <a:lnTo>
                    <a:pt x="0" y="7721"/>
                  </a:lnTo>
                  <a:lnTo>
                    <a:pt x="16878" y="7721"/>
                  </a:lnTo>
                  <a:lnTo>
                    <a:pt x="23177" y="13741"/>
                  </a:lnTo>
                  <a:lnTo>
                    <a:pt x="23177" y="28511"/>
                  </a:lnTo>
                  <a:lnTo>
                    <a:pt x="16878" y="34505"/>
                  </a:lnTo>
                  <a:lnTo>
                    <a:pt x="0" y="34505"/>
                  </a:lnTo>
                  <a:lnTo>
                    <a:pt x="0" y="42227"/>
                  </a:lnTo>
                  <a:lnTo>
                    <a:pt x="9169" y="42227"/>
                  </a:lnTo>
                  <a:lnTo>
                    <a:pt x="17751" y="40567"/>
                  </a:lnTo>
                  <a:lnTo>
                    <a:pt x="24768" y="36041"/>
                  </a:lnTo>
                  <a:lnTo>
                    <a:pt x="29504" y="29331"/>
                  </a:lnTo>
                  <a:lnTo>
                    <a:pt x="31241" y="21120"/>
                  </a:lnTo>
                  <a:lnTo>
                    <a:pt x="29504" y="12906"/>
                  </a:lnTo>
                  <a:lnTo>
                    <a:pt x="24768" y="6192"/>
                  </a:lnTo>
                  <a:lnTo>
                    <a:pt x="17751" y="1662"/>
                  </a:lnTo>
                  <a:lnTo>
                    <a:pt x="9169" y="0"/>
                  </a:lnTo>
                  <a:close/>
                </a:path>
              </a:pathLst>
            </a:custGeom>
            <a:solidFill>
              <a:srgbClr val="9B9B9A"/>
            </a:solidFill>
          </p:spPr>
          <p:txBody>
            <a:bodyPr wrap="square" lIns="0" tIns="0" rIns="0" bIns="0" rtlCol="0"/>
            <a:lstStyle/>
            <a:p>
              <a:endParaRPr sz="1800"/>
            </a:p>
          </p:txBody>
        </p:sp>
        <p:sp>
          <p:nvSpPr>
            <p:cNvPr id="55" name="object 19"/>
            <p:cNvSpPr/>
            <p:nvPr/>
          </p:nvSpPr>
          <p:spPr>
            <a:xfrm>
              <a:off x="10662494" y="7134064"/>
              <a:ext cx="31750" cy="42545"/>
            </a:xfrm>
            <a:custGeom>
              <a:avLst/>
              <a:gdLst/>
              <a:ahLst/>
              <a:cxnLst/>
              <a:rect l="l" t="t" r="r" b="b"/>
              <a:pathLst>
                <a:path w="31750" h="42545">
                  <a:moveTo>
                    <a:pt x="31216" y="0"/>
                  </a:moveTo>
                  <a:lnTo>
                    <a:pt x="22059" y="0"/>
                  </a:lnTo>
                  <a:lnTo>
                    <a:pt x="13485" y="1660"/>
                  </a:lnTo>
                  <a:lnTo>
                    <a:pt x="6472" y="6186"/>
                  </a:lnTo>
                  <a:lnTo>
                    <a:pt x="1737" y="12896"/>
                  </a:lnTo>
                  <a:lnTo>
                    <a:pt x="0" y="21107"/>
                  </a:lnTo>
                  <a:lnTo>
                    <a:pt x="1737" y="29320"/>
                  </a:lnTo>
                  <a:lnTo>
                    <a:pt x="6472" y="36034"/>
                  </a:lnTo>
                  <a:lnTo>
                    <a:pt x="13485" y="40565"/>
                  </a:lnTo>
                  <a:lnTo>
                    <a:pt x="22059" y="42227"/>
                  </a:lnTo>
                  <a:lnTo>
                    <a:pt x="31216" y="42227"/>
                  </a:lnTo>
                  <a:lnTo>
                    <a:pt x="31216" y="34505"/>
                  </a:lnTo>
                  <a:lnTo>
                    <a:pt x="14338" y="34505"/>
                  </a:lnTo>
                  <a:lnTo>
                    <a:pt x="8064" y="28486"/>
                  </a:lnTo>
                  <a:lnTo>
                    <a:pt x="8064" y="13715"/>
                  </a:lnTo>
                  <a:lnTo>
                    <a:pt x="14338" y="7721"/>
                  </a:lnTo>
                  <a:lnTo>
                    <a:pt x="31216" y="7721"/>
                  </a:lnTo>
                  <a:lnTo>
                    <a:pt x="31216" y="0"/>
                  </a:lnTo>
                  <a:close/>
                </a:path>
              </a:pathLst>
            </a:custGeom>
            <a:solidFill>
              <a:srgbClr val="9B9B9A"/>
            </a:solidFill>
          </p:spPr>
          <p:txBody>
            <a:bodyPr wrap="square" lIns="0" tIns="0" rIns="0" bIns="0" rtlCol="0"/>
            <a:lstStyle/>
            <a:p>
              <a:endParaRPr sz="1800"/>
            </a:p>
          </p:txBody>
        </p:sp>
        <p:sp>
          <p:nvSpPr>
            <p:cNvPr id="56" name="object 20"/>
            <p:cNvSpPr/>
            <p:nvPr/>
          </p:nvSpPr>
          <p:spPr>
            <a:xfrm>
              <a:off x="10377494" y="7134064"/>
              <a:ext cx="31750" cy="42545"/>
            </a:xfrm>
            <a:custGeom>
              <a:avLst/>
              <a:gdLst/>
              <a:ahLst/>
              <a:cxnLst/>
              <a:rect l="l" t="t" r="r" b="b"/>
              <a:pathLst>
                <a:path w="31750" h="42545">
                  <a:moveTo>
                    <a:pt x="31229" y="0"/>
                  </a:moveTo>
                  <a:lnTo>
                    <a:pt x="22072" y="0"/>
                  </a:lnTo>
                  <a:lnTo>
                    <a:pt x="13490" y="1660"/>
                  </a:lnTo>
                  <a:lnTo>
                    <a:pt x="6473" y="6186"/>
                  </a:lnTo>
                  <a:lnTo>
                    <a:pt x="1737" y="12896"/>
                  </a:lnTo>
                  <a:lnTo>
                    <a:pt x="0" y="21107"/>
                  </a:lnTo>
                  <a:lnTo>
                    <a:pt x="1737" y="29320"/>
                  </a:lnTo>
                  <a:lnTo>
                    <a:pt x="6473" y="36034"/>
                  </a:lnTo>
                  <a:lnTo>
                    <a:pt x="13490" y="40565"/>
                  </a:lnTo>
                  <a:lnTo>
                    <a:pt x="22072" y="42227"/>
                  </a:lnTo>
                  <a:lnTo>
                    <a:pt x="31229" y="42227"/>
                  </a:lnTo>
                  <a:lnTo>
                    <a:pt x="31229" y="34505"/>
                  </a:lnTo>
                  <a:lnTo>
                    <a:pt x="14350" y="34505"/>
                  </a:lnTo>
                  <a:lnTo>
                    <a:pt x="8064" y="28486"/>
                  </a:lnTo>
                  <a:lnTo>
                    <a:pt x="8064" y="13715"/>
                  </a:lnTo>
                  <a:lnTo>
                    <a:pt x="14350" y="7721"/>
                  </a:lnTo>
                  <a:lnTo>
                    <a:pt x="31229" y="7721"/>
                  </a:lnTo>
                  <a:lnTo>
                    <a:pt x="31229" y="0"/>
                  </a:lnTo>
                  <a:close/>
                </a:path>
              </a:pathLst>
            </a:custGeom>
            <a:solidFill>
              <a:srgbClr val="9B9B9A"/>
            </a:solidFill>
          </p:spPr>
          <p:txBody>
            <a:bodyPr wrap="square" lIns="0" tIns="0" rIns="0" bIns="0" rtlCol="0"/>
            <a:lstStyle/>
            <a:p>
              <a:endParaRPr sz="1800"/>
            </a:p>
          </p:txBody>
        </p:sp>
        <p:sp>
          <p:nvSpPr>
            <p:cNvPr id="57" name="object 21"/>
            <p:cNvSpPr/>
            <p:nvPr/>
          </p:nvSpPr>
          <p:spPr>
            <a:xfrm>
              <a:off x="10092512" y="7134064"/>
              <a:ext cx="31750" cy="42545"/>
            </a:xfrm>
            <a:custGeom>
              <a:avLst/>
              <a:gdLst/>
              <a:ahLst/>
              <a:cxnLst/>
              <a:rect l="l" t="t" r="r" b="b"/>
              <a:pathLst>
                <a:path w="31750" h="42545">
                  <a:moveTo>
                    <a:pt x="31216" y="0"/>
                  </a:moveTo>
                  <a:lnTo>
                    <a:pt x="22072" y="0"/>
                  </a:lnTo>
                  <a:lnTo>
                    <a:pt x="13490" y="1660"/>
                  </a:lnTo>
                  <a:lnTo>
                    <a:pt x="6473" y="6186"/>
                  </a:lnTo>
                  <a:lnTo>
                    <a:pt x="1737" y="12896"/>
                  </a:lnTo>
                  <a:lnTo>
                    <a:pt x="0" y="21107"/>
                  </a:lnTo>
                  <a:lnTo>
                    <a:pt x="1737" y="29320"/>
                  </a:lnTo>
                  <a:lnTo>
                    <a:pt x="6473" y="36034"/>
                  </a:lnTo>
                  <a:lnTo>
                    <a:pt x="13490" y="40565"/>
                  </a:lnTo>
                  <a:lnTo>
                    <a:pt x="22072" y="42227"/>
                  </a:lnTo>
                  <a:lnTo>
                    <a:pt x="31216" y="42227"/>
                  </a:lnTo>
                  <a:lnTo>
                    <a:pt x="31216" y="34505"/>
                  </a:lnTo>
                  <a:lnTo>
                    <a:pt x="14350" y="34505"/>
                  </a:lnTo>
                  <a:lnTo>
                    <a:pt x="8064" y="28486"/>
                  </a:lnTo>
                  <a:lnTo>
                    <a:pt x="8064" y="13715"/>
                  </a:lnTo>
                  <a:lnTo>
                    <a:pt x="14350" y="7721"/>
                  </a:lnTo>
                  <a:lnTo>
                    <a:pt x="31216" y="7721"/>
                  </a:lnTo>
                  <a:lnTo>
                    <a:pt x="31216" y="0"/>
                  </a:lnTo>
                  <a:close/>
                </a:path>
              </a:pathLst>
            </a:custGeom>
            <a:solidFill>
              <a:srgbClr val="9B9B9A"/>
            </a:solidFill>
          </p:spPr>
          <p:txBody>
            <a:bodyPr wrap="square" lIns="0" tIns="0" rIns="0" bIns="0" rtlCol="0"/>
            <a:lstStyle/>
            <a:p>
              <a:endParaRPr sz="1800"/>
            </a:p>
          </p:txBody>
        </p:sp>
      </p:grpSp>
    </p:spTree>
    <p:extLst>
      <p:ext uri="{BB962C8B-B14F-4D97-AF65-F5344CB8AC3E}">
        <p14:creationId xmlns:p14="http://schemas.microsoft.com/office/powerpoint/2010/main" val="2952990642"/>
      </p:ext>
    </p:extLst>
  </p:cSld>
  <p:clrMap bg1="lt1" tx1="dk1" bg2="lt2" tx2="dk2" accent1="accent1" accent2="accent2" accent3="accent3" accent4="accent4" accent5="accent5" accent6="accent6" hlink="hlink" folHlink="folHlink"/>
  <p:sldLayoutIdLst>
    <p:sldLayoutId id="2147484359" r:id="rId1"/>
    <p:sldLayoutId id="2147484360" r:id="rId2"/>
    <p:sldLayoutId id="2147484361" r:id="rId3"/>
    <p:sldLayoutId id="2147484362" r:id="rId4"/>
    <p:sldLayoutId id="2147484363" r:id="rId5"/>
    <p:sldLayoutId id="2147484364" r:id="rId6"/>
    <p:sldLayoutId id="2147484365" r:id="rId7"/>
    <p:sldLayoutId id="2147484366" r:id="rId8"/>
    <p:sldLayoutId id="2147484367" r:id="rId9"/>
    <p:sldLayoutId id="2147484368" r:id="rId10"/>
    <p:sldLayoutId id="2147484369" r:id="rId11"/>
    <p:sldLayoutId id="2147484370" r:id="rId12"/>
    <p:sldLayoutId id="2147484371" r:id="rId13"/>
    <p:sldLayoutId id="2147484372" r:id="rId14"/>
    <p:sldLayoutId id="2147484373" r:id="rId15"/>
    <p:sldLayoutId id="2147484374" r:id="rId16"/>
    <p:sldLayoutId id="2147484375" r:id="rId17"/>
    <p:sldLayoutId id="2147484376" r:id="rId18"/>
    <p:sldLayoutId id="2147484377" r:id="rId19"/>
    <p:sldLayoutId id="2147484378" r:id="rId20"/>
    <p:sldLayoutId id="2147484379" r:id="rId21"/>
    <p:sldLayoutId id="2147484380" r:id="rId22"/>
    <p:sldLayoutId id="2147484381" r:id="rId23"/>
    <p:sldLayoutId id="2147484382" r:id="rId24"/>
    <p:sldLayoutId id="2147484383" r:id="rId25"/>
    <p:sldLayoutId id="2147484384" r:id="rId26"/>
    <p:sldLayoutId id="2147484385" r:id="rId27"/>
    <p:sldLayoutId id="2147484386" r:id="rId28"/>
    <p:sldLayoutId id="2147484387" r:id="rId29"/>
    <p:sldLayoutId id="2147484388" r:id="rId30"/>
    <p:sldLayoutId id="2147484389" r:id="rId31"/>
    <p:sldLayoutId id="2147484390" r:id="rId32"/>
    <p:sldLayoutId id="2147484391" r:id="rId33"/>
    <p:sldLayoutId id="2147484392" r:id="rId34"/>
    <p:sldLayoutId id="2147484393" r:id="rId35"/>
    <p:sldLayoutId id="2147484394" r:id="rId36"/>
    <p:sldLayoutId id="2147484395" r:id="rId37"/>
    <p:sldLayoutId id="2147484396" r:id="rId38"/>
    <p:sldLayoutId id="2147484397" r:id="rId39"/>
    <p:sldLayoutId id="2147484398" r:id="rId40"/>
    <p:sldLayoutId id="2147484399" r:id="rId41"/>
    <p:sldLayoutId id="2147484400" r:id="rId42"/>
    <p:sldLayoutId id="2147484401" r:id="rId43"/>
    <p:sldLayoutId id="2147484402" r:id="rId44"/>
    <p:sldLayoutId id="2147484427" r:id="rId45"/>
  </p:sldLayoutIdLst>
  <p:hf hdr="0" ftr="0" dt="0"/>
  <p:txStyles>
    <p:titleStyle>
      <a:lvl1pPr algn="l" defTabSz="1007352" rtl="0" eaLnBrk="1" latinLnBrk="0" hangingPunct="1">
        <a:lnSpc>
          <a:spcPct val="90000"/>
        </a:lnSpc>
        <a:spcBef>
          <a:spcPct val="0"/>
        </a:spcBef>
        <a:buNone/>
        <a:defRPr sz="4847" kern="1200">
          <a:solidFill>
            <a:schemeClr val="tx1"/>
          </a:solidFill>
          <a:latin typeface="+mj-lt"/>
          <a:ea typeface="+mj-ea"/>
          <a:cs typeface="+mj-cs"/>
        </a:defRPr>
      </a:lvl1pPr>
    </p:titleStyle>
    <p:bodyStyle>
      <a:lvl1pPr marL="251840" indent="-251840" algn="l" defTabSz="1007352" rtl="0" eaLnBrk="1" latinLnBrk="0" hangingPunct="1">
        <a:lnSpc>
          <a:spcPct val="90000"/>
        </a:lnSpc>
        <a:spcBef>
          <a:spcPts val="1102"/>
        </a:spcBef>
        <a:buFont typeface="Arial" panose="020B0604020202020204" pitchFamily="34" charset="0"/>
        <a:buChar char="•"/>
        <a:defRPr sz="3082" kern="1200">
          <a:solidFill>
            <a:schemeClr val="tx1"/>
          </a:solidFill>
          <a:latin typeface="+mn-lt"/>
          <a:ea typeface="+mn-ea"/>
          <a:cs typeface="+mn-cs"/>
        </a:defRPr>
      </a:lvl1pPr>
      <a:lvl2pPr marL="755514" indent="-251840" algn="l" defTabSz="1007352" rtl="0" eaLnBrk="1" latinLnBrk="0" hangingPunct="1">
        <a:lnSpc>
          <a:spcPct val="90000"/>
        </a:lnSpc>
        <a:spcBef>
          <a:spcPts val="552"/>
        </a:spcBef>
        <a:buFont typeface="Arial" panose="020B0604020202020204" pitchFamily="34" charset="0"/>
        <a:buChar char="•"/>
        <a:defRPr sz="2644" kern="1200">
          <a:solidFill>
            <a:schemeClr val="tx1"/>
          </a:solidFill>
          <a:latin typeface="+mn-lt"/>
          <a:ea typeface="+mn-ea"/>
          <a:cs typeface="+mn-cs"/>
        </a:defRPr>
      </a:lvl2pPr>
      <a:lvl3pPr marL="1259191" indent="-251840" algn="l" defTabSz="1007352" rtl="0" eaLnBrk="1" latinLnBrk="0" hangingPunct="1">
        <a:lnSpc>
          <a:spcPct val="90000"/>
        </a:lnSpc>
        <a:spcBef>
          <a:spcPts val="552"/>
        </a:spcBef>
        <a:buFont typeface="Arial" panose="020B0604020202020204" pitchFamily="34" charset="0"/>
        <a:buChar char="•"/>
        <a:defRPr sz="2205" kern="1200">
          <a:solidFill>
            <a:schemeClr val="tx1"/>
          </a:solidFill>
          <a:latin typeface="+mn-lt"/>
          <a:ea typeface="+mn-ea"/>
          <a:cs typeface="+mn-cs"/>
        </a:defRPr>
      </a:lvl3pPr>
      <a:lvl4pPr marL="1762865" indent="-251840" algn="l" defTabSz="1007352" rtl="0" eaLnBrk="1" latinLnBrk="0" hangingPunct="1">
        <a:lnSpc>
          <a:spcPct val="90000"/>
        </a:lnSpc>
        <a:spcBef>
          <a:spcPts val="552"/>
        </a:spcBef>
        <a:buFont typeface="Arial" panose="020B0604020202020204" pitchFamily="34" charset="0"/>
        <a:buChar char="•"/>
        <a:defRPr sz="1982" kern="1200">
          <a:solidFill>
            <a:schemeClr val="tx1"/>
          </a:solidFill>
          <a:latin typeface="+mn-lt"/>
          <a:ea typeface="+mn-ea"/>
          <a:cs typeface="+mn-cs"/>
        </a:defRPr>
      </a:lvl4pPr>
      <a:lvl5pPr marL="2266544" indent="-251840" algn="l" defTabSz="1007352" rtl="0" eaLnBrk="1" latinLnBrk="0" hangingPunct="1">
        <a:lnSpc>
          <a:spcPct val="90000"/>
        </a:lnSpc>
        <a:spcBef>
          <a:spcPts val="552"/>
        </a:spcBef>
        <a:buFont typeface="Arial" panose="020B0604020202020204" pitchFamily="34" charset="0"/>
        <a:buChar char="•"/>
        <a:defRPr sz="1982" kern="1200">
          <a:solidFill>
            <a:schemeClr val="tx1"/>
          </a:solidFill>
          <a:latin typeface="+mn-lt"/>
          <a:ea typeface="+mn-ea"/>
          <a:cs typeface="+mn-cs"/>
        </a:defRPr>
      </a:lvl5pPr>
      <a:lvl6pPr marL="2770222" indent="-251840" algn="l" defTabSz="1007352" rtl="0" eaLnBrk="1" latinLnBrk="0" hangingPunct="1">
        <a:lnSpc>
          <a:spcPct val="90000"/>
        </a:lnSpc>
        <a:spcBef>
          <a:spcPts val="552"/>
        </a:spcBef>
        <a:buFont typeface="Arial" panose="020B0604020202020204" pitchFamily="34" charset="0"/>
        <a:buChar char="•"/>
        <a:defRPr sz="1982" kern="1200">
          <a:solidFill>
            <a:schemeClr val="tx1"/>
          </a:solidFill>
          <a:latin typeface="+mn-lt"/>
          <a:ea typeface="+mn-ea"/>
          <a:cs typeface="+mn-cs"/>
        </a:defRPr>
      </a:lvl6pPr>
      <a:lvl7pPr marL="3273896" indent="-251840" algn="l" defTabSz="1007352" rtl="0" eaLnBrk="1" latinLnBrk="0" hangingPunct="1">
        <a:lnSpc>
          <a:spcPct val="90000"/>
        </a:lnSpc>
        <a:spcBef>
          <a:spcPts val="552"/>
        </a:spcBef>
        <a:buFont typeface="Arial" panose="020B0604020202020204" pitchFamily="34" charset="0"/>
        <a:buChar char="•"/>
        <a:defRPr sz="1982" kern="1200">
          <a:solidFill>
            <a:schemeClr val="tx1"/>
          </a:solidFill>
          <a:latin typeface="+mn-lt"/>
          <a:ea typeface="+mn-ea"/>
          <a:cs typeface="+mn-cs"/>
        </a:defRPr>
      </a:lvl7pPr>
      <a:lvl8pPr marL="3777573" indent="-251840" algn="l" defTabSz="1007352" rtl="0" eaLnBrk="1" latinLnBrk="0" hangingPunct="1">
        <a:lnSpc>
          <a:spcPct val="90000"/>
        </a:lnSpc>
        <a:spcBef>
          <a:spcPts val="552"/>
        </a:spcBef>
        <a:buFont typeface="Arial" panose="020B0604020202020204" pitchFamily="34" charset="0"/>
        <a:buChar char="•"/>
        <a:defRPr sz="1982" kern="1200">
          <a:solidFill>
            <a:schemeClr val="tx1"/>
          </a:solidFill>
          <a:latin typeface="+mn-lt"/>
          <a:ea typeface="+mn-ea"/>
          <a:cs typeface="+mn-cs"/>
        </a:defRPr>
      </a:lvl8pPr>
      <a:lvl9pPr marL="4281249" indent="-251840" algn="l" defTabSz="1007352" rtl="0" eaLnBrk="1" latinLnBrk="0" hangingPunct="1">
        <a:lnSpc>
          <a:spcPct val="90000"/>
        </a:lnSpc>
        <a:spcBef>
          <a:spcPts val="552"/>
        </a:spcBef>
        <a:buFont typeface="Arial" panose="020B0604020202020204" pitchFamily="34" charset="0"/>
        <a:buChar char="•"/>
        <a:defRPr sz="1982" kern="1200">
          <a:solidFill>
            <a:schemeClr val="tx1"/>
          </a:solidFill>
          <a:latin typeface="+mn-lt"/>
          <a:ea typeface="+mn-ea"/>
          <a:cs typeface="+mn-cs"/>
        </a:defRPr>
      </a:lvl9pPr>
    </p:bodyStyle>
    <p:otherStyle>
      <a:defPPr>
        <a:defRPr lang="en-US"/>
      </a:defPPr>
      <a:lvl1pPr marL="0" algn="l" defTabSz="1007352" rtl="0" eaLnBrk="1" latinLnBrk="0" hangingPunct="1">
        <a:defRPr sz="1982" kern="1200">
          <a:solidFill>
            <a:schemeClr val="tx1"/>
          </a:solidFill>
          <a:latin typeface="+mn-lt"/>
          <a:ea typeface="+mn-ea"/>
          <a:cs typeface="+mn-cs"/>
        </a:defRPr>
      </a:lvl1pPr>
      <a:lvl2pPr marL="503676" algn="l" defTabSz="1007352" rtl="0" eaLnBrk="1" latinLnBrk="0" hangingPunct="1">
        <a:defRPr sz="1982" kern="1200">
          <a:solidFill>
            <a:schemeClr val="tx1"/>
          </a:solidFill>
          <a:latin typeface="+mn-lt"/>
          <a:ea typeface="+mn-ea"/>
          <a:cs typeface="+mn-cs"/>
        </a:defRPr>
      </a:lvl2pPr>
      <a:lvl3pPr marL="1007352" algn="l" defTabSz="1007352" rtl="0" eaLnBrk="1" latinLnBrk="0" hangingPunct="1">
        <a:defRPr sz="1982" kern="1200">
          <a:solidFill>
            <a:schemeClr val="tx1"/>
          </a:solidFill>
          <a:latin typeface="+mn-lt"/>
          <a:ea typeface="+mn-ea"/>
          <a:cs typeface="+mn-cs"/>
        </a:defRPr>
      </a:lvl3pPr>
      <a:lvl4pPr marL="1511030" algn="l" defTabSz="1007352" rtl="0" eaLnBrk="1" latinLnBrk="0" hangingPunct="1">
        <a:defRPr sz="1982" kern="1200">
          <a:solidFill>
            <a:schemeClr val="tx1"/>
          </a:solidFill>
          <a:latin typeface="+mn-lt"/>
          <a:ea typeface="+mn-ea"/>
          <a:cs typeface="+mn-cs"/>
        </a:defRPr>
      </a:lvl4pPr>
      <a:lvl5pPr marL="2014706" algn="l" defTabSz="1007352" rtl="0" eaLnBrk="1" latinLnBrk="0" hangingPunct="1">
        <a:defRPr sz="1982" kern="1200">
          <a:solidFill>
            <a:schemeClr val="tx1"/>
          </a:solidFill>
          <a:latin typeface="+mn-lt"/>
          <a:ea typeface="+mn-ea"/>
          <a:cs typeface="+mn-cs"/>
        </a:defRPr>
      </a:lvl5pPr>
      <a:lvl6pPr marL="2518382" algn="l" defTabSz="1007352" rtl="0" eaLnBrk="1" latinLnBrk="0" hangingPunct="1">
        <a:defRPr sz="1982" kern="1200">
          <a:solidFill>
            <a:schemeClr val="tx1"/>
          </a:solidFill>
          <a:latin typeface="+mn-lt"/>
          <a:ea typeface="+mn-ea"/>
          <a:cs typeface="+mn-cs"/>
        </a:defRPr>
      </a:lvl6pPr>
      <a:lvl7pPr marL="3022058" algn="l" defTabSz="1007352" rtl="0" eaLnBrk="1" latinLnBrk="0" hangingPunct="1">
        <a:defRPr sz="1982" kern="1200">
          <a:solidFill>
            <a:schemeClr val="tx1"/>
          </a:solidFill>
          <a:latin typeface="+mn-lt"/>
          <a:ea typeface="+mn-ea"/>
          <a:cs typeface="+mn-cs"/>
        </a:defRPr>
      </a:lvl7pPr>
      <a:lvl8pPr marL="3525733" algn="l" defTabSz="1007352" rtl="0" eaLnBrk="1" latinLnBrk="0" hangingPunct="1">
        <a:defRPr sz="1982" kern="1200">
          <a:solidFill>
            <a:schemeClr val="tx1"/>
          </a:solidFill>
          <a:latin typeface="+mn-lt"/>
          <a:ea typeface="+mn-ea"/>
          <a:cs typeface="+mn-cs"/>
        </a:defRPr>
      </a:lvl8pPr>
      <a:lvl9pPr marL="4029411" algn="l" defTabSz="1007352" rtl="0" eaLnBrk="1" latinLnBrk="0" hangingPunct="1">
        <a:defRPr sz="1982"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Объект 1" hidden="1">
            <a:extLst>
              <a:ext uri="{FF2B5EF4-FFF2-40B4-BE49-F238E27FC236}">
                <a16:creationId xmlns:a16="http://schemas.microsoft.com/office/drawing/2014/main" id="{71CA3DA3-AD60-4D54-96BF-BF78B642C93B}"/>
              </a:ext>
            </a:extLst>
          </p:cNvPr>
          <p:cNvGraphicFramePr>
            <a:graphicFrameLocks noChangeAspect="1"/>
          </p:cNvGraphicFramePr>
          <p:nvPr userDrawn="1">
            <p:custDataLst>
              <p:tags r:id="rId13"/>
            </p:custDataLst>
            <p:extLst>
              <p:ext uri="{D42A27DB-BD31-4B8C-83A1-F6EECF244321}">
                <p14:modId xmlns:p14="http://schemas.microsoft.com/office/powerpoint/2010/main" val="3743047973"/>
              </p:ext>
            </p:extLst>
          </p:nvPr>
        </p:nvGraphicFramePr>
        <p:xfrm>
          <a:off x="1588" y="1590"/>
          <a:ext cx="1587" cy="1588"/>
        </p:xfrm>
        <a:graphic>
          <a:graphicData uri="http://schemas.openxmlformats.org/presentationml/2006/ole">
            <mc:AlternateContent xmlns:mc="http://schemas.openxmlformats.org/markup-compatibility/2006">
              <mc:Choice xmlns:v="urn:schemas-microsoft-com:vml" Requires="v">
                <p:oleObj name="Слайд think-cell" r:id="rId14" imgW="359" imgH="360" progId="TCLayout.ActiveDocument.1">
                  <p:embed/>
                </p:oleObj>
              </mc:Choice>
              <mc:Fallback>
                <p:oleObj name="Слайд think-cell" r:id="rId14" imgW="359" imgH="360" progId="TCLayout.ActiveDocument.1">
                  <p:embed/>
                  <p:pic>
                    <p:nvPicPr>
                      <p:cNvPr id="2" name="Объект 1" hidden="1">
                        <a:extLst>
                          <a:ext uri="{FF2B5EF4-FFF2-40B4-BE49-F238E27FC236}">
                            <a16:creationId xmlns:a16="http://schemas.microsoft.com/office/drawing/2014/main" id="{71CA3DA3-AD60-4D54-96BF-BF78B642C93B}"/>
                          </a:ext>
                        </a:extLst>
                      </p:cNvPr>
                      <p:cNvPicPr/>
                      <p:nvPr/>
                    </p:nvPicPr>
                    <p:blipFill>
                      <a:blip r:embed="rId15"/>
                      <a:stretch>
                        <a:fillRect/>
                      </a:stretch>
                    </p:blipFill>
                    <p:spPr>
                      <a:xfrm>
                        <a:off x="1588" y="1590"/>
                        <a:ext cx="1587" cy="1588"/>
                      </a:xfrm>
                      <a:prstGeom prst="rect">
                        <a:avLst/>
                      </a:prstGeom>
                    </p:spPr>
                  </p:pic>
                </p:oleObj>
              </mc:Fallback>
            </mc:AlternateContent>
          </a:graphicData>
        </a:graphic>
      </p:graphicFrame>
      <p:sp>
        <p:nvSpPr>
          <p:cNvPr id="10" name="Title 9"/>
          <p:cNvSpPr txBox="1">
            <a:spLocks/>
          </p:cNvSpPr>
          <p:nvPr userDrawn="1"/>
        </p:nvSpPr>
        <p:spPr>
          <a:xfrm>
            <a:off x="707138" y="441552"/>
            <a:ext cx="10649822" cy="415146"/>
          </a:xfrm>
          <a:prstGeom prst="rect">
            <a:avLst/>
          </a:prstGeom>
        </p:spPr>
        <p:txBody>
          <a:bodyPr>
            <a:noAutofit/>
          </a:bodyPr>
          <a:lstStyle>
            <a:lvl1pPr algn="l" defTabSz="1007943" rtl="0" eaLnBrk="1" latinLnBrk="0" hangingPunct="1">
              <a:lnSpc>
                <a:spcPct val="90000"/>
              </a:lnSpc>
              <a:spcBef>
                <a:spcPct val="0"/>
              </a:spcBef>
              <a:buNone/>
              <a:defRPr sz="2600" b="1" kern="1200">
                <a:solidFill>
                  <a:srgbClr val="000000"/>
                </a:solidFill>
                <a:latin typeface="+mj-lt"/>
                <a:ea typeface="+mj-ea"/>
                <a:cs typeface="+mj-cs"/>
              </a:defRPr>
            </a:lvl1pPr>
          </a:lstStyle>
          <a:p>
            <a:endParaRPr lang="ru-RU" sz="3267"/>
          </a:p>
        </p:txBody>
      </p:sp>
      <p:sp>
        <p:nvSpPr>
          <p:cNvPr id="49" name="Прямоугольник 48"/>
          <p:cNvSpPr/>
          <p:nvPr userDrawn="1"/>
        </p:nvSpPr>
        <p:spPr>
          <a:xfrm>
            <a:off x="465909" y="1"/>
            <a:ext cx="757645" cy="888274"/>
          </a:xfrm>
          <a:prstGeom prst="rect">
            <a:avLst/>
          </a:prstGeom>
          <a:solidFill>
            <a:srgbClr val="FED1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ru-RU" sz="1800"/>
          </a:p>
        </p:txBody>
      </p:sp>
      <p:grpSp>
        <p:nvGrpSpPr>
          <p:cNvPr id="58" name="Группа 57"/>
          <p:cNvGrpSpPr/>
          <p:nvPr userDrawn="1"/>
        </p:nvGrpSpPr>
        <p:grpSpPr>
          <a:xfrm>
            <a:off x="10092514" y="6976271"/>
            <a:ext cx="3166616" cy="200338"/>
            <a:chOff x="10092512" y="6976271"/>
            <a:chExt cx="3166616" cy="200338"/>
          </a:xfrm>
        </p:grpSpPr>
        <p:grpSp>
          <p:nvGrpSpPr>
            <p:cNvPr id="30" name="Группа 29"/>
            <p:cNvGrpSpPr/>
            <p:nvPr userDrawn="1"/>
          </p:nvGrpSpPr>
          <p:grpSpPr>
            <a:xfrm>
              <a:off x="10947495" y="6976271"/>
              <a:ext cx="2311633" cy="200338"/>
              <a:chOff x="8189998" y="6976271"/>
              <a:chExt cx="2311633" cy="200338"/>
            </a:xfrm>
          </p:grpSpPr>
          <p:sp>
            <p:nvSpPr>
              <p:cNvPr id="31" name="object 4"/>
              <p:cNvSpPr/>
              <p:nvPr userDrawn="1"/>
            </p:nvSpPr>
            <p:spPr>
              <a:xfrm>
                <a:off x="8190002" y="6976271"/>
                <a:ext cx="31750" cy="42545"/>
              </a:xfrm>
              <a:custGeom>
                <a:avLst/>
                <a:gdLst/>
                <a:ahLst/>
                <a:cxnLst/>
                <a:rect l="l" t="t" r="r" b="b"/>
                <a:pathLst>
                  <a:path w="31750" h="42545">
                    <a:moveTo>
                      <a:pt x="9144" y="0"/>
                    </a:moveTo>
                    <a:lnTo>
                      <a:pt x="0" y="0"/>
                    </a:lnTo>
                    <a:lnTo>
                      <a:pt x="0" y="7721"/>
                    </a:lnTo>
                    <a:lnTo>
                      <a:pt x="16878" y="7721"/>
                    </a:lnTo>
                    <a:lnTo>
                      <a:pt x="23152" y="13741"/>
                    </a:lnTo>
                    <a:lnTo>
                      <a:pt x="23152" y="28511"/>
                    </a:lnTo>
                    <a:lnTo>
                      <a:pt x="16878" y="34505"/>
                    </a:lnTo>
                    <a:lnTo>
                      <a:pt x="0" y="34505"/>
                    </a:lnTo>
                    <a:lnTo>
                      <a:pt x="0" y="42227"/>
                    </a:lnTo>
                    <a:lnTo>
                      <a:pt x="9144" y="42227"/>
                    </a:lnTo>
                    <a:lnTo>
                      <a:pt x="17730" y="40567"/>
                    </a:lnTo>
                    <a:lnTo>
                      <a:pt x="24747" y="36041"/>
                    </a:lnTo>
                    <a:lnTo>
                      <a:pt x="29480" y="29331"/>
                    </a:lnTo>
                    <a:lnTo>
                      <a:pt x="31216" y="21120"/>
                    </a:lnTo>
                    <a:lnTo>
                      <a:pt x="29480" y="12906"/>
                    </a:lnTo>
                    <a:lnTo>
                      <a:pt x="24747" y="6192"/>
                    </a:lnTo>
                    <a:lnTo>
                      <a:pt x="17730" y="1662"/>
                    </a:lnTo>
                    <a:lnTo>
                      <a:pt x="9144" y="0"/>
                    </a:lnTo>
                    <a:close/>
                  </a:path>
                </a:pathLst>
              </a:custGeom>
              <a:solidFill>
                <a:srgbClr val="9B9B9A"/>
              </a:solidFill>
            </p:spPr>
            <p:txBody>
              <a:bodyPr wrap="square" lIns="0" tIns="0" rIns="0" bIns="0" rtlCol="0"/>
              <a:lstStyle/>
              <a:p>
                <a:endParaRPr sz="1800"/>
              </a:p>
            </p:txBody>
          </p:sp>
          <p:sp>
            <p:nvSpPr>
              <p:cNvPr id="32" name="object 5"/>
              <p:cNvSpPr/>
              <p:nvPr userDrawn="1"/>
            </p:nvSpPr>
            <p:spPr>
              <a:xfrm>
                <a:off x="8474982" y="6976271"/>
                <a:ext cx="31750" cy="42545"/>
              </a:xfrm>
              <a:custGeom>
                <a:avLst/>
                <a:gdLst/>
                <a:ahLst/>
                <a:cxnLst/>
                <a:rect l="l" t="t" r="r" b="b"/>
                <a:pathLst>
                  <a:path w="31750" h="42545">
                    <a:moveTo>
                      <a:pt x="9144" y="0"/>
                    </a:moveTo>
                    <a:lnTo>
                      <a:pt x="0" y="0"/>
                    </a:lnTo>
                    <a:lnTo>
                      <a:pt x="0" y="7721"/>
                    </a:lnTo>
                    <a:lnTo>
                      <a:pt x="16878" y="7721"/>
                    </a:lnTo>
                    <a:lnTo>
                      <a:pt x="23152" y="13741"/>
                    </a:lnTo>
                    <a:lnTo>
                      <a:pt x="23152" y="28511"/>
                    </a:lnTo>
                    <a:lnTo>
                      <a:pt x="16878" y="34505"/>
                    </a:lnTo>
                    <a:lnTo>
                      <a:pt x="0" y="34505"/>
                    </a:lnTo>
                    <a:lnTo>
                      <a:pt x="0" y="42227"/>
                    </a:lnTo>
                    <a:lnTo>
                      <a:pt x="9144" y="42227"/>
                    </a:lnTo>
                    <a:lnTo>
                      <a:pt x="17732" y="40567"/>
                    </a:lnTo>
                    <a:lnTo>
                      <a:pt x="24753" y="36041"/>
                    </a:lnTo>
                    <a:lnTo>
                      <a:pt x="29491" y="29331"/>
                    </a:lnTo>
                    <a:lnTo>
                      <a:pt x="31229" y="21120"/>
                    </a:lnTo>
                    <a:lnTo>
                      <a:pt x="29491" y="12906"/>
                    </a:lnTo>
                    <a:lnTo>
                      <a:pt x="24753" y="6192"/>
                    </a:lnTo>
                    <a:lnTo>
                      <a:pt x="17732" y="1662"/>
                    </a:lnTo>
                    <a:lnTo>
                      <a:pt x="9144" y="0"/>
                    </a:lnTo>
                    <a:close/>
                  </a:path>
                </a:pathLst>
              </a:custGeom>
              <a:solidFill>
                <a:srgbClr val="9B9B9A"/>
              </a:solidFill>
            </p:spPr>
            <p:txBody>
              <a:bodyPr wrap="square" lIns="0" tIns="0" rIns="0" bIns="0" rtlCol="0"/>
              <a:lstStyle/>
              <a:p>
                <a:endParaRPr sz="1800"/>
              </a:p>
            </p:txBody>
          </p:sp>
          <p:sp>
            <p:nvSpPr>
              <p:cNvPr id="33" name="object 6"/>
              <p:cNvSpPr/>
              <p:nvPr userDrawn="1"/>
            </p:nvSpPr>
            <p:spPr>
              <a:xfrm>
                <a:off x="8759956" y="6976271"/>
                <a:ext cx="31750" cy="42545"/>
              </a:xfrm>
              <a:custGeom>
                <a:avLst/>
                <a:gdLst/>
                <a:ahLst/>
                <a:cxnLst/>
                <a:rect l="l" t="t" r="r" b="b"/>
                <a:pathLst>
                  <a:path w="31750" h="42545">
                    <a:moveTo>
                      <a:pt x="9169" y="0"/>
                    </a:moveTo>
                    <a:lnTo>
                      <a:pt x="0" y="0"/>
                    </a:lnTo>
                    <a:lnTo>
                      <a:pt x="0" y="7721"/>
                    </a:lnTo>
                    <a:lnTo>
                      <a:pt x="16878" y="7721"/>
                    </a:lnTo>
                    <a:lnTo>
                      <a:pt x="23177" y="13741"/>
                    </a:lnTo>
                    <a:lnTo>
                      <a:pt x="23177" y="28511"/>
                    </a:lnTo>
                    <a:lnTo>
                      <a:pt x="16878" y="34505"/>
                    </a:lnTo>
                    <a:lnTo>
                      <a:pt x="0" y="34505"/>
                    </a:lnTo>
                    <a:lnTo>
                      <a:pt x="0" y="42227"/>
                    </a:lnTo>
                    <a:lnTo>
                      <a:pt x="9169" y="42227"/>
                    </a:lnTo>
                    <a:lnTo>
                      <a:pt x="17751" y="40567"/>
                    </a:lnTo>
                    <a:lnTo>
                      <a:pt x="24768" y="36041"/>
                    </a:lnTo>
                    <a:lnTo>
                      <a:pt x="29504" y="29331"/>
                    </a:lnTo>
                    <a:lnTo>
                      <a:pt x="31241" y="21120"/>
                    </a:lnTo>
                    <a:lnTo>
                      <a:pt x="29504" y="12906"/>
                    </a:lnTo>
                    <a:lnTo>
                      <a:pt x="24768" y="6192"/>
                    </a:lnTo>
                    <a:lnTo>
                      <a:pt x="17751" y="1662"/>
                    </a:lnTo>
                    <a:lnTo>
                      <a:pt x="9169" y="0"/>
                    </a:lnTo>
                    <a:close/>
                  </a:path>
                </a:pathLst>
              </a:custGeom>
              <a:solidFill>
                <a:srgbClr val="9B9B9A"/>
              </a:solidFill>
            </p:spPr>
            <p:txBody>
              <a:bodyPr wrap="square" lIns="0" tIns="0" rIns="0" bIns="0" rtlCol="0"/>
              <a:lstStyle/>
              <a:p>
                <a:endParaRPr sz="1800"/>
              </a:p>
            </p:txBody>
          </p:sp>
          <p:sp>
            <p:nvSpPr>
              <p:cNvPr id="34" name="object 7"/>
              <p:cNvSpPr/>
              <p:nvPr userDrawn="1"/>
            </p:nvSpPr>
            <p:spPr>
              <a:xfrm>
                <a:off x="9044957" y="6976271"/>
                <a:ext cx="31750" cy="42545"/>
              </a:xfrm>
              <a:custGeom>
                <a:avLst/>
                <a:gdLst/>
                <a:ahLst/>
                <a:cxnLst/>
                <a:rect l="l" t="t" r="r" b="b"/>
                <a:pathLst>
                  <a:path w="31750" h="42545">
                    <a:moveTo>
                      <a:pt x="9144" y="0"/>
                    </a:moveTo>
                    <a:lnTo>
                      <a:pt x="0" y="0"/>
                    </a:lnTo>
                    <a:lnTo>
                      <a:pt x="0" y="7721"/>
                    </a:lnTo>
                    <a:lnTo>
                      <a:pt x="16865" y="7721"/>
                    </a:lnTo>
                    <a:lnTo>
                      <a:pt x="23152" y="13741"/>
                    </a:lnTo>
                    <a:lnTo>
                      <a:pt x="23152" y="28511"/>
                    </a:lnTo>
                    <a:lnTo>
                      <a:pt x="16865" y="34505"/>
                    </a:lnTo>
                    <a:lnTo>
                      <a:pt x="0" y="34505"/>
                    </a:lnTo>
                    <a:lnTo>
                      <a:pt x="0" y="42227"/>
                    </a:lnTo>
                    <a:lnTo>
                      <a:pt x="9144" y="42227"/>
                    </a:lnTo>
                    <a:lnTo>
                      <a:pt x="17725" y="40567"/>
                    </a:lnTo>
                    <a:lnTo>
                      <a:pt x="24742" y="36041"/>
                    </a:lnTo>
                    <a:lnTo>
                      <a:pt x="29478" y="29331"/>
                    </a:lnTo>
                    <a:lnTo>
                      <a:pt x="31216" y="21120"/>
                    </a:lnTo>
                    <a:lnTo>
                      <a:pt x="29478" y="12906"/>
                    </a:lnTo>
                    <a:lnTo>
                      <a:pt x="24742" y="6192"/>
                    </a:lnTo>
                    <a:lnTo>
                      <a:pt x="17725" y="1662"/>
                    </a:lnTo>
                    <a:lnTo>
                      <a:pt x="9144" y="0"/>
                    </a:lnTo>
                    <a:close/>
                  </a:path>
                </a:pathLst>
              </a:custGeom>
              <a:solidFill>
                <a:srgbClr val="9B9B9A"/>
              </a:solidFill>
            </p:spPr>
            <p:txBody>
              <a:bodyPr wrap="square" lIns="0" tIns="0" rIns="0" bIns="0" rtlCol="0"/>
              <a:lstStyle/>
              <a:p>
                <a:endParaRPr sz="1800"/>
              </a:p>
            </p:txBody>
          </p:sp>
          <p:sp>
            <p:nvSpPr>
              <p:cNvPr id="35" name="object 8"/>
              <p:cNvSpPr/>
              <p:nvPr userDrawn="1"/>
            </p:nvSpPr>
            <p:spPr>
              <a:xfrm>
                <a:off x="9329938" y="6976271"/>
                <a:ext cx="31750" cy="42545"/>
              </a:xfrm>
              <a:custGeom>
                <a:avLst/>
                <a:gdLst/>
                <a:ahLst/>
                <a:cxnLst/>
                <a:rect l="l" t="t" r="r" b="b"/>
                <a:pathLst>
                  <a:path w="31750" h="42545">
                    <a:moveTo>
                      <a:pt x="9144" y="0"/>
                    </a:moveTo>
                    <a:lnTo>
                      <a:pt x="0" y="0"/>
                    </a:lnTo>
                    <a:lnTo>
                      <a:pt x="0" y="7721"/>
                    </a:lnTo>
                    <a:lnTo>
                      <a:pt x="16878" y="7721"/>
                    </a:lnTo>
                    <a:lnTo>
                      <a:pt x="23152" y="13741"/>
                    </a:lnTo>
                    <a:lnTo>
                      <a:pt x="23152" y="28511"/>
                    </a:lnTo>
                    <a:lnTo>
                      <a:pt x="16878" y="34505"/>
                    </a:lnTo>
                    <a:lnTo>
                      <a:pt x="0" y="34505"/>
                    </a:lnTo>
                    <a:lnTo>
                      <a:pt x="0" y="42227"/>
                    </a:lnTo>
                    <a:lnTo>
                      <a:pt x="9144" y="42227"/>
                    </a:lnTo>
                    <a:lnTo>
                      <a:pt x="17730" y="40567"/>
                    </a:lnTo>
                    <a:lnTo>
                      <a:pt x="24747" y="36041"/>
                    </a:lnTo>
                    <a:lnTo>
                      <a:pt x="29480" y="29331"/>
                    </a:lnTo>
                    <a:lnTo>
                      <a:pt x="31216" y="21120"/>
                    </a:lnTo>
                    <a:lnTo>
                      <a:pt x="29480" y="12906"/>
                    </a:lnTo>
                    <a:lnTo>
                      <a:pt x="24747" y="6192"/>
                    </a:lnTo>
                    <a:lnTo>
                      <a:pt x="17730" y="1662"/>
                    </a:lnTo>
                    <a:lnTo>
                      <a:pt x="9144" y="0"/>
                    </a:lnTo>
                    <a:close/>
                  </a:path>
                </a:pathLst>
              </a:custGeom>
              <a:solidFill>
                <a:srgbClr val="9B9B9A"/>
              </a:solidFill>
            </p:spPr>
            <p:txBody>
              <a:bodyPr wrap="square" lIns="0" tIns="0" rIns="0" bIns="0" rtlCol="0"/>
              <a:lstStyle/>
              <a:p>
                <a:endParaRPr sz="1800"/>
              </a:p>
            </p:txBody>
          </p:sp>
          <p:sp>
            <p:nvSpPr>
              <p:cNvPr id="36" name="object 9"/>
              <p:cNvSpPr/>
              <p:nvPr userDrawn="1"/>
            </p:nvSpPr>
            <p:spPr>
              <a:xfrm>
                <a:off x="9614926" y="6976271"/>
                <a:ext cx="31750" cy="42545"/>
              </a:xfrm>
              <a:custGeom>
                <a:avLst/>
                <a:gdLst/>
                <a:ahLst/>
                <a:cxnLst/>
                <a:rect l="l" t="t" r="r" b="b"/>
                <a:pathLst>
                  <a:path w="31750" h="42545">
                    <a:moveTo>
                      <a:pt x="9144" y="0"/>
                    </a:moveTo>
                    <a:lnTo>
                      <a:pt x="0" y="0"/>
                    </a:lnTo>
                    <a:lnTo>
                      <a:pt x="0" y="7721"/>
                    </a:lnTo>
                    <a:lnTo>
                      <a:pt x="16865" y="7721"/>
                    </a:lnTo>
                    <a:lnTo>
                      <a:pt x="23152" y="13741"/>
                    </a:lnTo>
                    <a:lnTo>
                      <a:pt x="23152" y="28511"/>
                    </a:lnTo>
                    <a:lnTo>
                      <a:pt x="16865" y="34505"/>
                    </a:lnTo>
                    <a:lnTo>
                      <a:pt x="0" y="34505"/>
                    </a:lnTo>
                    <a:lnTo>
                      <a:pt x="0" y="42227"/>
                    </a:lnTo>
                    <a:lnTo>
                      <a:pt x="9144" y="42227"/>
                    </a:lnTo>
                    <a:lnTo>
                      <a:pt x="17730" y="40567"/>
                    </a:lnTo>
                    <a:lnTo>
                      <a:pt x="24747" y="36041"/>
                    </a:lnTo>
                    <a:lnTo>
                      <a:pt x="29480" y="29331"/>
                    </a:lnTo>
                    <a:lnTo>
                      <a:pt x="31216" y="21120"/>
                    </a:lnTo>
                    <a:lnTo>
                      <a:pt x="29480" y="12906"/>
                    </a:lnTo>
                    <a:lnTo>
                      <a:pt x="24747" y="6192"/>
                    </a:lnTo>
                    <a:lnTo>
                      <a:pt x="17730" y="1662"/>
                    </a:lnTo>
                    <a:lnTo>
                      <a:pt x="9144" y="0"/>
                    </a:lnTo>
                    <a:close/>
                  </a:path>
                </a:pathLst>
              </a:custGeom>
              <a:solidFill>
                <a:srgbClr val="9B9B9A"/>
              </a:solidFill>
            </p:spPr>
            <p:txBody>
              <a:bodyPr wrap="square" lIns="0" tIns="0" rIns="0" bIns="0" rtlCol="0"/>
              <a:lstStyle/>
              <a:p>
                <a:endParaRPr sz="1800"/>
              </a:p>
            </p:txBody>
          </p:sp>
          <p:sp>
            <p:nvSpPr>
              <p:cNvPr id="37" name="object 10"/>
              <p:cNvSpPr/>
              <p:nvPr userDrawn="1"/>
            </p:nvSpPr>
            <p:spPr>
              <a:xfrm>
                <a:off x="9899900" y="6976271"/>
                <a:ext cx="31750" cy="42545"/>
              </a:xfrm>
              <a:custGeom>
                <a:avLst/>
                <a:gdLst/>
                <a:ahLst/>
                <a:cxnLst/>
                <a:rect l="l" t="t" r="r" b="b"/>
                <a:pathLst>
                  <a:path w="31750" h="42545">
                    <a:moveTo>
                      <a:pt x="9169" y="0"/>
                    </a:moveTo>
                    <a:lnTo>
                      <a:pt x="0" y="0"/>
                    </a:lnTo>
                    <a:lnTo>
                      <a:pt x="0" y="7721"/>
                    </a:lnTo>
                    <a:lnTo>
                      <a:pt x="16878" y="7721"/>
                    </a:lnTo>
                    <a:lnTo>
                      <a:pt x="23177" y="13741"/>
                    </a:lnTo>
                    <a:lnTo>
                      <a:pt x="23177" y="28511"/>
                    </a:lnTo>
                    <a:lnTo>
                      <a:pt x="16878" y="34505"/>
                    </a:lnTo>
                    <a:lnTo>
                      <a:pt x="0" y="34505"/>
                    </a:lnTo>
                    <a:lnTo>
                      <a:pt x="0" y="42227"/>
                    </a:lnTo>
                    <a:lnTo>
                      <a:pt x="9169" y="42227"/>
                    </a:lnTo>
                    <a:lnTo>
                      <a:pt x="17751" y="40567"/>
                    </a:lnTo>
                    <a:lnTo>
                      <a:pt x="24768" y="36041"/>
                    </a:lnTo>
                    <a:lnTo>
                      <a:pt x="29504" y="29331"/>
                    </a:lnTo>
                    <a:lnTo>
                      <a:pt x="31241" y="21120"/>
                    </a:lnTo>
                    <a:lnTo>
                      <a:pt x="29504" y="12906"/>
                    </a:lnTo>
                    <a:lnTo>
                      <a:pt x="24768" y="6192"/>
                    </a:lnTo>
                    <a:lnTo>
                      <a:pt x="17751" y="1662"/>
                    </a:lnTo>
                    <a:lnTo>
                      <a:pt x="9169" y="0"/>
                    </a:lnTo>
                    <a:close/>
                  </a:path>
                </a:pathLst>
              </a:custGeom>
              <a:solidFill>
                <a:srgbClr val="9B9B9A"/>
              </a:solidFill>
            </p:spPr>
            <p:txBody>
              <a:bodyPr wrap="square" lIns="0" tIns="0" rIns="0" bIns="0" rtlCol="0"/>
              <a:lstStyle/>
              <a:p>
                <a:endParaRPr sz="1800"/>
              </a:p>
            </p:txBody>
          </p:sp>
          <p:sp>
            <p:nvSpPr>
              <p:cNvPr id="38" name="object 11"/>
              <p:cNvSpPr/>
              <p:nvPr userDrawn="1"/>
            </p:nvSpPr>
            <p:spPr>
              <a:xfrm>
                <a:off x="10184900" y="6976271"/>
                <a:ext cx="31750" cy="42545"/>
              </a:xfrm>
              <a:custGeom>
                <a:avLst/>
                <a:gdLst/>
                <a:ahLst/>
                <a:cxnLst/>
                <a:rect l="l" t="t" r="r" b="b"/>
                <a:pathLst>
                  <a:path w="31750" h="42545">
                    <a:moveTo>
                      <a:pt x="9144" y="0"/>
                    </a:moveTo>
                    <a:lnTo>
                      <a:pt x="0" y="0"/>
                    </a:lnTo>
                    <a:lnTo>
                      <a:pt x="0" y="7721"/>
                    </a:lnTo>
                    <a:lnTo>
                      <a:pt x="16852" y="7721"/>
                    </a:lnTo>
                    <a:lnTo>
                      <a:pt x="23152" y="13741"/>
                    </a:lnTo>
                    <a:lnTo>
                      <a:pt x="23152" y="28511"/>
                    </a:lnTo>
                    <a:lnTo>
                      <a:pt x="16852" y="34505"/>
                    </a:lnTo>
                    <a:lnTo>
                      <a:pt x="0" y="34505"/>
                    </a:lnTo>
                    <a:lnTo>
                      <a:pt x="0" y="42227"/>
                    </a:lnTo>
                    <a:lnTo>
                      <a:pt x="9144" y="42227"/>
                    </a:lnTo>
                    <a:lnTo>
                      <a:pt x="17725" y="40567"/>
                    </a:lnTo>
                    <a:lnTo>
                      <a:pt x="24742" y="36041"/>
                    </a:lnTo>
                    <a:lnTo>
                      <a:pt x="29478" y="29331"/>
                    </a:lnTo>
                    <a:lnTo>
                      <a:pt x="31216" y="21120"/>
                    </a:lnTo>
                    <a:lnTo>
                      <a:pt x="29478" y="12906"/>
                    </a:lnTo>
                    <a:lnTo>
                      <a:pt x="24742" y="6192"/>
                    </a:lnTo>
                    <a:lnTo>
                      <a:pt x="17725" y="1662"/>
                    </a:lnTo>
                    <a:lnTo>
                      <a:pt x="9144" y="0"/>
                    </a:lnTo>
                    <a:close/>
                  </a:path>
                </a:pathLst>
              </a:custGeom>
              <a:solidFill>
                <a:srgbClr val="9B9B9A"/>
              </a:solidFill>
            </p:spPr>
            <p:txBody>
              <a:bodyPr wrap="square" lIns="0" tIns="0" rIns="0" bIns="0" rtlCol="0"/>
              <a:lstStyle/>
              <a:p>
                <a:endParaRPr sz="1800"/>
              </a:p>
            </p:txBody>
          </p:sp>
          <p:sp>
            <p:nvSpPr>
              <p:cNvPr id="39" name="object 12"/>
              <p:cNvSpPr/>
              <p:nvPr userDrawn="1"/>
            </p:nvSpPr>
            <p:spPr>
              <a:xfrm>
                <a:off x="10469881" y="6976271"/>
                <a:ext cx="31750" cy="42545"/>
              </a:xfrm>
              <a:custGeom>
                <a:avLst/>
                <a:gdLst/>
                <a:ahLst/>
                <a:cxnLst/>
                <a:rect l="l" t="t" r="r" b="b"/>
                <a:pathLst>
                  <a:path w="31750" h="42545">
                    <a:moveTo>
                      <a:pt x="9144" y="0"/>
                    </a:moveTo>
                    <a:lnTo>
                      <a:pt x="0" y="0"/>
                    </a:lnTo>
                    <a:lnTo>
                      <a:pt x="0" y="7721"/>
                    </a:lnTo>
                    <a:lnTo>
                      <a:pt x="16878" y="7721"/>
                    </a:lnTo>
                    <a:lnTo>
                      <a:pt x="23152" y="13741"/>
                    </a:lnTo>
                    <a:lnTo>
                      <a:pt x="23152" y="28511"/>
                    </a:lnTo>
                    <a:lnTo>
                      <a:pt x="16878" y="34505"/>
                    </a:lnTo>
                    <a:lnTo>
                      <a:pt x="0" y="34505"/>
                    </a:lnTo>
                    <a:lnTo>
                      <a:pt x="0" y="42227"/>
                    </a:lnTo>
                    <a:lnTo>
                      <a:pt x="9144" y="42227"/>
                    </a:lnTo>
                    <a:lnTo>
                      <a:pt x="17725" y="40567"/>
                    </a:lnTo>
                    <a:lnTo>
                      <a:pt x="24742" y="36041"/>
                    </a:lnTo>
                    <a:lnTo>
                      <a:pt x="29478" y="29331"/>
                    </a:lnTo>
                    <a:lnTo>
                      <a:pt x="31216" y="21120"/>
                    </a:lnTo>
                    <a:lnTo>
                      <a:pt x="29478" y="12906"/>
                    </a:lnTo>
                    <a:lnTo>
                      <a:pt x="24742" y="6192"/>
                    </a:lnTo>
                    <a:lnTo>
                      <a:pt x="17725" y="1662"/>
                    </a:lnTo>
                    <a:lnTo>
                      <a:pt x="9144" y="0"/>
                    </a:lnTo>
                    <a:close/>
                  </a:path>
                </a:pathLst>
              </a:custGeom>
              <a:solidFill>
                <a:srgbClr val="9B9B9A"/>
              </a:solidFill>
            </p:spPr>
            <p:txBody>
              <a:bodyPr wrap="square" lIns="0" tIns="0" rIns="0" bIns="0" rtlCol="0"/>
              <a:lstStyle/>
              <a:p>
                <a:endParaRPr sz="1800"/>
              </a:p>
            </p:txBody>
          </p:sp>
          <p:sp>
            <p:nvSpPr>
              <p:cNvPr id="40" name="object 13"/>
              <p:cNvSpPr/>
              <p:nvPr userDrawn="1"/>
            </p:nvSpPr>
            <p:spPr>
              <a:xfrm>
                <a:off x="10469878" y="7134064"/>
                <a:ext cx="31750" cy="42545"/>
              </a:xfrm>
              <a:custGeom>
                <a:avLst/>
                <a:gdLst/>
                <a:ahLst/>
                <a:cxnLst/>
                <a:rect l="l" t="t" r="r" b="b"/>
                <a:pathLst>
                  <a:path w="31750" h="42545">
                    <a:moveTo>
                      <a:pt x="31216" y="0"/>
                    </a:moveTo>
                    <a:lnTo>
                      <a:pt x="22072" y="0"/>
                    </a:lnTo>
                    <a:lnTo>
                      <a:pt x="13490" y="1660"/>
                    </a:lnTo>
                    <a:lnTo>
                      <a:pt x="6473" y="6186"/>
                    </a:lnTo>
                    <a:lnTo>
                      <a:pt x="1737" y="12896"/>
                    </a:lnTo>
                    <a:lnTo>
                      <a:pt x="0" y="21107"/>
                    </a:lnTo>
                    <a:lnTo>
                      <a:pt x="1737" y="29320"/>
                    </a:lnTo>
                    <a:lnTo>
                      <a:pt x="6473" y="36034"/>
                    </a:lnTo>
                    <a:lnTo>
                      <a:pt x="13490" y="40565"/>
                    </a:lnTo>
                    <a:lnTo>
                      <a:pt x="22072" y="42227"/>
                    </a:lnTo>
                    <a:lnTo>
                      <a:pt x="31216" y="42227"/>
                    </a:lnTo>
                    <a:lnTo>
                      <a:pt x="31216" y="34505"/>
                    </a:lnTo>
                    <a:lnTo>
                      <a:pt x="14350" y="34505"/>
                    </a:lnTo>
                    <a:lnTo>
                      <a:pt x="8077" y="28486"/>
                    </a:lnTo>
                    <a:lnTo>
                      <a:pt x="8077" y="13715"/>
                    </a:lnTo>
                    <a:lnTo>
                      <a:pt x="14350" y="7721"/>
                    </a:lnTo>
                    <a:lnTo>
                      <a:pt x="31216" y="7721"/>
                    </a:lnTo>
                    <a:lnTo>
                      <a:pt x="31216" y="0"/>
                    </a:lnTo>
                    <a:close/>
                  </a:path>
                </a:pathLst>
              </a:custGeom>
              <a:solidFill>
                <a:srgbClr val="9B9B9A"/>
              </a:solidFill>
            </p:spPr>
            <p:txBody>
              <a:bodyPr wrap="square" lIns="0" tIns="0" rIns="0" bIns="0" rtlCol="0"/>
              <a:lstStyle/>
              <a:p>
                <a:endParaRPr sz="1800"/>
              </a:p>
            </p:txBody>
          </p:sp>
          <p:sp>
            <p:nvSpPr>
              <p:cNvPr id="41" name="object 14"/>
              <p:cNvSpPr/>
              <p:nvPr userDrawn="1"/>
            </p:nvSpPr>
            <p:spPr>
              <a:xfrm>
                <a:off x="10184903" y="7134064"/>
                <a:ext cx="31750" cy="42545"/>
              </a:xfrm>
              <a:custGeom>
                <a:avLst/>
                <a:gdLst/>
                <a:ahLst/>
                <a:cxnLst/>
                <a:rect l="l" t="t" r="r" b="b"/>
                <a:pathLst>
                  <a:path w="31750" h="42545">
                    <a:moveTo>
                      <a:pt x="31216" y="0"/>
                    </a:moveTo>
                    <a:lnTo>
                      <a:pt x="22072" y="0"/>
                    </a:lnTo>
                    <a:lnTo>
                      <a:pt x="13480" y="1660"/>
                    </a:lnTo>
                    <a:lnTo>
                      <a:pt x="6464" y="6186"/>
                    </a:lnTo>
                    <a:lnTo>
                      <a:pt x="1734" y="12896"/>
                    </a:lnTo>
                    <a:lnTo>
                      <a:pt x="0" y="21107"/>
                    </a:lnTo>
                    <a:lnTo>
                      <a:pt x="1734" y="29320"/>
                    </a:lnTo>
                    <a:lnTo>
                      <a:pt x="6464" y="36034"/>
                    </a:lnTo>
                    <a:lnTo>
                      <a:pt x="13480" y="40565"/>
                    </a:lnTo>
                    <a:lnTo>
                      <a:pt x="22072" y="42227"/>
                    </a:lnTo>
                    <a:lnTo>
                      <a:pt x="31216" y="42227"/>
                    </a:lnTo>
                    <a:lnTo>
                      <a:pt x="31216" y="34505"/>
                    </a:lnTo>
                    <a:lnTo>
                      <a:pt x="14325" y="34505"/>
                    </a:lnTo>
                    <a:lnTo>
                      <a:pt x="8064" y="28486"/>
                    </a:lnTo>
                    <a:lnTo>
                      <a:pt x="8064" y="13715"/>
                    </a:lnTo>
                    <a:lnTo>
                      <a:pt x="14325" y="7721"/>
                    </a:lnTo>
                    <a:lnTo>
                      <a:pt x="31216" y="7721"/>
                    </a:lnTo>
                    <a:lnTo>
                      <a:pt x="31216" y="0"/>
                    </a:lnTo>
                    <a:close/>
                  </a:path>
                </a:pathLst>
              </a:custGeom>
              <a:solidFill>
                <a:srgbClr val="9B9B9A"/>
              </a:solidFill>
            </p:spPr>
            <p:txBody>
              <a:bodyPr wrap="square" lIns="0" tIns="0" rIns="0" bIns="0" rtlCol="0"/>
              <a:lstStyle/>
              <a:p>
                <a:endParaRPr sz="1800"/>
              </a:p>
            </p:txBody>
          </p:sp>
          <p:sp>
            <p:nvSpPr>
              <p:cNvPr id="42" name="object 15"/>
              <p:cNvSpPr/>
              <p:nvPr userDrawn="1"/>
            </p:nvSpPr>
            <p:spPr>
              <a:xfrm>
                <a:off x="9899910" y="7134064"/>
                <a:ext cx="31750" cy="42545"/>
              </a:xfrm>
              <a:custGeom>
                <a:avLst/>
                <a:gdLst/>
                <a:ahLst/>
                <a:cxnLst/>
                <a:rect l="l" t="t" r="r" b="b"/>
                <a:pathLst>
                  <a:path w="31750" h="42545">
                    <a:moveTo>
                      <a:pt x="31229" y="0"/>
                    </a:moveTo>
                    <a:lnTo>
                      <a:pt x="22072" y="0"/>
                    </a:lnTo>
                    <a:lnTo>
                      <a:pt x="13485" y="1660"/>
                    </a:lnTo>
                    <a:lnTo>
                      <a:pt x="6469" y="6186"/>
                    </a:lnTo>
                    <a:lnTo>
                      <a:pt x="1736" y="12896"/>
                    </a:lnTo>
                    <a:lnTo>
                      <a:pt x="0" y="21107"/>
                    </a:lnTo>
                    <a:lnTo>
                      <a:pt x="1736" y="29320"/>
                    </a:lnTo>
                    <a:lnTo>
                      <a:pt x="6469" y="36034"/>
                    </a:lnTo>
                    <a:lnTo>
                      <a:pt x="13485" y="40565"/>
                    </a:lnTo>
                    <a:lnTo>
                      <a:pt x="22072" y="42227"/>
                    </a:lnTo>
                    <a:lnTo>
                      <a:pt x="31229" y="42227"/>
                    </a:lnTo>
                    <a:lnTo>
                      <a:pt x="31229" y="34505"/>
                    </a:lnTo>
                    <a:lnTo>
                      <a:pt x="14350" y="34505"/>
                    </a:lnTo>
                    <a:lnTo>
                      <a:pt x="8077" y="28486"/>
                    </a:lnTo>
                    <a:lnTo>
                      <a:pt x="8077" y="13715"/>
                    </a:lnTo>
                    <a:lnTo>
                      <a:pt x="14350" y="7721"/>
                    </a:lnTo>
                    <a:lnTo>
                      <a:pt x="31229" y="7721"/>
                    </a:lnTo>
                    <a:lnTo>
                      <a:pt x="31229" y="0"/>
                    </a:lnTo>
                    <a:close/>
                  </a:path>
                </a:pathLst>
              </a:custGeom>
              <a:solidFill>
                <a:srgbClr val="9B9B9A"/>
              </a:solidFill>
            </p:spPr>
            <p:txBody>
              <a:bodyPr wrap="square" lIns="0" tIns="0" rIns="0" bIns="0" rtlCol="0"/>
              <a:lstStyle/>
              <a:p>
                <a:endParaRPr sz="1800"/>
              </a:p>
            </p:txBody>
          </p:sp>
          <p:sp>
            <p:nvSpPr>
              <p:cNvPr id="43" name="object 16"/>
              <p:cNvSpPr/>
              <p:nvPr userDrawn="1"/>
            </p:nvSpPr>
            <p:spPr>
              <a:xfrm>
                <a:off x="9614923" y="7134064"/>
                <a:ext cx="31750" cy="42545"/>
              </a:xfrm>
              <a:custGeom>
                <a:avLst/>
                <a:gdLst/>
                <a:ahLst/>
                <a:cxnLst/>
                <a:rect l="l" t="t" r="r" b="b"/>
                <a:pathLst>
                  <a:path w="31750" h="42545">
                    <a:moveTo>
                      <a:pt x="31229" y="0"/>
                    </a:moveTo>
                    <a:lnTo>
                      <a:pt x="22059" y="0"/>
                    </a:lnTo>
                    <a:lnTo>
                      <a:pt x="13485" y="1660"/>
                    </a:lnTo>
                    <a:lnTo>
                      <a:pt x="6472" y="6186"/>
                    </a:lnTo>
                    <a:lnTo>
                      <a:pt x="1737" y="12896"/>
                    </a:lnTo>
                    <a:lnTo>
                      <a:pt x="0" y="21107"/>
                    </a:lnTo>
                    <a:lnTo>
                      <a:pt x="1737" y="29320"/>
                    </a:lnTo>
                    <a:lnTo>
                      <a:pt x="6472" y="36034"/>
                    </a:lnTo>
                    <a:lnTo>
                      <a:pt x="13485" y="40565"/>
                    </a:lnTo>
                    <a:lnTo>
                      <a:pt x="22059" y="42227"/>
                    </a:lnTo>
                    <a:lnTo>
                      <a:pt x="31229" y="42227"/>
                    </a:lnTo>
                    <a:lnTo>
                      <a:pt x="31229" y="34505"/>
                    </a:lnTo>
                    <a:lnTo>
                      <a:pt x="14350" y="34505"/>
                    </a:lnTo>
                    <a:lnTo>
                      <a:pt x="8064" y="28486"/>
                    </a:lnTo>
                    <a:lnTo>
                      <a:pt x="8064" y="13715"/>
                    </a:lnTo>
                    <a:lnTo>
                      <a:pt x="14350" y="7721"/>
                    </a:lnTo>
                    <a:lnTo>
                      <a:pt x="31229" y="7721"/>
                    </a:lnTo>
                    <a:lnTo>
                      <a:pt x="31229" y="0"/>
                    </a:lnTo>
                    <a:close/>
                  </a:path>
                </a:pathLst>
              </a:custGeom>
              <a:solidFill>
                <a:srgbClr val="9B9B9A"/>
              </a:solidFill>
            </p:spPr>
            <p:txBody>
              <a:bodyPr wrap="square" lIns="0" tIns="0" rIns="0" bIns="0" rtlCol="0"/>
              <a:lstStyle/>
              <a:p>
                <a:endParaRPr sz="1800"/>
              </a:p>
            </p:txBody>
          </p:sp>
          <p:sp>
            <p:nvSpPr>
              <p:cNvPr id="44" name="object 17"/>
              <p:cNvSpPr/>
              <p:nvPr userDrawn="1"/>
            </p:nvSpPr>
            <p:spPr>
              <a:xfrm>
                <a:off x="9329935" y="7134064"/>
                <a:ext cx="31750" cy="42545"/>
              </a:xfrm>
              <a:custGeom>
                <a:avLst/>
                <a:gdLst/>
                <a:ahLst/>
                <a:cxnLst/>
                <a:rect l="l" t="t" r="r" b="b"/>
                <a:pathLst>
                  <a:path w="31750" h="42545">
                    <a:moveTo>
                      <a:pt x="31242" y="0"/>
                    </a:moveTo>
                    <a:lnTo>
                      <a:pt x="22072" y="0"/>
                    </a:lnTo>
                    <a:lnTo>
                      <a:pt x="13490" y="1660"/>
                    </a:lnTo>
                    <a:lnTo>
                      <a:pt x="6473" y="6186"/>
                    </a:lnTo>
                    <a:lnTo>
                      <a:pt x="1737" y="12896"/>
                    </a:lnTo>
                    <a:lnTo>
                      <a:pt x="0" y="21107"/>
                    </a:lnTo>
                    <a:lnTo>
                      <a:pt x="1737" y="29320"/>
                    </a:lnTo>
                    <a:lnTo>
                      <a:pt x="6473" y="36034"/>
                    </a:lnTo>
                    <a:lnTo>
                      <a:pt x="13490" y="40565"/>
                    </a:lnTo>
                    <a:lnTo>
                      <a:pt x="22072" y="42227"/>
                    </a:lnTo>
                    <a:lnTo>
                      <a:pt x="31242" y="42227"/>
                    </a:lnTo>
                    <a:lnTo>
                      <a:pt x="31242" y="34505"/>
                    </a:lnTo>
                    <a:lnTo>
                      <a:pt x="14351" y="34505"/>
                    </a:lnTo>
                    <a:lnTo>
                      <a:pt x="8077" y="28486"/>
                    </a:lnTo>
                    <a:lnTo>
                      <a:pt x="8077" y="13715"/>
                    </a:lnTo>
                    <a:lnTo>
                      <a:pt x="14351" y="7721"/>
                    </a:lnTo>
                    <a:lnTo>
                      <a:pt x="31242" y="7721"/>
                    </a:lnTo>
                    <a:lnTo>
                      <a:pt x="31242" y="0"/>
                    </a:lnTo>
                    <a:close/>
                  </a:path>
                </a:pathLst>
              </a:custGeom>
              <a:solidFill>
                <a:srgbClr val="9B9B9A"/>
              </a:solidFill>
            </p:spPr>
            <p:txBody>
              <a:bodyPr wrap="square" lIns="0" tIns="0" rIns="0" bIns="0" rtlCol="0"/>
              <a:lstStyle/>
              <a:p>
                <a:endParaRPr sz="1800"/>
              </a:p>
            </p:txBody>
          </p:sp>
          <p:sp>
            <p:nvSpPr>
              <p:cNvPr id="45" name="object 18"/>
              <p:cNvSpPr/>
              <p:nvPr userDrawn="1"/>
            </p:nvSpPr>
            <p:spPr>
              <a:xfrm>
                <a:off x="9044961" y="7134064"/>
                <a:ext cx="31750" cy="42545"/>
              </a:xfrm>
              <a:custGeom>
                <a:avLst/>
                <a:gdLst/>
                <a:ahLst/>
                <a:cxnLst/>
                <a:rect l="l" t="t" r="r" b="b"/>
                <a:pathLst>
                  <a:path w="31750" h="42545">
                    <a:moveTo>
                      <a:pt x="31216" y="0"/>
                    </a:moveTo>
                    <a:lnTo>
                      <a:pt x="22072" y="0"/>
                    </a:lnTo>
                    <a:lnTo>
                      <a:pt x="13490" y="1660"/>
                    </a:lnTo>
                    <a:lnTo>
                      <a:pt x="6473" y="6186"/>
                    </a:lnTo>
                    <a:lnTo>
                      <a:pt x="1737" y="12896"/>
                    </a:lnTo>
                    <a:lnTo>
                      <a:pt x="0" y="21107"/>
                    </a:lnTo>
                    <a:lnTo>
                      <a:pt x="1737" y="29320"/>
                    </a:lnTo>
                    <a:lnTo>
                      <a:pt x="6473" y="36034"/>
                    </a:lnTo>
                    <a:lnTo>
                      <a:pt x="13490" y="40565"/>
                    </a:lnTo>
                    <a:lnTo>
                      <a:pt x="22072" y="42227"/>
                    </a:lnTo>
                    <a:lnTo>
                      <a:pt x="31216" y="42227"/>
                    </a:lnTo>
                    <a:lnTo>
                      <a:pt x="31216" y="34505"/>
                    </a:lnTo>
                    <a:lnTo>
                      <a:pt x="14338" y="34505"/>
                    </a:lnTo>
                    <a:lnTo>
                      <a:pt x="8064" y="28486"/>
                    </a:lnTo>
                    <a:lnTo>
                      <a:pt x="8064" y="13715"/>
                    </a:lnTo>
                    <a:lnTo>
                      <a:pt x="14338" y="7721"/>
                    </a:lnTo>
                    <a:lnTo>
                      <a:pt x="31216" y="7721"/>
                    </a:lnTo>
                    <a:lnTo>
                      <a:pt x="31216" y="0"/>
                    </a:lnTo>
                    <a:close/>
                  </a:path>
                </a:pathLst>
              </a:custGeom>
              <a:solidFill>
                <a:srgbClr val="9B9B9A"/>
              </a:solidFill>
            </p:spPr>
            <p:txBody>
              <a:bodyPr wrap="square" lIns="0" tIns="0" rIns="0" bIns="0" rtlCol="0"/>
              <a:lstStyle/>
              <a:p>
                <a:endParaRPr sz="1800"/>
              </a:p>
            </p:txBody>
          </p:sp>
          <p:sp>
            <p:nvSpPr>
              <p:cNvPr id="46" name="object 19"/>
              <p:cNvSpPr/>
              <p:nvPr userDrawn="1"/>
            </p:nvSpPr>
            <p:spPr>
              <a:xfrm>
                <a:off x="8759980" y="7134064"/>
                <a:ext cx="31750" cy="42545"/>
              </a:xfrm>
              <a:custGeom>
                <a:avLst/>
                <a:gdLst/>
                <a:ahLst/>
                <a:cxnLst/>
                <a:rect l="l" t="t" r="r" b="b"/>
                <a:pathLst>
                  <a:path w="31750" h="42545">
                    <a:moveTo>
                      <a:pt x="31216" y="0"/>
                    </a:moveTo>
                    <a:lnTo>
                      <a:pt x="22059" y="0"/>
                    </a:lnTo>
                    <a:lnTo>
                      <a:pt x="13485" y="1660"/>
                    </a:lnTo>
                    <a:lnTo>
                      <a:pt x="6472" y="6186"/>
                    </a:lnTo>
                    <a:lnTo>
                      <a:pt x="1737" y="12896"/>
                    </a:lnTo>
                    <a:lnTo>
                      <a:pt x="0" y="21107"/>
                    </a:lnTo>
                    <a:lnTo>
                      <a:pt x="1737" y="29320"/>
                    </a:lnTo>
                    <a:lnTo>
                      <a:pt x="6472" y="36034"/>
                    </a:lnTo>
                    <a:lnTo>
                      <a:pt x="13485" y="40565"/>
                    </a:lnTo>
                    <a:lnTo>
                      <a:pt x="22059" y="42227"/>
                    </a:lnTo>
                    <a:lnTo>
                      <a:pt x="31216" y="42227"/>
                    </a:lnTo>
                    <a:lnTo>
                      <a:pt x="31216" y="34505"/>
                    </a:lnTo>
                    <a:lnTo>
                      <a:pt x="14338" y="34505"/>
                    </a:lnTo>
                    <a:lnTo>
                      <a:pt x="8064" y="28486"/>
                    </a:lnTo>
                    <a:lnTo>
                      <a:pt x="8064" y="13715"/>
                    </a:lnTo>
                    <a:lnTo>
                      <a:pt x="14338" y="7721"/>
                    </a:lnTo>
                    <a:lnTo>
                      <a:pt x="31216" y="7721"/>
                    </a:lnTo>
                    <a:lnTo>
                      <a:pt x="31216" y="0"/>
                    </a:lnTo>
                    <a:close/>
                  </a:path>
                </a:pathLst>
              </a:custGeom>
              <a:solidFill>
                <a:srgbClr val="9B9B9A"/>
              </a:solidFill>
            </p:spPr>
            <p:txBody>
              <a:bodyPr wrap="square" lIns="0" tIns="0" rIns="0" bIns="0" rtlCol="0"/>
              <a:lstStyle/>
              <a:p>
                <a:endParaRPr sz="1800"/>
              </a:p>
            </p:txBody>
          </p:sp>
          <p:sp>
            <p:nvSpPr>
              <p:cNvPr id="47" name="object 20"/>
              <p:cNvSpPr/>
              <p:nvPr userDrawn="1"/>
            </p:nvSpPr>
            <p:spPr>
              <a:xfrm>
                <a:off x="8474980" y="7134064"/>
                <a:ext cx="31750" cy="42545"/>
              </a:xfrm>
              <a:custGeom>
                <a:avLst/>
                <a:gdLst/>
                <a:ahLst/>
                <a:cxnLst/>
                <a:rect l="l" t="t" r="r" b="b"/>
                <a:pathLst>
                  <a:path w="31750" h="42545">
                    <a:moveTo>
                      <a:pt x="31229" y="0"/>
                    </a:moveTo>
                    <a:lnTo>
                      <a:pt x="22072" y="0"/>
                    </a:lnTo>
                    <a:lnTo>
                      <a:pt x="13490" y="1660"/>
                    </a:lnTo>
                    <a:lnTo>
                      <a:pt x="6473" y="6186"/>
                    </a:lnTo>
                    <a:lnTo>
                      <a:pt x="1737" y="12896"/>
                    </a:lnTo>
                    <a:lnTo>
                      <a:pt x="0" y="21107"/>
                    </a:lnTo>
                    <a:lnTo>
                      <a:pt x="1737" y="29320"/>
                    </a:lnTo>
                    <a:lnTo>
                      <a:pt x="6473" y="36034"/>
                    </a:lnTo>
                    <a:lnTo>
                      <a:pt x="13490" y="40565"/>
                    </a:lnTo>
                    <a:lnTo>
                      <a:pt x="22072" y="42227"/>
                    </a:lnTo>
                    <a:lnTo>
                      <a:pt x="31229" y="42227"/>
                    </a:lnTo>
                    <a:lnTo>
                      <a:pt x="31229" y="34505"/>
                    </a:lnTo>
                    <a:lnTo>
                      <a:pt x="14350" y="34505"/>
                    </a:lnTo>
                    <a:lnTo>
                      <a:pt x="8064" y="28486"/>
                    </a:lnTo>
                    <a:lnTo>
                      <a:pt x="8064" y="13715"/>
                    </a:lnTo>
                    <a:lnTo>
                      <a:pt x="14350" y="7721"/>
                    </a:lnTo>
                    <a:lnTo>
                      <a:pt x="31229" y="7721"/>
                    </a:lnTo>
                    <a:lnTo>
                      <a:pt x="31229" y="0"/>
                    </a:lnTo>
                    <a:close/>
                  </a:path>
                </a:pathLst>
              </a:custGeom>
              <a:solidFill>
                <a:srgbClr val="9B9B9A"/>
              </a:solidFill>
            </p:spPr>
            <p:txBody>
              <a:bodyPr wrap="square" lIns="0" tIns="0" rIns="0" bIns="0" rtlCol="0"/>
              <a:lstStyle/>
              <a:p>
                <a:endParaRPr sz="1800"/>
              </a:p>
            </p:txBody>
          </p:sp>
          <p:sp>
            <p:nvSpPr>
              <p:cNvPr id="48" name="object 21"/>
              <p:cNvSpPr/>
              <p:nvPr userDrawn="1"/>
            </p:nvSpPr>
            <p:spPr>
              <a:xfrm>
                <a:off x="8189998" y="7134064"/>
                <a:ext cx="31750" cy="42545"/>
              </a:xfrm>
              <a:custGeom>
                <a:avLst/>
                <a:gdLst/>
                <a:ahLst/>
                <a:cxnLst/>
                <a:rect l="l" t="t" r="r" b="b"/>
                <a:pathLst>
                  <a:path w="31750" h="42545">
                    <a:moveTo>
                      <a:pt x="31216" y="0"/>
                    </a:moveTo>
                    <a:lnTo>
                      <a:pt x="22072" y="0"/>
                    </a:lnTo>
                    <a:lnTo>
                      <a:pt x="13490" y="1660"/>
                    </a:lnTo>
                    <a:lnTo>
                      <a:pt x="6473" y="6186"/>
                    </a:lnTo>
                    <a:lnTo>
                      <a:pt x="1737" y="12896"/>
                    </a:lnTo>
                    <a:lnTo>
                      <a:pt x="0" y="21107"/>
                    </a:lnTo>
                    <a:lnTo>
                      <a:pt x="1737" y="29320"/>
                    </a:lnTo>
                    <a:lnTo>
                      <a:pt x="6473" y="36034"/>
                    </a:lnTo>
                    <a:lnTo>
                      <a:pt x="13490" y="40565"/>
                    </a:lnTo>
                    <a:lnTo>
                      <a:pt x="22072" y="42227"/>
                    </a:lnTo>
                    <a:lnTo>
                      <a:pt x="31216" y="42227"/>
                    </a:lnTo>
                    <a:lnTo>
                      <a:pt x="31216" y="34505"/>
                    </a:lnTo>
                    <a:lnTo>
                      <a:pt x="14350" y="34505"/>
                    </a:lnTo>
                    <a:lnTo>
                      <a:pt x="8064" y="28486"/>
                    </a:lnTo>
                    <a:lnTo>
                      <a:pt x="8064" y="13715"/>
                    </a:lnTo>
                    <a:lnTo>
                      <a:pt x="14350" y="7721"/>
                    </a:lnTo>
                    <a:lnTo>
                      <a:pt x="31216" y="7721"/>
                    </a:lnTo>
                    <a:lnTo>
                      <a:pt x="31216" y="0"/>
                    </a:lnTo>
                    <a:close/>
                  </a:path>
                </a:pathLst>
              </a:custGeom>
              <a:solidFill>
                <a:srgbClr val="9B9B9A"/>
              </a:solidFill>
            </p:spPr>
            <p:txBody>
              <a:bodyPr wrap="square" lIns="0" tIns="0" rIns="0" bIns="0" rtlCol="0"/>
              <a:lstStyle/>
              <a:p>
                <a:endParaRPr sz="1800"/>
              </a:p>
            </p:txBody>
          </p:sp>
        </p:grpSp>
        <p:sp>
          <p:nvSpPr>
            <p:cNvPr id="52" name="object 4"/>
            <p:cNvSpPr/>
            <p:nvPr userDrawn="1"/>
          </p:nvSpPr>
          <p:spPr>
            <a:xfrm>
              <a:off x="10092516" y="6976271"/>
              <a:ext cx="31750" cy="42545"/>
            </a:xfrm>
            <a:custGeom>
              <a:avLst/>
              <a:gdLst/>
              <a:ahLst/>
              <a:cxnLst/>
              <a:rect l="l" t="t" r="r" b="b"/>
              <a:pathLst>
                <a:path w="31750" h="42545">
                  <a:moveTo>
                    <a:pt x="9144" y="0"/>
                  </a:moveTo>
                  <a:lnTo>
                    <a:pt x="0" y="0"/>
                  </a:lnTo>
                  <a:lnTo>
                    <a:pt x="0" y="7721"/>
                  </a:lnTo>
                  <a:lnTo>
                    <a:pt x="16878" y="7721"/>
                  </a:lnTo>
                  <a:lnTo>
                    <a:pt x="23152" y="13741"/>
                  </a:lnTo>
                  <a:lnTo>
                    <a:pt x="23152" y="28511"/>
                  </a:lnTo>
                  <a:lnTo>
                    <a:pt x="16878" y="34505"/>
                  </a:lnTo>
                  <a:lnTo>
                    <a:pt x="0" y="34505"/>
                  </a:lnTo>
                  <a:lnTo>
                    <a:pt x="0" y="42227"/>
                  </a:lnTo>
                  <a:lnTo>
                    <a:pt x="9144" y="42227"/>
                  </a:lnTo>
                  <a:lnTo>
                    <a:pt x="17730" y="40567"/>
                  </a:lnTo>
                  <a:lnTo>
                    <a:pt x="24747" y="36041"/>
                  </a:lnTo>
                  <a:lnTo>
                    <a:pt x="29480" y="29331"/>
                  </a:lnTo>
                  <a:lnTo>
                    <a:pt x="31216" y="21120"/>
                  </a:lnTo>
                  <a:lnTo>
                    <a:pt x="29480" y="12906"/>
                  </a:lnTo>
                  <a:lnTo>
                    <a:pt x="24747" y="6192"/>
                  </a:lnTo>
                  <a:lnTo>
                    <a:pt x="17730" y="1662"/>
                  </a:lnTo>
                  <a:lnTo>
                    <a:pt x="9144" y="0"/>
                  </a:lnTo>
                  <a:close/>
                </a:path>
              </a:pathLst>
            </a:custGeom>
            <a:solidFill>
              <a:srgbClr val="9B9B9A"/>
            </a:solidFill>
          </p:spPr>
          <p:txBody>
            <a:bodyPr wrap="square" lIns="0" tIns="0" rIns="0" bIns="0" rtlCol="0"/>
            <a:lstStyle/>
            <a:p>
              <a:endParaRPr sz="1800"/>
            </a:p>
          </p:txBody>
        </p:sp>
        <p:sp>
          <p:nvSpPr>
            <p:cNvPr id="53" name="object 5"/>
            <p:cNvSpPr/>
            <p:nvPr userDrawn="1"/>
          </p:nvSpPr>
          <p:spPr>
            <a:xfrm>
              <a:off x="10377496" y="6976271"/>
              <a:ext cx="31750" cy="42545"/>
            </a:xfrm>
            <a:custGeom>
              <a:avLst/>
              <a:gdLst/>
              <a:ahLst/>
              <a:cxnLst/>
              <a:rect l="l" t="t" r="r" b="b"/>
              <a:pathLst>
                <a:path w="31750" h="42545">
                  <a:moveTo>
                    <a:pt x="9144" y="0"/>
                  </a:moveTo>
                  <a:lnTo>
                    <a:pt x="0" y="0"/>
                  </a:lnTo>
                  <a:lnTo>
                    <a:pt x="0" y="7721"/>
                  </a:lnTo>
                  <a:lnTo>
                    <a:pt x="16878" y="7721"/>
                  </a:lnTo>
                  <a:lnTo>
                    <a:pt x="23152" y="13741"/>
                  </a:lnTo>
                  <a:lnTo>
                    <a:pt x="23152" y="28511"/>
                  </a:lnTo>
                  <a:lnTo>
                    <a:pt x="16878" y="34505"/>
                  </a:lnTo>
                  <a:lnTo>
                    <a:pt x="0" y="34505"/>
                  </a:lnTo>
                  <a:lnTo>
                    <a:pt x="0" y="42227"/>
                  </a:lnTo>
                  <a:lnTo>
                    <a:pt x="9144" y="42227"/>
                  </a:lnTo>
                  <a:lnTo>
                    <a:pt x="17732" y="40567"/>
                  </a:lnTo>
                  <a:lnTo>
                    <a:pt x="24753" y="36041"/>
                  </a:lnTo>
                  <a:lnTo>
                    <a:pt x="29491" y="29331"/>
                  </a:lnTo>
                  <a:lnTo>
                    <a:pt x="31229" y="21120"/>
                  </a:lnTo>
                  <a:lnTo>
                    <a:pt x="29491" y="12906"/>
                  </a:lnTo>
                  <a:lnTo>
                    <a:pt x="24753" y="6192"/>
                  </a:lnTo>
                  <a:lnTo>
                    <a:pt x="17732" y="1662"/>
                  </a:lnTo>
                  <a:lnTo>
                    <a:pt x="9144" y="0"/>
                  </a:lnTo>
                  <a:close/>
                </a:path>
              </a:pathLst>
            </a:custGeom>
            <a:solidFill>
              <a:srgbClr val="9B9B9A"/>
            </a:solidFill>
          </p:spPr>
          <p:txBody>
            <a:bodyPr wrap="square" lIns="0" tIns="0" rIns="0" bIns="0" rtlCol="0"/>
            <a:lstStyle/>
            <a:p>
              <a:endParaRPr sz="1800"/>
            </a:p>
          </p:txBody>
        </p:sp>
        <p:sp>
          <p:nvSpPr>
            <p:cNvPr id="54" name="object 6"/>
            <p:cNvSpPr/>
            <p:nvPr userDrawn="1"/>
          </p:nvSpPr>
          <p:spPr>
            <a:xfrm>
              <a:off x="10662470" y="6976271"/>
              <a:ext cx="31750" cy="42545"/>
            </a:xfrm>
            <a:custGeom>
              <a:avLst/>
              <a:gdLst/>
              <a:ahLst/>
              <a:cxnLst/>
              <a:rect l="l" t="t" r="r" b="b"/>
              <a:pathLst>
                <a:path w="31750" h="42545">
                  <a:moveTo>
                    <a:pt x="9169" y="0"/>
                  </a:moveTo>
                  <a:lnTo>
                    <a:pt x="0" y="0"/>
                  </a:lnTo>
                  <a:lnTo>
                    <a:pt x="0" y="7721"/>
                  </a:lnTo>
                  <a:lnTo>
                    <a:pt x="16878" y="7721"/>
                  </a:lnTo>
                  <a:lnTo>
                    <a:pt x="23177" y="13741"/>
                  </a:lnTo>
                  <a:lnTo>
                    <a:pt x="23177" y="28511"/>
                  </a:lnTo>
                  <a:lnTo>
                    <a:pt x="16878" y="34505"/>
                  </a:lnTo>
                  <a:lnTo>
                    <a:pt x="0" y="34505"/>
                  </a:lnTo>
                  <a:lnTo>
                    <a:pt x="0" y="42227"/>
                  </a:lnTo>
                  <a:lnTo>
                    <a:pt x="9169" y="42227"/>
                  </a:lnTo>
                  <a:lnTo>
                    <a:pt x="17751" y="40567"/>
                  </a:lnTo>
                  <a:lnTo>
                    <a:pt x="24768" y="36041"/>
                  </a:lnTo>
                  <a:lnTo>
                    <a:pt x="29504" y="29331"/>
                  </a:lnTo>
                  <a:lnTo>
                    <a:pt x="31241" y="21120"/>
                  </a:lnTo>
                  <a:lnTo>
                    <a:pt x="29504" y="12906"/>
                  </a:lnTo>
                  <a:lnTo>
                    <a:pt x="24768" y="6192"/>
                  </a:lnTo>
                  <a:lnTo>
                    <a:pt x="17751" y="1662"/>
                  </a:lnTo>
                  <a:lnTo>
                    <a:pt x="9169" y="0"/>
                  </a:lnTo>
                  <a:close/>
                </a:path>
              </a:pathLst>
            </a:custGeom>
            <a:solidFill>
              <a:srgbClr val="9B9B9A"/>
            </a:solidFill>
          </p:spPr>
          <p:txBody>
            <a:bodyPr wrap="square" lIns="0" tIns="0" rIns="0" bIns="0" rtlCol="0"/>
            <a:lstStyle/>
            <a:p>
              <a:endParaRPr sz="1800"/>
            </a:p>
          </p:txBody>
        </p:sp>
        <p:sp>
          <p:nvSpPr>
            <p:cNvPr id="55" name="object 19"/>
            <p:cNvSpPr/>
            <p:nvPr userDrawn="1"/>
          </p:nvSpPr>
          <p:spPr>
            <a:xfrm>
              <a:off x="10662494" y="7134064"/>
              <a:ext cx="31750" cy="42545"/>
            </a:xfrm>
            <a:custGeom>
              <a:avLst/>
              <a:gdLst/>
              <a:ahLst/>
              <a:cxnLst/>
              <a:rect l="l" t="t" r="r" b="b"/>
              <a:pathLst>
                <a:path w="31750" h="42545">
                  <a:moveTo>
                    <a:pt x="31216" y="0"/>
                  </a:moveTo>
                  <a:lnTo>
                    <a:pt x="22059" y="0"/>
                  </a:lnTo>
                  <a:lnTo>
                    <a:pt x="13485" y="1660"/>
                  </a:lnTo>
                  <a:lnTo>
                    <a:pt x="6472" y="6186"/>
                  </a:lnTo>
                  <a:lnTo>
                    <a:pt x="1737" y="12896"/>
                  </a:lnTo>
                  <a:lnTo>
                    <a:pt x="0" y="21107"/>
                  </a:lnTo>
                  <a:lnTo>
                    <a:pt x="1737" y="29320"/>
                  </a:lnTo>
                  <a:lnTo>
                    <a:pt x="6472" y="36034"/>
                  </a:lnTo>
                  <a:lnTo>
                    <a:pt x="13485" y="40565"/>
                  </a:lnTo>
                  <a:lnTo>
                    <a:pt x="22059" y="42227"/>
                  </a:lnTo>
                  <a:lnTo>
                    <a:pt x="31216" y="42227"/>
                  </a:lnTo>
                  <a:lnTo>
                    <a:pt x="31216" y="34505"/>
                  </a:lnTo>
                  <a:lnTo>
                    <a:pt x="14338" y="34505"/>
                  </a:lnTo>
                  <a:lnTo>
                    <a:pt x="8064" y="28486"/>
                  </a:lnTo>
                  <a:lnTo>
                    <a:pt x="8064" y="13715"/>
                  </a:lnTo>
                  <a:lnTo>
                    <a:pt x="14338" y="7721"/>
                  </a:lnTo>
                  <a:lnTo>
                    <a:pt x="31216" y="7721"/>
                  </a:lnTo>
                  <a:lnTo>
                    <a:pt x="31216" y="0"/>
                  </a:lnTo>
                  <a:close/>
                </a:path>
              </a:pathLst>
            </a:custGeom>
            <a:solidFill>
              <a:srgbClr val="9B9B9A"/>
            </a:solidFill>
          </p:spPr>
          <p:txBody>
            <a:bodyPr wrap="square" lIns="0" tIns="0" rIns="0" bIns="0" rtlCol="0"/>
            <a:lstStyle/>
            <a:p>
              <a:endParaRPr sz="1800"/>
            </a:p>
          </p:txBody>
        </p:sp>
        <p:sp>
          <p:nvSpPr>
            <p:cNvPr id="56" name="object 20"/>
            <p:cNvSpPr/>
            <p:nvPr userDrawn="1"/>
          </p:nvSpPr>
          <p:spPr>
            <a:xfrm>
              <a:off x="10377494" y="7134064"/>
              <a:ext cx="31750" cy="42545"/>
            </a:xfrm>
            <a:custGeom>
              <a:avLst/>
              <a:gdLst/>
              <a:ahLst/>
              <a:cxnLst/>
              <a:rect l="l" t="t" r="r" b="b"/>
              <a:pathLst>
                <a:path w="31750" h="42545">
                  <a:moveTo>
                    <a:pt x="31229" y="0"/>
                  </a:moveTo>
                  <a:lnTo>
                    <a:pt x="22072" y="0"/>
                  </a:lnTo>
                  <a:lnTo>
                    <a:pt x="13490" y="1660"/>
                  </a:lnTo>
                  <a:lnTo>
                    <a:pt x="6473" y="6186"/>
                  </a:lnTo>
                  <a:lnTo>
                    <a:pt x="1737" y="12896"/>
                  </a:lnTo>
                  <a:lnTo>
                    <a:pt x="0" y="21107"/>
                  </a:lnTo>
                  <a:lnTo>
                    <a:pt x="1737" y="29320"/>
                  </a:lnTo>
                  <a:lnTo>
                    <a:pt x="6473" y="36034"/>
                  </a:lnTo>
                  <a:lnTo>
                    <a:pt x="13490" y="40565"/>
                  </a:lnTo>
                  <a:lnTo>
                    <a:pt x="22072" y="42227"/>
                  </a:lnTo>
                  <a:lnTo>
                    <a:pt x="31229" y="42227"/>
                  </a:lnTo>
                  <a:lnTo>
                    <a:pt x="31229" y="34505"/>
                  </a:lnTo>
                  <a:lnTo>
                    <a:pt x="14350" y="34505"/>
                  </a:lnTo>
                  <a:lnTo>
                    <a:pt x="8064" y="28486"/>
                  </a:lnTo>
                  <a:lnTo>
                    <a:pt x="8064" y="13715"/>
                  </a:lnTo>
                  <a:lnTo>
                    <a:pt x="14350" y="7721"/>
                  </a:lnTo>
                  <a:lnTo>
                    <a:pt x="31229" y="7721"/>
                  </a:lnTo>
                  <a:lnTo>
                    <a:pt x="31229" y="0"/>
                  </a:lnTo>
                  <a:close/>
                </a:path>
              </a:pathLst>
            </a:custGeom>
            <a:solidFill>
              <a:srgbClr val="9B9B9A"/>
            </a:solidFill>
          </p:spPr>
          <p:txBody>
            <a:bodyPr wrap="square" lIns="0" tIns="0" rIns="0" bIns="0" rtlCol="0"/>
            <a:lstStyle/>
            <a:p>
              <a:endParaRPr sz="1800"/>
            </a:p>
          </p:txBody>
        </p:sp>
        <p:sp>
          <p:nvSpPr>
            <p:cNvPr id="57" name="object 21"/>
            <p:cNvSpPr/>
            <p:nvPr userDrawn="1"/>
          </p:nvSpPr>
          <p:spPr>
            <a:xfrm>
              <a:off x="10092512" y="7134064"/>
              <a:ext cx="31750" cy="42545"/>
            </a:xfrm>
            <a:custGeom>
              <a:avLst/>
              <a:gdLst/>
              <a:ahLst/>
              <a:cxnLst/>
              <a:rect l="l" t="t" r="r" b="b"/>
              <a:pathLst>
                <a:path w="31750" h="42545">
                  <a:moveTo>
                    <a:pt x="31216" y="0"/>
                  </a:moveTo>
                  <a:lnTo>
                    <a:pt x="22072" y="0"/>
                  </a:lnTo>
                  <a:lnTo>
                    <a:pt x="13490" y="1660"/>
                  </a:lnTo>
                  <a:lnTo>
                    <a:pt x="6473" y="6186"/>
                  </a:lnTo>
                  <a:lnTo>
                    <a:pt x="1737" y="12896"/>
                  </a:lnTo>
                  <a:lnTo>
                    <a:pt x="0" y="21107"/>
                  </a:lnTo>
                  <a:lnTo>
                    <a:pt x="1737" y="29320"/>
                  </a:lnTo>
                  <a:lnTo>
                    <a:pt x="6473" y="36034"/>
                  </a:lnTo>
                  <a:lnTo>
                    <a:pt x="13490" y="40565"/>
                  </a:lnTo>
                  <a:lnTo>
                    <a:pt x="22072" y="42227"/>
                  </a:lnTo>
                  <a:lnTo>
                    <a:pt x="31216" y="42227"/>
                  </a:lnTo>
                  <a:lnTo>
                    <a:pt x="31216" y="34505"/>
                  </a:lnTo>
                  <a:lnTo>
                    <a:pt x="14350" y="34505"/>
                  </a:lnTo>
                  <a:lnTo>
                    <a:pt x="8064" y="28486"/>
                  </a:lnTo>
                  <a:lnTo>
                    <a:pt x="8064" y="13715"/>
                  </a:lnTo>
                  <a:lnTo>
                    <a:pt x="14350" y="7721"/>
                  </a:lnTo>
                  <a:lnTo>
                    <a:pt x="31216" y="7721"/>
                  </a:lnTo>
                  <a:lnTo>
                    <a:pt x="31216" y="0"/>
                  </a:lnTo>
                  <a:close/>
                </a:path>
              </a:pathLst>
            </a:custGeom>
            <a:solidFill>
              <a:srgbClr val="9B9B9A"/>
            </a:solidFill>
          </p:spPr>
          <p:txBody>
            <a:bodyPr wrap="square" lIns="0" tIns="0" rIns="0" bIns="0" rtlCol="0"/>
            <a:lstStyle/>
            <a:p>
              <a:endParaRPr sz="1800"/>
            </a:p>
          </p:txBody>
        </p:sp>
      </p:grpSp>
    </p:spTree>
    <p:extLst>
      <p:ext uri="{BB962C8B-B14F-4D97-AF65-F5344CB8AC3E}">
        <p14:creationId xmlns:p14="http://schemas.microsoft.com/office/powerpoint/2010/main" val="3112696251"/>
      </p:ext>
    </p:extLst>
  </p:cSld>
  <p:clrMap bg1="lt1" tx1="dk1" bg2="lt2" tx2="dk2" accent1="accent1" accent2="accent2" accent3="accent3" accent4="accent4" accent5="accent5" accent6="accent6" hlink="hlink" folHlink="folHlink"/>
  <p:sldLayoutIdLst>
    <p:sldLayoutId id="2147484429" r:id="rId1"/>
    <p:sldLayoutId id="2147484430" r:id="rId2"/>
    <p:sldLayoutId id="2147484431" r:id="rId3"/>
    <p:sldLayoutId id="2147484432" r:id="rId4"/>
    <p:sldLayoutId id="2147484433" r:id="rId5"/>
    <p:sldLayoutId id="2147484434" r:id="rId6"/>
    <p:sldLayoutId id="2147484435" r:id="rId7"/>
    <p:sldLayoutId id="2147484436" r:id="rId8"/>
    <p:sldLayoutId id="2147484437" r:id="rId9"/>
    <p:sldLayoutId id="2147484438" r:id="rId10"/>
    <p:sldLayoutId id="2147484439" r:id="rId11"/>
  </p:sldLayoutIdLst>
  <p:hf hdr="0" ftr="0" dt="0"/>
  <p:txStyles>
    <p:titleStyle>
      <a:lvl1pPr algn="l" defTabSz="1007352" rtl="0" eaLnBrk="1" latinLnBrk="0" hangingPunct="1">
        <a:lnSpc>
          <a:spcPct val="90000"/>
        </a:lnSpc>
        <a:spcBef>
          <a:spcPct val="0"/>
        </a:spcBef>
        <a:buNone/>
        <a:defRPr sz="4847" kern="1200">
          <a:solidFill>
            <a:schemeClr val="tx1"/>
          </a:solidFill>
          <a:latin typeface="+mj-lt"/>
          <a:ea typeface="+mj-ea"/>
          <a:cs typeface="+mj-cs"/>
        </a:defRPr>
      </a:lvl1pPr>
    </p:titleStyle>
    <p:bodyStyle>
      <a:lvl1pPr marL="251840" indent="-251840" algn="l" defTabSz="1007352" rtl="0" eaLnBrk="1" latinLnBrk="0" hangingPunct="1">
        <a:lnSpc>
          <a:spcPct val="90000"/>
        </a:lnSpc>
        <a:spcBef>
          <a:spcPts val="1102"/>
        </a:spcBef>
        <a:buFont typeface="Arial" panose="020B0604020202020204" pitchFamily="34" charset="0"/>
        <a:buChar char="•"/>
        <a:defRPr sz="3082" kern="1200">
          <a:solidFill>
            <a:schemeClr val="tx1"/>
          </a:solidFill>
          <a:latin typeface="+mn-lt"/>
          <a:ea typeface="+mn-ea"/>
          <a:cs typeface="+mn-cs"/>
        </a:defRPr>
      </a:lvl1pPr>
      <a:lvl2pPr marL="755514" indent="-251840" algn="l" defTabSz="1007352" rtl="0" eaLnBrk="1" latinLnBrk="0" hangingPunct="1">
        <a:lnSpc>
          <a:spcPct val="90000"/>
        </a:lnSpc>
        <a:spcBef>
          <a:spcPts val="552"/>
        </a:spcBef>
        <a:buFont typeface="Arial" panose="020B0604020202020204" pitchFamily="34" charset="0"/>
        <a:buChar char="•"/>
        <a:defRPr sz="2644" kern="1200">
          <a:solidFill>
            <a:schemeClr val="tx1"/>
          </a:solidFill>
          <a:latin typeface="+mn-lt"/>
          <a:ea typeface="+mn-ea"/>
          <a:cs typeface="+mn-cs"/>
        </a:defRPr>
      </a:lvl2pPr>
      <a:lvl3pPr marL="1259191" indent="-251840" algn="l" defTabSz="1007352" rtl="0" eaLnBrk="1" latinLnBrk="0" hangingPunct="1">
        <a:lnSpc>
          <a:spcPct val="90000"/>
        </a:lnSpc>
        <a:spcBef>
          <a:spcPts val="552"/>
        </a:spcBef>
        <a:buFont typeface="Arial" panose="020B0604020202020204" pitchFamily="34" charset="0"/>
        <a:buChar char="•"/>
        <a:defRPr sz="2205" kern="1200">
          <a:solidFill>
            <a:schemeClr val="tx1"/>
          </a:solidFill>
          <a:latin typeface="+mn-lt"/>
          <a:ea typeface="+mn-ea"/>
          <a:cs typeface="+mn-cs"/>
        </a:defRPr>
      </a:lvl3pPr>
      <a:lvl4pPr marL="1762865" indent="-251840" algn="l" defTabSz="1007352" rtl="0" eaLnBrk="1" latinLnBrk="0" hangingPunct="1">
        <a:lnSpc>
          <a:spcPct val="90000"/>
        </a:lnSpc>
        <a:spcBef>
          <a:spcPts val="552"/>
        </a:spcBef>
        <a:buFont typeface="Arial" panose="020B0604020202020204" pitchFamily="34" charset="0"/>
        <a:buChar char="•"/>
        <a:defRPr sz="1982" kern="1200">
          <a:solidFill>
            <a:schemeClr val="tx1"/>
          </a:solidFill>
          <a:latin typeface="+mn-lt"/>
          <a:ea typeface="+mn-ea"/>
          <a:cs typeface="+mn-cs"/>
        </a:defRPr>
      </a:lvl4pPr>
      <a:lvl5pPr marL="2266544" indent="-251840" algn="l" defTabSz="1007352" rtl="0" eaLnBrk="1" latinLnBrk="0" hangingPunct="1">
        <a:lnSpc>
          <a:spcPct val="90000"/>
        </a:lnSpc>
        <a:spcBef>
          <a:spcPts val="552"/>
        </a:spcBef>
        <a:buFont typeface="Arial" panose="020B0604020202020204" pitchFamily="34" charset="0"/>
        <a:buChar char="•"/>
        <a:defRPr sz="1982" kern="1200">
          <a:solidFill>
            <a:schemeClr val="tx1"/>
          </a:solidFill>
          <a:latin typeface="+mn-lt"/>
          <a:ea typeface="+mn-ea"/>
          <a:cs typeface="+mn-cs"/>
        </a:defRPr>
      </a:lvl5pPr>
      <a:lvl6pPr marL="2770222" indent="-251840" algn="l" defTabSz="1007352" rtl="0" eaLnBrk="1" latinLnBrk="0" hangingPunct="1">
        <a:lnSpc>
          <a:spcPct val="90000"/>
        </a:lnSpc>
        <a:spcBef>
          <a:spcPts val="552"/>
        </a:spcBef>
        <a:buFont typeface="Arial" panose="020B0604020202020204" pitchFamily="34" charset="0"/>
        <a:buChar char="•"/>
        <a:defRPr sz="1982" kern="1200">
          <a:solidFill>
            <a:schemeClr val="tx1"/>
          </a:solidFill>
          <a:latin typeface="+mn-lt"/>
          <a:ea typeface="+mn-ea"/>
          <a:cs typeface="+mn-cs"/>
        </a:defRPr>
      </a:lvl6pPr>
      <a:lvl7pPr marL="3273896" indent="-251840" algn="l" defTabSz="1007352" rtl="0" eaLnBrk="1" latinLnBrk="0" hangingPunct="1">
        <a:lnSpc>
          <a:spcPct val="90000"/>
        </a:lnSpc>
        <a:spcBef>
          <a:spcPts val="552"/>
        </a:spcBef>
        <a:buFont typeface="Arial" panose="020B0604020202020204" pitchFamily="34" charset="0"/>
        <a:buChar char="•"/>
        <a:defRPr sz="1982" kern="1200">
          <a:solidFill>
            <a:schemeClr val="tx1"/>
          </a:solidFill>
          <a:latin typeface="+mn-lt"/>
          <a:ea typeface="+mn-ea"/>
          <a:cs typeface="+mn-cs"/>
        </a:defRPr>
      </a:lvl7pPr>
      <a:lvl8pPr marL="3777573" indent="-251840" algn="l" defTabSz="1007352" rtl="0" eaLnBrk="1" latinLnBrk="0" hangingPunct="1">
        <a:lnSpc>
          <a:spcPct val="90000"/>
        </a:lnSpc>
        <a:spcBef>
          <a:spcPts val="552"/>
        </a:spcBef>
        <a:buFont typeface="Arial" panose="020B0604020202020204" pitchFamily="34" charset="0"/>
        <a:buChar char="•"/>
        <a:defRPr sz="1982" kern="1200">
          <a:solidFill>
            <a:schemeClr val="tx1"/>
          </a:solidFill>
          <a:latin typeface="+mn-lt"/>
          <a:ea typeface="+mn-ea"/>
          <a:cs typeface="+mn-cs"/>
        </a:defRPr>
      </a:lvl8pPr>
      <a:lvl9pPr marL="4281249" indent="-251840" algn="l" defTabSz="1007352" rtl="0" eaLnBrk="1" latinLnBrk="0" hangingPunct="1">
        <a:lnSpc>
          <a:spcPct val="90000"/>
        </a:lnSpc>
        <a:spcBef>
          <a:spcPts val="552"/>
        </a:spcBef>
        <a:buFont typeface="Arial" panose="020B0604020202020204" pitchFamily="34" charset="0"/>
        <a:buChar char="•"/>
        <a:defRPr sz="1982" kern="1200">
          <a:solidFill>
            <a:schemeClr val="tx1"/>
          </a:solidFill>
          <a:latin typeface="+mn-lt"/>
          <a:ea typeface="+mn-ea"/>
          <a:cs typeface="+mn-cs"/>
        </a:defRPr>
      </a:lvl9pPr>
    </p:bodyStyle>
    <p:otherStyle>
      <a:defPPr>
        <a:defRPr lang="en-US"/>
      </a:defPPr>
      <a:lvl1pPr marL="0" algn="l" defTabSz="1007352" rtl="0" eaLnBrk="1" latinLnBrk="0" hangingPunct="1">
        <a:defRPr sz="1982" kern="1200">
          <a:solidFill>
            <a:schemeClr val="tx1"/>
          </a:solidFill>
          <a:latin typeface="+mn-lt"/>
          <a:ea typeface="+mn-ea"/>
          <a:cs typeface="+mn-cs"/>
        </a:defRPr>
      </a:lvl1pPr>
      <a:lvl2pPr marL="503676" algn="l" defTabSz="1007352" rtl="0" eaLnBrk="1" latinLnBrk="0" hangingPunct="1">
        <a:defRPr sz="1982" kern="1200">
          <a:solidFill>
            <a:schemeClr val="tx1"/>
          </a:solidFill>
          <a:latin typeface="+mn-lt"/>
          <a:ea typeface="+mn-ea"/>
          <a:cs typeface="+mn-cs"/>
        </a:defRPr>
      </a:lvl2pPr>
      <a:lvl3pPr marL="1007352" algn="l" defTabSz="1007352" rtl="0" eaLnBrk="1" latinLnBrk="0" hangingPunct="1">
        <a:defRPr sz="1982" kern="1200">
          <a:solidFill>
            <a:schemeClr val="tx1"/>
          </a:solidFill>
          <a:latin typeface="+mn-lt"/>
          <a:ea typeface="+mn-ea"/>
          <a:cs typeface="+mn-cs"/>
        </a:defRPr>
      </a:lvl3pPr>
      <a:lvl4pPr marL="1511030" algn="l" defTabSz="1007352" rtl="0" eaLnBrk="1" latinLnBrk="0" hangingPunct="1">
        <a:defRPr sz="1982" kern="1200">
          <a:solidFill>
            <a:schemeClr val="tx1"/>
          </a:solidFill>
          <a:latin typeface="+mn-lt"/>
          <a:ea typeface="+mn-ea"/>
          <a:cs typeface="+mn-cs"/>
        </a:defRPr>
      </a:lvl4pPr>
      <a:lvl5pPr marL="2014706" algn="l" defTabSz="1007352" rtl="0" eaLnBrk="1" latinLnBrk="0" hangingPunct="1">
        <a:defRPr sz="1982" kern="1200">
          <a:solidFill>
            <a:schemeClr val="tx1"/>
          </a:solidFill>
          <a:latin typeface="+mn-lt"/>
          <a:ea typeface="+mn-ea"/>
          <a:cs typeface="+mn-cs"/>
        </a:defRPr>
      </a:lvl5pPr>
      <a:lvl6pPr marL="2518382" algn="l" defTabSz="1007352" rtl="0" eaLnBrk="1" latinLnBrk="0" hangingPunct="1">
        <a:defRPr sz="1982" kern="1200">
          <a:solidFill>
            <a:schemeClr val="tx1"/>
          </a:solidFill>
          <a:latin typeface="+mn-lt"/>
          <a:ea typeface="+mn-ea"/>
          <a:cs typeface="+mn-cs"/>
        </a:defRPr>
      </a:lvl6pPr>
      <a:lvl7pPr marL="3022058" algn="l" defTabSz="1007352" rtl="0" eaLnBrk="1" latinLnBrk="0" hangingPunct="1">
        <a:defRPr sz="1982" kern="1200">
          <a:solidFill>
            <a:schemeClr val="tx1"/>
          </a:solidFill>
          <a:latin typeface="+mn-lt"/>
          <a:ea typeface="+mn-ea"/>
          <a:cs typeface="+mn-cs"/>
        </a:defRPr>
      </a:lvl7pPr>
      <a:lvl8pPr marL="3525733" algn="l" defTabSz="1007352" rtl="0" eaLnBrk="1" latinLnBrk="0" hangingPunct="1">
        <a:defRPr sz="1982" kern="1200">
          <a:solidFill>
            <a:schemeClr val="tx1"/>
          </a:solidFill>
          <a:latin typeface="+mn-lt"/>
          <a:ea typeface="+mn-ea"/>
          <a:cs typeface="+mn-cs"/>
        </a:defRPr>
      </a:lvl8pPr>
      <a:lvl9pPr marL="4029411" algn="l" defTabSz="1007352" rtl="0" eaLnBrk="1" latinLnBrk="0" hangingPunct="1">
        <a:defRPr sz="1982"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8.xml"/><Relationship Id="rId1" Type="http://schemas.openxmlformats.org/officeDocument/2006/relationships/slideLayout" Target="../slideLayouts/slideLayout55.xml"/></Relationships>
</file>

<file path=ppt/slides/_rels/slide1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9.xml"/><Relationship Id="rId1" Type="http://schemas.openxmlformats.org/officeDocument/2006/relationships/slideLayout" Target="../slideLayouts/slideLayout55.xml"/><Relationship Id="rId5" Type="http://schemas.openxmlformats.org/officeDocument/2006/relationships/image" Target="../media/image37.png"/><Relationship Id="rId4" Type="http://schemas.openxmlformats.org/officeDocument/2006/relationships/image" Target="../media/image36.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5.xml"/></Relationships>
</file>

<file path=ppt/slides/_rels/slide13.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notesSlide" Target="../notesSlides/notesSlide11.xm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slideLayout" Target="../slideLayouts/slideLayout55.xml"/><Relationship Id="rId5" Type="http://schemas.openxmlformats.org/officeDocument/2006/relationships/tags" Target="../tags/tag30.xml"/><Relationship Id="rId4" Type="http://schemas.openxmlformats.org/officeDocument/2006/relationships/tags" Target="../tags/tag29.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5.xml"/></Relationships>
</file>

<file path=ppt/slides/_rels/slide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3.xml"/><Relationship Id="rId1" Type="http://schemas.openxmlformats.org/officeDocument/2006/relationships/slideLayout" Target="../slideLayouts/slideLayout55.xml"/><Relationship Id="rId4" Type="http://schemas.openxmlformats.org/officeDocument/2006/relationships/image" Target="../media/image21.png"/></Relationships>
</file>

<file path=ppt/slides/_rels/slide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4.xml"/><Relationship Id="rId1" Type="http://schemas.openxmlformats.org/officeDocument/2006/relationships/slideLayout" Target="../slideLayouts/slideLayout55.xml"/><Relationship Id="rId4" Type="http://schemas.openxmlformats.org/officeDocument/2006/relationships/image" Target="../media/image23.png"/></Relationships>
</file>

<file path=ppt/slides/_rels/slide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5.xml"/><Relationship Id="rId1" Type="http://schemas.openxmlformats.org/officeDocument/2006/relationships/slideLayout" Target="../slideLayouts/slideLayout55.xml"/><Relationship Id="rId4" Type="http://schemas.openxmlformats.org/officeDocument/2006/relationships/image" Target="../media/image25.png"/></Relationships>
</file>

<file path=ppt/slides/_rels/slide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6.xml"/><Relationship Id="rId1" Type="http://schemas.openxmlformats.org/officeDocument/2006/relationships/slideLayout" Target="../slideLayouts/slideLayout55.xml"/><Relationship Id="rId4" Type="http://schemas.openxmlformats.org/officeDocument/2006/relationships/image" Target="../media/image27.png"/></Relationships>
</file>

<file path=ppt/slides/_rels/slide9.xml.rels><?xml version="1.0" encoding="UTF-8" standalone="yes"?>
<Relationships xmlns="http://schemas.openxmlformats.org/package/2006/relationships"><Relationship Id="rId8" Type="http://schemas.openxmlformats.org/officeDocument/2006/relationships/image" Target="../media/image33.svg"/><Relationship Id="rId3" Type="http://schemas.openxmlformats.org/officeDocument/2006/relationships/image" Target="../media/image28.png"/><Relationship Id="rId7" Type="http://schemas.openxmlformats.org/officeDocument/2006/relationships/image" Target="../media/image32.svg"/><Relationship Id="rId2" Type="http://schemas.openxmlformats.org/officeDocument/2006/relationships/notesSlide" Target="../notesSlides/notesSlide7.xml"/><Relationship Id="rId1" Type="http://schemas.openxmlformats.org/officeDocument/2006/relationships/slideLayout" Target="../slideLayouts/slideLayout55.xml"/><Relationship Id="rId6" Type="http://schemas.openxmlformats.org/officeDocument/2006/relationships/image" Target="../media/image31.svg"/><Relationship Id="rId5" Type="http://schemas.openxmlformats.org/officeDocument/2006/relationships/image" Target="../media/image30.png"/><Relationship Id="rId4" Type="http://schemas.openxmlformats.org/officeDocument/2006/relationships/image" Target="../media/image29.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24747" y="2509330"/>
            <a:ext cx="8998224" cy="1270507"/>
          </a:xfrm>
        </p:spPr>
        <p:txBody>
          <a:bodyPr/>
          <a:lstStyle/>
          <a:p>
            <a:r>
              <a:rPr lang="uk-UA" sz="4400" noProof="0" dirty="0">
                <a:latin typeface="Segoe UI" panose="020B0502040204020203" pitchFamily="34" charset="0"/>
                <a:cs typeface="Segoe UI" panose="020B0502040204020203" pitchFamily="34" charset="0"/>
              </a:rPr>
              <a:t>Автоматизація процесів корпоративного управління</a:t>
            </a:r>
          </a:p>
        </p:txBody>
      </p:sp>
    </p:spTree>
    <p:extLst>
      <p:ext uri="{BB962C8B-B14F-4D97-AF65-F5344CB8AC3E}">
        <p14:creationId xmlns:p14="http://schemas.microsoft.com/office/powerpoint/2010/main" val="319400477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EBE949-C6E9-3B87-ECAD-0FFB8B6330C7}"/>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F4EC4F4F-C262-DDA8-0572-B6A1E54D9D4C}"/>
              </a:ext>
            </a:extLst>
          </p:cNvPr>
          <p:cNvSpPr txBox="1"/>
          <p:nvPr/>
        </p:nvSpPr>
        <p:spPr>
          <a:xfrm>
            <a:off x="777475" y="141257"/>
            <a:ext cx="12662123" cy="461665"/>
          </a:xfrm>
          <a:prstGeom prst="rect">
            <a:avLst/>
          </a:prstGeom>
          <a:noFill/>
        </p:spPr>
        <p:txBody>
          <a:bodyPr wrap="square" rtlCol="0">
            <a:spAutoFit/>
          </a:bodyPr>
          <a:lstStyle/>
          <a:p>
            <a:r>
              <a:rPr lang="ru-RU" sz="2400" b="1" noProof="1">
                <a:latin typeface="Segoe UI" panose="020B0502040204020203" pitchFamily="34" charset="0"/>
                <a:ea typeface="Open Sans" panose="020B0606030504020204" pitchFamily="34" charset="0"/>
                <a:cs typeface="Segoe UI" panose="020B0502040204020203" pitchFamily="34" charset="0"/>
              </a:rPr>
              <a:t>АВТОМАТИЗОВАНИЙ РЕЄСТР КОРПОРАТИВНИХ ДОКУМЕНТІВ</a:t>
            </a:r>
            <a:endParaRPr lang="uk-UA" sz="2400" b="1" noProof="1">
              <a:latin typeface="Segoe UI" panose="020B0502040204020203" pitchFamily="34" charset="0"/>
              <a:ea typeface="Open Sans" panose="020B0606030504020204" pitchFamily="34" charset="0"/>
              <a:cs typeface="Segoe UI" panose="020B0502040204020203" pitchFamily="34" charset="0"/>
            </a:endParaRPr>
          </a:p>
        </p:txBody>
      </p:sp>
      <p:sp>
        <p:nvSpPr>
          <p:cNvPr id="4" name="Rectangle 1">
            <a:extLst>
              <a:ext uri="{FF2B5EF4-FFF2-40B4-BE49-F238E27FC236}">
                <a16:creationId xmlns:a16="http://schemas.microsoft.com/office/drawing/2014/main" id="{69009F48-B64B-B24B-2553-BA4CE7A64864}"/>
              </a:ext>
            </a:extLst>
          </p:cNvPr>
          <p:cNvSpPr/>
          <p:nvPr/>
        </p:nvSpPr>
        <p:spPr>
          <a:xfrm>
            <a:off x="683894" y="1131988"/>
            <a:ext cx="3017285" cy="5383529"/>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00796" tIns="50398" rIns="100796" bIns="50398" rtlCol="0" anchor="ctr"/>
          <a:lstStyle/>
          <a:p>
            <a:pPr>
              <a:spcAft>
                <a:spcPts val="1800"/>
              </a:spcAft>
            </a:pPr>
            <a:endParaRPr lang="uk-UA" sz="1200" noProof="1">
              <a:solidFill>
                <a:srgbClr val="000000"/>
              </a:solidFill>
              <a:latin typeface="Segoe UI"/>
              <a:cs typeface="Segoe UI"/>
            </a:endParaRPr>
          </a:p>
        </p:txBody>
      </p:sp>
      <p:sp>
        <p:nvSpPr>
          <p:cNvPr id="16" name="TextBox 15">
            <a:extLst>
              <a:ext uri="{FF2B5EF4-FFF2-40B4-BE49-F238E27FC236}">
                <a16:creationId xmlns:a16="http://schemas.microsoft.com/office/drawing/2014/main" id="{223931CC-97C4-CBEF-9E40-2C2ED845D570}"/>
              </a:ext>
            </a:extLst>
          </p:cNvPr>
          <p:cNvSpPr txBox="1"/>
          <p:nvPr/>
        </p:nvSpPr>
        <p:spPr>
          <a:xfrm>
            <a:off x="1386953" y="1329988"/>
            <a:ext cx="2103120" cy="1569660"/>
          </a:xfrm>
          <a:prstGeom prst="rect">
            <a:avLst/>
          </a:prstGeom>
          <a:noFill/>
        </p:spPr>
        <p:txBody>
          <a:bodyPr wrap="square" rtlCol="0">
            <a:spAutoFit/>
          </a:bodyPr>
          <a:lstStyle/>
          <a:p>
            <a:pPr>
              <a:spcAft>
                <a:spcPts val="1800"/>
              </a:spcAft>
            </a:pPr>
            <a:r>
              <a:rPr lang="uk-UA" sz="1200" noProof="1">
                <a:solidFill>
                  <a:srgbClr val="000000"/>
                </a:solidFill>
                <a:latin typeface="Segoe UI"/>
                <a:cs typeface="Segoe UI"/>
              </a:rPr>
              <a:t>1. Робот вивантажує реєстр корп. документів з АС драфтингу та перевіряє, чи були ці документи підписані. Якщо так – додає посилання на підписаний документ у Реєстрі документів</a:t>
            </a:r>
          </a:p>
        </p:txBody>
      </p:sp>
      <p:sp>
        <p:nvSpPr>
          <p:cNvPr id="21" name="TextBox 20">
            <a:extLst>
              <a:ext uri="{FF2B5EF4-FFF2-40B4-BE49-F238E27FC236}">
                <a16:creationId xmlns:a16="http://schemas.microsoft.com/office/drawing/2014/main" id="{0A033217-EE08-438A-A5D3-6F5ABE48307F}"/>
              </a:ext>
            </a:extLst>
          </p:cNvPr>
          <p:cNvSpPr txBox="1"/>
          <p:nvPr/>
        </p:nvSpPr>
        <p:spPr>
          <a:xfrm>
            <a:off x="1386953" y="3792486"/>
            <a:ext cx="2103120" cy="1200329"/>
          </a:xfrm>
          <a:prstGeom prst="rect">
            <a:avLst/>
          </a:prstGeom>
          <a:noFill/>
        </p:spPr>
        <p:txBody>
          <a:bodyPr wrap="square" rtlCol="0">
            <a:spAutoFit/>
          </a:bodyPr>
          <a:lstStyle/>
          <a:p>
            <a:pPr>
              <a:spcAft>
                <a:spcPts val="1800"/>
              </a:spcAft>
            </a:pPr>
            <a:r>
              <a:rPr lang="ru-RU" sz="1200" noProof="1">
                <a:solidFill>
                  <a:srgbClr val="000000"/>
                </a:solidFill>
                <a:latin typeface="Segoe UI"/>
                <a:cs typeface="Segoe UI"/>
              </a:rPr>
              <a:t>2. Щодня робот доповнює Реєстр корп. документів новими документами з АС драфтингу та проставляє посилання на підписані документи.</a:t>
            </a:r>
          </a:p>
        </p:txBody>
      </p:sp>
      <p:sp>
        <p:nvSpPr>
          <p:cNvPr id="26" name="Овал 25">
            <a:extLst>
              <a:ext uri="{FF2B5EF4-FFF2-40B4-BE49-F238E27FC236}">
                <a16:creationId xmlns:a16="http://schemas.microsoft.com/office/drawing/2014/main" id="{EF674D87-9201-409E-C891-D1EF46B63C45}"/>
              </a:ext>
            </a:extLst>
          </p:cNvPr>
          <p:cNvSpPr/>
          <p:nvPr/>
        </p:nvSpPr>
        <p:spPr>
          <a:xfrm>
            <a:off x="772359" y="1330816"/>
            <a:ext cx="396000" cy="396000"/>
          </a:xfrm>
          <a:prstGeom prst="ellipse">
            <a:avLst/>
          </a:prstGeom>
          <a:solidFill>
            <a:srgbClr val="545454"/>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uk-UA" sz="1800" b="1" dirty="0">
                <a:latin typeface="Segoe UI" panose="020B0502040204020203" pitchFamily="34" charset="0"/>
                <a:cs typeface="Segoe UI" panose="020B0502040204020203" pitchFamily="34" charset="0"/>
              </a:rPr>
              <a:t>1</a:t>
            </a:r>
          </a:p>
        </p:txBody>
      </p:sp>
      <p:sp>
        <p:nvSpPr>
          <p:cNvPr id="5" name="TextBox 4">
            <a:extLst>
              <a:ext uri="{FF2B5EF4-FFF2-40B4-BE49-F238E27FC236}">
                <a16:creationId xmlns:a16="http://schemas.microsoft.com/office/drawing/2014/main" id="{3A35379A-E7D0-7D1E-86B9-2A41688B3484}"/>
              </a:ext>
            </a:extLst>
          </p:cNvPr>
          <p:cNvSpPr txBox="1"/>
          <p:nvPr/>
        </p:nvSpPr>
        <p:spPr>
          <a:xfrm>
            <a:off x="1386953" y="5103817"/>
            <a:ext cx="2103120" cy="1200329"/>
          </a:xfrm>
          <a:prstGeom prst="rect">
            <a:avLst/>
          </a:prstGeom>
          <a:noFill/>
        </p:spPr>
        <p:txBody>
          <a:bodyPr wrap="square" rtlCol="0">
            <a:spAutoFit/>
          </a:bodyPr>
          <a:lstStyle/>
          <a:p>
            <a:pPr>
              <a:spcAft>
                <a:spcPts val="1800"/>
              </a:spcAft>
            </a:pPr>
            <a:r>
              <a:rPr lang="ru-RU" sz="1200" noProof="1">
                <a:solidFill>
                  <a:srgbClr val="000000"/>
                </a:solidFill>
                <a:latin typeface="Segoe UI"/>
                <a:cs typeface="Segoe UI"/>
              </a:rPr>
              <a:t>Це допомагає завжди мати під рукою автоматизований реєстр документів та швидко знайти потрібний документ у реєстрі.</a:t>
            </a:r>
          </a:p>
        </p:txBody>
      </p:sp>
      <p:sp>
        <p:nvSpPr>
          <p:cNvPr id="7" name="Овал 6">
            <a:extLst>
              <a:ext uri="{FF2B5EF4-FFF2-40B4-BE49-F238E27FC236}">
                <a16:creationId xmlns:a16="http://schemas.microsoft.com/office/drawing/2014/main" id="{5DF5C0CA-C927-58A3-0008-84522E51159F}"/>
              </a:ext>
            </a:extLst>
          </p:cNvPr>
          <p:cNvSpPr/>
          <p:nvPr/>
        </p:nvSpPr>
        <p:spPr>
          <a:xfrm>
            <a:off x="772359" y="5103817"/>
            <a:ext cx="396000" cy="396000"/>
          </a:xfrm>
          <a:prstGeom prst="ellipse">
            <a:avLst/>
          </a:prstGeom>
          <a:solidFill>
            <a:srgbClr val="FED1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uk-UA" sz="1800" b="1" dirty="0">
                <a:solidFill>
                  <a:schemeClr val="tx1"/>
                </a:solidFill>
                <a:latin typeface="Segoe UI" panose="020B0502040204020203" pitchFamily="34" charset="0"/>
                <a:cs typeface="Segoe UI" panose="020B0502040204020203" pitchFamily="34" charset="0"/>
              </a:rPr>
              <a:t>!</a:t>
            </a:r>
          </a:p>
        </p:txBody>
      </p:sp>
      <p:pic>
        <p:nvPicPr>
          <p:cNvPr id="6" name="Рисунок 5" descr="Зображення, що містить текст, знімок екрана, меню, число&#10;&#10;Вміст, створений ШІ, може бути неправильним.">
            <a:extLst>
              <a:ext uri="{FF2B5EF4-FFF2-40B4-BE49-F238E27FC236}">
                <a16:creationId xmlns:a16="http://schemas.microsoft.com/office/drawing/2014/main" id="{E4BCFE07-8A67-B065-E84D-F1695DA4059C}"/>
              </a:ext>
            </a:extLst>
          </p:cNvPr>
          <p:cNvPicPr>
            <a:picLocks noChangeAspect="1"/>
          </p:cNvPicPr>
          <p:nvPr/>
        </p:nvPicPr>
        <p:blipFill>
          <a:blip r:embed="rId3"/>
          <a:stretch>
            <a:fillRect/>
          </a:stretch>
        </p:blipFill>
        <p:spPr>
          <a:xfrm>
            <a:off x="3919773" y="1226700"/>
            <a:ext cx="8985658" cy="5288817"/>
          </a:xfrm>
          <a:prstGeom prst="rect">
            <a:avLst/>
          </a:prstGeom>
        </p:spPr>
      </p:pic>
      <p:sp>
        <p:nvSpPr>
          <p:cNvPr id="10" name="Овал 9">
            <a:extLst>
              <a:ext uri="{FF2B5EF4-FFF2-40B4-BE49-F238E27FC236}">
                <a16:creationId xmlns:a16="http://schemas.microsoft.com/office/drawing/2014/main" id="{F3725526-E254-C6CD-9980-BD337A9317BB}"/>
              </a:ext>
            </a:extLst>
          </p:cNvPr>
          <p:cNvSpPr/>
          <p:nvPr/>
        </p:nvSpPr>
        <p:spPr>
          <a:xfrm>
            <a:off x="3824643" y="830700"/>
            <a:ext cx="396000" cy="396000"/>
          </a:xfrm>
          <a:prstGeom prst="ellipse">
            <a:avLst/>
          </a:prstGeom>
          <a:solidFill>
            <a:srgbClr val="FED1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uk-UA" sz="1800" b="1" dirty="0">
                <a:solidFill>
                  <a:schemeClr val="tx1"/>
                </a:solidFill>
                <a:latin typeface="Segoe UI" panose="020B0502040204020203" pitchFamily="34" charset="0"/>
                <a:cs typeface="Segoe UI" panose="020B0502040204020203" pitchFamily="34" charset="0"/>
              </a:rPr>
              <a:t>1</a:t>
            </a:r>
          </a:p>
        </p:txBody>
      </p:sp>
    </p:spTree>
    <p:extLst>
      <p:ext uri="{BB962C8B-B14F-4D97-AF65-F5344CB8AC3E}">
        <p14:creationId xmlns:p14="http://schemas.microsoft.com/office/powerpoint/2010/main" val="140842726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5D47F4-4B72-75E0-E82F-BE90A6FBD41A}"/>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5A3E6D36-2783-1CCF-D06C-A1D90E1BD162}"/>
              </a:ext>
            </a:extLst>
          </p:cNvPr>
          <p:cNvSpPr txBox="1"/>
          <p:nvPr/>
        </p:nvSpPr>
        <p:spPr>
          <a:xfrm>
            <a:off x="777475" y="141257"/>
            <a:ext cx="12662123" cy="461665"/>
          </a:xfrm>
          <a:prstGeom prst="rect">
            <a:avLst/>
          </a:prstGeom>
          <a:noFill/>
        </p:spPr>
        <p:txBody>
          <a:bodyPr wrap="square" rtlCol="0">
            <a:spAutoFit/>
          </a:bodyPr>
          <a:lstStyle/>
          <a:p>
            <a:r>
              <a:rPr lang="uk-UA" sz="2400" b="1" noProof="1">
                <a:latin typeface="Segoe UI" panose="020B0502040204020203" pitchFamily="34" charset="0"/>
                <a:ea typeface="Open Sans" panose="020B0606030504020204" pitchFamily="34" charset="0"/>
                <a:cs typeface="Segoe UI" panose="020B0502040204020203" pitchFamily="34" charset="0"/>
              </a:rPr>
              <a:t>ВИБІРКА РЕЄСТРУ КОРПОРАТИВНИХ ДОКУМЕНТІВ</a:t>
            </a:r>
          </a:p>
        </p:txBody>
      </p:sp>
      <p:sp>
        <p:nvSpPr>
          <p:cNvPr id="5" name="Rectangle 1">
            <a:extLst>
              <a:ext uri="{FF2B5EF4-FFF2-40B4-BE49-F238E27FC236}">
                <a16:creationId xmlns:a16="http://schemas.microsoft.com/office/drawing/2014/main" id="{852E82D9-9531-7B52-B73C-CA3DFC577B5C}"/>
              </a:ext>
            </a:extLst>
          </p:cNvPr>
          <p:cNvSpPr/>
          <p:nvPr/>
        </p:nvSpPr>
        <p:spPr>
          <a:xfrm>
            <a:off x="663175" y="4660751"/>
            <a:ext cx="4710946" cy="1973501"/>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00796" tIns="50398" rIns="100796" bIns="50398" rtlCol="0" anchor="ctr"/>
          <a:lstStyle/>
          <a:p>
            <a:pPr>
              <a:spcAft>
                <a:spcPts val="1800"/>
              </a:spcAft>
            </a:pPr>
            <a:endParaRPr lang="uk-UA" sz="1200" noProof="1">
              <a:solidFill>
                <a:srgbClr val="000000"/>
              </a:solidFill>
              <a:latin typeface="Segoe UI"/>
              <a:cs typeface="Segoe UI"/>
            </a:endParaRPr>
          </a:p>
        </p:txBody>
      </p:sp>
      <p:sp>
        <p:nvSpPr>
          <p:cNvPr id="7" name="TextBox 6">
            <a:extLst>
              <a:ext uri="{FF2B5EF4-FFF2-40B4-BE49-F238E27FC236}">
                <a16:creationId xmlns:a16="http://schemas.microsoft.com/office/drawing/2014/main" id="{2D47B9F6-42EE-B0FF-0251-4B8C23772C88}"/>
              </a:ext>
            </a:extLst>
          </p:cNvPr>
          <p:cNvSpPr txBox="1"/>
          <p:nvPr/>
        </p:nvSpPr>
        <p:spPr>
          <a:xfrm>
            <a:off x="1268225" y="4730830"/>
            <a:ext cx="3985310" cy="1200329"/>
          </a:xfrm>
          <a:prstGeom prst="rect">
            <a:avLst/>
          </a:prstGeom>
          <a:noFill/>
        </p:spPr>
        <p:txBody>
          <a:bodyPr wrap="square" rtlCol="0">
            <a:spAutoFit/>
          </a:bodyPr>
          <a:lstStyle/>
          <a:p>
            <a:pPr>
              <a:spcAft>
                <a:spcPts val="1800"/>
              </a:spcAft>
            </a:pPr>
            <a:r>
              <a:rPr lang="ru-RU" sz="1200" noProof="1">
                <a:solidFill>
                  <a:srgbClr val="000000"/>
                </a:solidFill>
                <a:latin typeface="Segoe UI"/>
                <a:cs typeface="Segoe UI"/>
              </a:rPr>
              <a:t>Після формування запиту для вивантаження корп. документів для цілей аудиту (перелік компаній або групи компаній та період, за який потрібно вивантажити документи) робот створює папки та вивантажує відповідні корп. документи по кожній компанії</a:t>
            </a:r>
          </a:p>
        </p:txBody>
      </p:sp>
      <p:sp>
        <p:nvSpPr>
          <p:cNvPr id="9" name="TextBox 8">
            <a:extLst>
              <a:ext uri="{FF2B5EF4-FFF2-40B4-BE49-F238E27FC236}">
                <a16:creationId xmlns:a16="http://schemas.microsoft.com/office/drawing/2014/main" id="{87060D72-E261-F3E7-CF0A-9652D9F19C4F}"/>
              </a:ext>
            </a:extLst>
          </p:cNvPr>
          <p:cNvSpPr txBox="1"/>
          <p:nvPr/>
        </p:nvSpPr>
        <p:spPr>
          <a:xfrm>
            <a:off x="1279993" y="6051873"/>
            <a:ext cx="3932087" cy="461665"/>
          </a:xfrm>
          <a:prstGeom prst="rect">
            <a:avLst/>
          </a:prstGeom>
          <a:noFill/>
        </p:spPr>
        <p:txBody>
          <a:bodyPr wrap="square" rtlCol="0">
            <a:spAutoFit/>
          </a:bodyPr>
          <a:lstStyle/>
          <a:p>
            <a:pPr>
              <a:spcAft>
                <a:spcPts val="1800"/>
              </a:spcAft>
            </a:pPr>
            <a:r>
              <a:rPr lang="ru-RU" sz="1200" noProof="1">
                <a:solidFill>
                  <a:srgbClr val="000000"/>
                </a:solidFill>
                <a:latin typeface="Segoe UI"/>
                <a:cs typeface="Segoe UI"/>
              </a:rPr>
              <a:t>Робот формує реєстр вивантажених та не знайдених документів</a:t>
            </a:r>
          </a:p>
        </p:txBody>
      </p:sp>
      <p:sp>
        <p:nvSpPr>
          <p:cNvPr id="12" name="Овал 11">
            <a:extLst>
              <a:ext uri="{FF2B5EF4-FFF2-40B4-BE49-F238E27FC236}">
                <a16:creationId xmlns:a16="http://schemas.microsoft.com/office/drawing/2014/main" id="{C1DF805B-9D88-337A-7E2E-0749A07FFD87}"/>
              </a:ext>
            </a:extLst>
          </p:cNvPr>
          <p:cNvSpPr/>
          <p:nvPr/>
        </p:nvSpPr>
        <p:spPr>
          <a:xfrm>
            <a:off x="751640" y="4762312"/>
            <a:ext cx="396000" cy="396000"/>
          </a:xfrm>
          <a:prstGeom prst="ellipse">
            <a:avLst/>
          </a:prstGeom>
          <a:solidFill>
            <a:srgbClr val="545454"/>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uk-UA" sz="1800" b="1" dirty="0">
                <a:latin typeface="Segoe UI" panose="020B0502040204020203" pitchFamily="34" charset="0"/>
                <a:cs typeface="Segoe UI" panose="020B0502040204020203" pitchFamily="34" charset="0"/>
              </a:rPr>
              <a:t>1</a:t>
            </a:r>
          </a:p>
        </p:txBody>
      </p:sp>
      <p:sp>
        <p:nvSpPr>
          <p:cNvPr id="13" name="Овал 12">
            <a:extLst>
              <a:ext uri="{FF2B5EF4-FFF2-40B4-BE49-F238E27FC236}">
                <a16:creationId xmlns:a16="http://schemas.microsoft.com/office/drawing/2014/main" id="{E2AD2AA0-B916-4143-0B07-2A321473D200}"/>
              </a:ext>
            </a:extLst>
          </p:cNvPr>
          <p:cNvSpPr/>
          <p:nvPr/>
        </p:nvSpPr>
        <p:spPr>
          <a:xfrm>
            <a:off x="751640" y="6051873"/>
            <a:ext cx="396000" cy="396000"/>
          </a:xfrm>
          <a:prstGeom prst="ellipse">
            <a:avLst/>
          </a:prstGeom>
          <a:solidFill>
            <a:srgbClr val="545454"/>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uk-UA" sz="1800" b="1" dirty="0">
                <a:latin typeface="Segoe UI" panose="020B0502040204020203" pitchFamily="34" charset="0"/>
                <a:cs typeface="Segoe UI" panose="020B0502040204020203" pitchFamily="34" charset="0"/>
              </a:rPr>
              <a:t>2</a:t>
            </a:r>
          </a:p>
        </p:txBody>
      </p:sp>
      <p:pic>
        <p:nvPicPr>
          <p:cNvPr id="4" name="Рисунок 3" descr="Зображення, що містить текст, знімок екрана, Шрифт, число&#10;&#10;Вміст, створений ШІ, може бути неправильним.">
            <a:extLst>
              <a:ext uri="{FF2B5EF4-FFF2-40B4-BE49-F238E27FC236}">
                <a16:creationId xmlns:a16="http://schemas.microsoft.com/office/drawing/2014/main" id="{7B8873FA-A2D8-FEF3-9FB1-27B3A79BF3B1}"/>
              </a:ext>
            </a:extLst>
          </p:cNvPr>
          <p:cNvPicPr>
            <a:picLocks noChangeAspect="1"/>
          </p:cNvPicPr>
          <p:nvPr/>
        </p:nvPicPr>
        <p:blipFill>
          <a:blip r:embed="rId3"/>
          <a:stretch>
            <a:fillRect/>
          </a:stretch>
        </p:blipFill>
        <p:spPr>
          <a:xfrm>
            <a:off x="1063940" y="1218115"/>
            <a:ext cx="7978831" cy="2796782"/>
          </a:xfrm>
          <a:prstGeom prst="rect">
            <a:avLst/>
          </a:prstGeom>
        </p:spPr>
      </p:pic>
      <p:pic>
        <p:nvPicPr>
          <p:cNvPr id="11" name="Рисунок 10" descr="Зображення, що містить текст, знімок екрана, Шрифт, число&#10;&#10;Вміст, створений ШІ, може бути неправильним.">
            <a:extLst>
              <a:ext uri="{FF2B5EF4-FFF2-40B4-BE49-F238E27FC236}">
                <a16:creationId xmlns:a16="http://schemas.microsoft.com/office/drawing/2014/main" id="{1F60C16E-2EEF-4BFA-9A30-D59C7E02F198}"/>
              </a:ext>
            </a:extLst>
          </p:cNvPr>
          <p:cNvPicPr>
            <a:picLocks noChangeAspect="1"/>
          </p:cNvPicPr>
          <p:nvPr/>
        </p:nvPicPr>
        <p:blipFill>
          <a:blip r:embed="rId4"/>
          <a:stretch>
            <a:fillRect/>
          </a:stretch>
        </p:blipFill>
        <p:spPr>
          <a:xfrm>
            <a:off x="4853676" y="1726618"/>
            <a:ext cx="8378190" cy="2903472"/>
          </a:xfrm>
          <a:prstGeom prst="rect">
            <a:avLst/>
          </a:prstGeom>
        </p:spPr>
      </p:pic>
      <p:pic>
        <p:nvPicPr>
          <p:cNvPr id="18" name="Рисунок 17" descr="Зображення, що містить текст, знімок екрана, число, Шрифт&#10;&#10;Вміст, створений ШІ, може бути неправильним.">
            <a:extLst>
              <a:ext uri="{FF2B5EF4-FFF2-40B4-BE49-F238E27FC236}">
                <a16:creationId xmlns:a16="http://schemas.microsoft.com/office/drawing/2014/main" id="{BA70EB11-8D03-C56F-26D6-3D353690E0E1}"/>
              </a:ext>
            </a:extLst>
          </p:cNvPr>
          <p:cNvPicPr>
            <a:picLocks noChangeAspect="1"/>
          </p:cNvPicPr>
          <p:nvPr/>
        </p:nvPicPr>
        <p:blipFill>
          <a:blip r:embed="rId5"/>
          <a:stretch>
            <a:fillRect/>
          </a:stretch>
        </p:blipFill>
        <p:spPr>
          <a:xfrm>
            <a:off x="5681034" y="3566160"/>
            <a:ext cx="7419443" cy="3238912"/>
          </a:xfrm>
          <a:prstGeom prst="rect">
            <a:avLst/>
          </a:prstGeom>
        </p:spPr>
      </p:pic>
      <p:sp>
        <p:nvSpPr>
          <p:cNvPr id="19" name="Овал 18">
            <a:extLst>
              <a:ext uri="{FF2B5EF4-FFF2-40B4-BE49-F238E27FC236}">
                <a16:creationId xmlns:a16="http://schemas.microsoft.com/office/drawing/2014/main" id="{9B861E0D-CDAA-22CC-73A0-4F0A569EC978}"/>
              </a:ext>
            </a:extLst>
          </p:cNvPr>
          <p:cNvSpPr/>
          <p:nvPr/>
        </p:nvSpPr>
        <p:spPr>
          <a:xfrm>
            <a:off x="872225" y="985076"/>
            <a:ext cx="396000" cy="396000"/>
          </a:xfrm>
          <a:prstGeom prst="ellipse">
            <a:avLst/>
          </a:prstGeom>
          <a:solidFill>
            <a:srgbClr val="FED1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uk-UA" sz="1800" b="1" dirty="0">
                <a:solidFill>
                  <a:schemeClr val="tx1"/>
                </a:solidFill>
                <a:latin typeface="Segoe UI" panose="020B0502040204020203" pitchFamily="34" charset="0"/>
                <a:cs typeface="Segoe UI" panose="020B0502040204020203" pitchFamily="34" charset="0"/>
              </a:rPr>
              <a:t>1</a:t>
            </a:r>
          </a:p>
        </p:txBody>
      </p:sp>
      <p:sp>
        <p:nvSpPr>
          <p:cNvPr id="20" name="Овал 19">
            <a:extLst>
              <a:ext uri="{FF2B5EF4-FFF2-40B4-BE49-F238E27FC236}">
                <a16:creationId xmlns:a16="http://schemas.microsoft.com/office/drawing/2014/main" id="{76922933-A247-3AE3-C9BE-766416659D00}"/>
              </a:ext>
            </a:extLst>
          </p:cNvPr>
          <p:cNvSpPr/>
          <p:nvPr/>
        </p:nvSpPr>
        <p:spPr>
          <a:xfrm>
            <a:off x="5374121" y="3486597"/>
            <a:ext cx="396000" cy="396000"/>
          </a:xfrm>
          <a:prstGeom prst="ellipse">
            <a:avLst/>
          </a:prstGeom>
          <a:solidFill>
            <a:srgbClr val="FED1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uk-UA" sz="1800" b="1" dirty="0">
                <a:solidFill>
                  <a:schemeClr val="tx1"/>
                </a:solidFill>
                <a:latin typeface="Segoe UI" panose="020B0502040204020203" pitchFamily="34" charset="0"/>
                <a:cs typeface="Segoe UI" panose="020B0502040204020203" pitchFamily="34" charset="0"/>
              </a:rPr>
              <a:t>2</a:t>
            </a:r>
          </a:p>
        </p:txBody>
      </p:sp>
    </p:spTree>
    <p:extLst>
      <p:ext uri="{BB962C8B-B14F-4D97-AF65-F5344CB8AC3E}">
        <p14:creationId xmlns:p14="http://schemas.microsoft.com/office/powerpoint/2010/main" val="268551257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02E389-7F56-D57A-F476-B117F9618D53}"/>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E130D147-FD20-524D-809A-C44573780E4E}"/>
              </a:ext>
            </a:extLst>
          </p:cNvPr>
          <p:cNvSpPr txBox="1"/>
          <p:nvPr/>
        </p:nvSpPr>
        <p:spPr>
          <a:xfrm>
            <a:off x="777475" y="141257"/>
            <a:ext cx="12662123" cy="461665"/>
          </a:xfrm>
          <a:prstGeom prst="rect">
            <a:avLst/>
          </a:prstGeom>
          <a:noFill/>
        </p:spPr>
        <p:txBody>
          <a:bodyPr wrap="square" rtlCol="0">
            <a:spAutoFit/>
          </a:bodyPr>
          <a:lstStyle/>
          <a:p>
            <a:r>
              <a:rPr lang="uk-UA" sz="2400" b="1" noProof="1">
                <a:latin typeface="Segoe UI" panose="020B0502040204020203" pitchFamily="34" charset="0"/>
                <a:ea typeface="Open Sans" panose="020B0606030504020204" pitchFamily="34" charset="0"/>
                <a:cs typeface="Segoe UI" panose="020B0502040204020203" pitchFamily="34" charset="0"/>
              </a:rPr>
              <a:t>АІ </a:t>
            </a:r>
            <a:r>
              <a:rPr lang="en-US" sz="2400" b="1" noProof="1">
                <a:latin typeface="Segoe UI" panose="020B0502040204020203" pitchFamily="34" charset="0"/>
                <a:ea typeface="Open Sans" panose="020B0606030504020204" pitchFamily="34" charset="0"/>
                <a:cs typeface="Segoe UI" panose="020B0502040204020203" pitchFamily="34" charset="0"/>
              </a:rPr>
              <a:t>1/2</a:t>
            </a:r>
            <a:endParaRPr lang="uk-UA" sz="2400" b="1" noProof="1">
              <a:latin typeface="Segoe UI" panose="020B0502040204020203" pitchFamily="34" charset="0"/>
              <a:ea typeface="Open Sans" panose="020B0606030504020204" pitchFamily="34" charset="0"/>
              <a:cs typeface="Segoe UI" panose="020B0502040204020203" pitchFamily="34" charset="0"/>
            </a:endParaRPr>
          </a:p>
        </p:txBody>
      </p:sp>
      <p:sp>
        <p:nvSpPr>
          <p:cNvPr id="4" name="Rectangle 1">
            <a:extLst>
              <a:ext uri="{FF2B5EF4-FFF2-40B4-BE49-F238E27FC236}">
                <a16:creationId xmlns:a16="http://schemas.microsoft.com/office/drawing/2014/main" id="{E947126D-560C-4078-9EA8-774BEA008F90}"/>
              </a:ext>
            </a:extLst>
          </p:cNvPr>
          <p:cNvSpPr/>
          <p:nvPr/>
        </p:nvSpPr>
        <p:spPr>
          <a:xfrm>
            <a:off x="1832454" y="1724235"/>
            <a:ext cx="4655432" cy="4045193"/>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00796" tIns="50398" rIns="100796" bIns="50398" rtlCol="0" anchor="ctr"/>
          <a:lstStyle/>
          <a:p>
            <a:pPr marL="188989" indent="-188989">
              <a:spcAft>
                <a:spcPts val="1200"/>
              </a:spcAft>
              <a:buFont typeface="Arial" panose="020B0604020202020204" pitchFamily="34" charset="0"/>
              <a:buChar char="•"/>
            </a:pPr>
            <a:r>
              <a:rPr lang="ru-RU" sz="1200" noProof="1">
                <a:solidFill>
                  <a:srgbClr val="000000"/>
                </a:solidFill>
                <a:latin typeface="Segoe UI"/>
                <a:cs typeface="Segoe UI"/>
              </a:rPr>
              <a:t>Проблематичність охоплення всіх типів питань</a:t>
            </a:r>
          </a:p>
          <a:p>
            <a:pPr marL="188989" indent="-188989">
              <a:spcAft>
                <a:spcPts val="1200"/>
              </a:spcAft>
              <a:buFont typeface="Arial" panose="020B0604020202020204" pitchFamily="34" charset="0"/>
              <a:buChar char="•"/>
            </a:pPr>
            <a:r>
              <a:rPr lang="ru-RU" sz="1200" noProof="1">
                <a:solidFill>
                  <a:srgbClr val="000000"/>
                </a:solidFill>
                <a:latin typeface="Segoe UI"/>
                <a:cs typeface="Segoe UI"/>
              </a:rPr>
              <a:t>Проблематичність оновлення шаблонів корп. документів</a:t>
            </a:r>
          </a:p>
          <a:p>
            <a:pPr marL="188989" indent="-188989">
              <a:spcAft>
                <a:spcPts val="1200"/>
              </a:spcAft>
              <a:buFont typeface="Arial" panose="020B0604020202020204" pitchFamily="34" charset="0"/>
              <a:buChar char="•"/>
            </a:pPr>
            <a:r>
              <a:rPr lang="ru-RU" sz="1200" noProof="1">
                <a:solidFill>
                  <a:srgbClr val="000000"/>
                </a:solidFill>
                <a:latin typeface="Segoe UI"/>
                <a:cs typeface="Segoe UI"/>
              </a:rPr>
              <a:t>Відсутність автоматичного перекладу тексту корп. документа при корегуванні його змісту</a:t>
            </a:r>
          </a:p>
          <a:p>
            <a:pPr marL="188989" indent="-188989">
              <a:spcAft>
                <a:spcPts val="1200"/>
              </a:spcAft>
              <a:buFont typeface="Arial" panose="020B0604020202020204" pitchFamily="34" charset="0"/>
              <a:buChar char="•"/>
            </a:pPr>
            <a:r>
              <a:rPr lang="ru-RU" sz="1200" noProof="1">
                <a:solidFill>
                  <a:srgbClr val="000000"/>
                </a:solidFill>
                <a:latin typeface="Segoe UI"/>
                <a:cs typeface="Segoe UI"/>
              </a:rPr>
              <a:t>Відсутність можливості автоматичної міграції даних із заявки ініціатора до проекту корп. документа</a:t>
            </a:r>
          </a:p>
          <a:p>
            <a:pPr marL="188989" indent="-188989">
              <a:spcAft>
                <a:spcPts val="1200"/>
              </a:spcAft>
              <a:buFont typeface="Arial" panose="020B0604020202020204" pitchFamily="34" charset="0"/>
              <a:buChar char="•"/>
            </a:pPr>
            <a:r>
              <a:rPr lang="ru-RU" sz="1200" noProof="1">
                <a:solidFill>
                  <a:srgbClr val="000000"/>
                </a:solidFill>
                <a:latin typeface="Segoe UI"/>
                <a:cs typeface="Segoe UI"/>
              </a:rPr>
              <a:t>Негнучкість сервісу (у т. ч. в частині форматування)</a:t>
            </a:r>
          </a:p>
          <a:p>
            <a:pPr marL="188989" indent="-188989">
              <a:spcAft>
                <a:spcPts val="1200"/>
              </a:spcAft>
              <a:buFont typeface="Arial" panose="020B0604020202020204" pitchFamily="34" charset="0"/>
              <a:buChar char="•"/>
            </a:pPr>
            <a:r>
              <a:rPr lang="ru-RU" sz="1200" noProof="1">
                <a:solidFill>
                  <a:srgbClr val="000000"/>
                </a:solidFill>
                <a:latin typeface="Segoe UI"/>
                <a:cs typeface="Segoe UI"/>
              </a:rPr>
              <a:t>Значні часові витрати на завантаження сервісу, вибір опцій, внесення даних із заявки ініціатора та формування проекту корп. документа</a:t>
            </a:r>
            <a:endParaRPr lang="uk-UA" sz="1200" noProof="1">
              <a:solidFill>
                <a:srgbClr val="000000"/>
              </a:solidFill>
              <a:latin typeface="Segoe UI"/>
              <a:cs typeface="Segoe UI"/>
            </a:endParaRPr>
          </a:p>
        </p:txBody>
      </p:sp>
      <p:sp>
        <p:nvSpPr>
          <p:cNvPr id="5" name="Rectangle 11">
            <a:extLst>
              <a:ext uri="{FF2B5EF4-FFF2-40B4-BE49-F238E27FC236}">
                <a16:creationId xmlns:a16="http://schemas.microsoft.com/office/drawing/2014/main" id="{30FF76B1-D95B-E6F0-0CFE-31B61907F40E}"/>
              </a:ext>
            </a:extLst>
          </p:cNvPr>
          <p:cNvSpPr/>
          <p:nvPr/>
        </p:nvSpPr>
        <p:spPr>
          <a:xfrm>
            <a:off x="8045475" y="1724235"/>
            <a:ext cx="5202438" cy="705881"/>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00796" tIns="50398" rIns="100796" bIns="50398" rtlCol="0" anchor="ctr"/>
          <a:lstStyle/>
          <a:p>
            <a:pPr>
              <a:spcAft>
                <a:spcPts val="661"/>
              </a:spcAft>
            </a:pPr>
            <a:r>
              <a:rPr lang="uk-UA" sz="1213" noProof="1">
                <a:solidFill>
                  <a:srgbClr val="000000"/>
                </a:solidFill>
                <a:latin typeface="Segoe UI"/>
                <a:cs typeface="Segoe UI"/>
              </a:rPr>
              <a:t>Пілот драфтингу корп. документів за допомогою АІ</a:t>
            </a:r>
          </a:p>
        </p:txBody>
      </p:sp>
      <p:sp>
        <p:nvSpPr>
          <p:cNvPr id="6" name="Rectangle 8">
            <a:extLst>
              <a:ext uri="{FF2B5EF4-FFF2-40B4-BE49-F238E27FC236}">
                <a16:creationId xmlns:a16="http://schemas.microsoft.com/office/drawing/2014/main" id="{CE41CAAF-18AE-723D-AE4A-37AFCE3713F5}"/>
              </a:ext>
            </a:extLst>
          </p:cNvPr>
          <p:cNvSpPr/>
          <p:nvPr/>
        </p:nvSpPr>
        <p:spPr>
          <a:xfrm>
            <a:off x="6762201" y="1724235"/>
            <a:ext cx="1156583" cy="705881"/>
          </a:xfrm>
          <a:prstGeom prst="rect">
            <a:avLst/>
          </a:prstGeom>
          <a:solidFill>
            <a:srgbClr val="8F8F8F"/>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uk-UA" sz="1400" b="1" noProof="1">
              <a:solidFill>
                <a:schemeClr val="bg1"/>
              </a:solidFill>
              <a:latin typeface="Segoe UI" panose="020B0502040204020203" pitchFamily="34" charset="0"/>
              <a:cs typeface="Segoe UI" panose="020B0502040204020203" pitchFamily="34" charset="0"/>
            </a:endParaRPr>
          </a:p>
          <a:p>
            <a:pPr algn="ctr"/>
            <a:r>
              <a:rPr lang="uk-UA" sz="1400" b="1" noProof="1">
                <a:solidFill>
                  <a:schemeClr val="bg1"/>
                </a:solidFill>
                <a:latin typeface="Segoe UI" panose="020B0502040204020203" pitchFamily="34" charset="0"/>
                <a:cs typeface="Segoe UI" panose="020B0502040204020203" pitchFamily="34" charset="0"/>
              </a:rPr>
              <a:t>Рішення</a:t>
            </a:r>
          </a:p>
        </p:txBody>
      </p:sp>
      <p:sp>
        <p:nvSpPr>
          <p:cNvPr id="7" name="Rectangle 12">
            <a:extLst>
              <a:ext uri="{FF2B5EF4-FFF2-40B4-BE49-F238E27FC236}">
                <a16:creationId xmlns:a16="http://schemas.microsoft.com/office/drawing/2014/main" id="{D5051E79-8AEC-AE23-6C13-04D55F22F50A}"/>
              </a:ext>
            </a:extLst>
          </p:cNvPr>
          <p:cNvSpPr/>
          <p:nvPr/>
        </p:nvSpPr>
        <p:spPr>
          <a:xfrm>
            <a:off x="8045474" y="2642703"/>
            <a:ext cx="5202439" cy="3166597"/>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00796" tIns="50398" rIns="100796" bIns="50398" rtlCol="0" anchor="ctr"/>
          <a:lstStyle/>
          <a:p>
            <a:pPr>
              <a:spcAft>
                <a:spcPts val="1200"/>
              </a:spcAft>
            </a:pPr>
            <a:r>
              <a:rPr lang="uk-UA" sz="1200" noProof="1">
                <a:solidFill>
                  <a:srgbClr val="000000"/>
                </a:solidFill>
                <a:latin typeface="Segoe UI"/>
                <a:cs typeface="Segoe UI"/>
              </a:rPr>
              <a:t>Формування проекту корп. документа на основі заявки та раніше оформленого рішення по аналогіному питанню, що включає:</a:t>
            </a:r>
          </a:p>
          <a:p>
            <a:pPr marL="188989" indent="-188989">
              <a:spcAft>
                <a:spcPts val="1200"/>
              </a:spcAft>
              <a:buFont typeface="Arial,Sans-Serif" panose="05000000000000000000" pitchFamily="2" charset="2"/>
              <a:buChar char="•"/>
            </a:pPr>
            <a:r>
              <a:rPr lang="uk-UA" sz="1200" noProof="1">
                <a:solidFill>
                  <a:srgbClr val="000000"/>
                </a:solidFill>
                <a:latin typeface="Segoe UI"/>
                <a:cs typeface="Segoe UI"/>
              </a:rPr>
              <a:t>Вибір відповідного шаблону корп. документа та його наповненння змістовою частиною, реквізитами, підписним блоком</a:t>
            </a:r>
          </a:p>
          <a:p>
            <a:pPr marL="188989" indent="-188989">
              <a:spcAft>
                <a:spcPts val="1200"/>
              </a:spcAft>
              <a:buFont typeface="Arial,Sans-Serif" panose="05000000000000000000" pitchFamily="2" charset="2"/>
              <a:buChar char="•"/>
            </a:pPr>
            <a:r>
              <a:rPr lang="uk-UA" sz="1200" noProof="1">
                <a:solidFill>
                  <a:srgbClr val="000000"/>
                </a:solidFill>
                <a:latin typeface="Segoe UI"/>
                <a:cs typeface="Segoe UI"/>
              </a:rPr>
              <a:t>Автоматичне перенесення даних із заявки до проекту корп. документа</a:t>
            </a:r>
          </a:p>
          <a:p>
            <a:pPr marL="188989" indent="-188989">
              <a:spcAft>
                <a:spcPts val="1200"/>
              </a:spcAft>
              <a:buFont typeface="Arial,Sans-Serif" panose="05000000000000000000" pitchFamily="2" charset="2"/>
              <a:buChar char="•"/>
            </a:pPr>
            <a:r>
              <a:rPr lang="uk-UA" sz="1200" noProof="1">
                <a:solidFill>
                  <a:srgbClr val="000000"/>
                </a:solidFill>
                <a:latin typeface="Segoe UI"/>
                <a:cs typeface="Segoe UI"/>
              </a:rPr>
              <a:t>Автоматичний перекладу тексту для 2-мовних документів</a:t>
            </a:r>
          </a:p>
        </p:txBody>
      </p:sp>
      <p:sp>
        <p:nvSpPr>
          <p:cNvPr id="8" name="Rectangle 16">
            <a:extLst>
              <a:ext uri="{FF2B5EF4-FFF2-40B4-BE49-F238E27FC236}">
                <a16:creationId xmlns:a16="http://schemas.microsoft.com/office/drawing/2014/main" id="{D98AF830-68D2-A6DB-8742-8068D6856A3F}"/>
              </a:ext>
            </a:extLst>
          </p:cNvPr>
          <p:cNvSpPr/>
          <p:nvPr/>
        </p:nvSpPr>
        <p:spPr>
          <a:xfrm>
            <a:off x="485962" y="1724234"/>
            <a:ext cx="1219801" cy="4045193"/>
          </a:xfrm>
          <a:prstGeom prst="rect">
            <a:avLst/>
          </a:prstGeom>
          <a:solidFill>
            <a:schemeClr val="tx1">
              <a:lumMod val="50000"/>
              <a:lumOff val="5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uk-UA" sz="1400" b="1" noProof="1">
                <a:solidFill>
                  <a:schemeClr val="bg1"/>
                </a:solidFill>
                <a:latin typeface="Segoe UI" panose="020B0502040204020203" pitchFamily="34" charset="0"/>
                <a:cs typeface="Segoe UI" panose="020B0502040204020203" pitchFamily="34" charset="0"/>
              </a:rPr>
              <a:t>Проблематика поточного сервісу</a:t>
            </a:r>
          </a:p>
        </p:txBody>
      </p:sp>
      <p:sp>
        <p:nvSpPr>
          <p:cNvPr id="9" name="Rectangle 8">
            <a:extLst>
              <a:ext uri="{FF2B5EF4-FFF2-40B4-BE49-F238E27FC236}">
                <a16:creationId xmlns:a16="http://schemas.microsoft.com/office/drawing/2014/main" id="{E8FE0C5C-7092-4E1C-A6F7-51A9F626177E}"/>
              </a:ext>
            </a:extLst>
          </p:cNvPr>
          <p:cNvSpPr/>
          <p:nvPr/>
        </p:nvSpPr>
        <p:spPr>
          <a:xfrm>
            <a:off x="6762201" y="2602829"/>
            <a:ext cx="1156583" cy="3166597"/>
          </a:xfrm>
          <a:prstGeom prst="rect">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uk-UA" sz="1400" b="1" noProof="1">
                <a:solidFill>
                  <a:schemeClr val="bg2"/>
                </a:solidFill>
                <a:latin typeface="Segoe UI" panose="020B0502040204020203" pitchFamily="34" charset="0"/>
                <a:cs typeface="Segoe UI" panose="020B0502040204020203" pitchFamily="34" charset="0"/>
              </a:rPr>
              <a:t>Цілі</a:t>
            </a:r>
          </a:p>
        </p:txBody>
      </p:sp>
    </p:spTree>
    <p:extLst>
      <p:ext uri="{BB962C8B-B14F-4D97-AF65-F5344CB8AC3E}">
        <p14:creationId xmlns:p14="http://schemas.microsoft.com/office/powerpoint/2010/main" val="339241527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844278-8E8C-8F51-D1A0-EDD1FFB722B8}"/>
            </a:ext>
          </a:extLst>
        </p:cNvPr>
        <p:cNvGrpSpPr/>
        <p:nvPr/>
      </p:nvGrpSpPr>
      <p:grpSpPr>
        <a:xfrm>
          <a:off x="0" y="0"/>
          <a:ext cx="0" cy="0"/>
          <a:chOff x="0" y="0"/>
          <a:chExt cx="0" cy="0"/>
        </a:xfrm>
      </p:grpSpPr>
      <p:grpSp>
        <p:nvGrpSpPr>
          <p:cNvPr id="12" name="Групувати 11">
            <a:extLst>
              <a:ext uri="{FF2B5EF4-FFF2-40B4-BE49-F238E27FC236}">
                <a16:creationId xmlns:a16="http://schemas.microsoft.com/office/drawing/2014/main" id="{F4DC9312-9A2F-EF26-4720-FD4C0F2AFED4}"/>
              </a:ext>
            </a:extLst>
          </p:cNvPr>
          <p:cNvGrpSpPr/>
          <p:nvPr/>
        </p:nvGrpSpPr>
        <p:grpSpPr>
          <a:xfrm>
            <a:off x="468161" y="1836897"/>
            <a:ext cx="12588081" cy="1785014"/>
            <a:chOff x="468162" y="5292000"/>
            <a:chExt cx="8910727" cy="835725"/>
          </a:xfrm>
        </p:grpSpPr>
        <p:sp>
          <p:nvSpPr>
            <p:cNvPr id="15" name="Freeform 94">
              <a:extLst>
                <a:ext uri="{FF2B5EF4-FFF2-40B4-BE49-F238E27FC236}">
                  <a16:creationId xmlns:a16="http://schemas.microsoft.com/office/drawing/2014/main" id="{737F0C1E-1C21-8A12-ABD3-645ED96F30B2}"/>
                </a:ext>
              </a:extLst>
            </p:cNvPr>
            <p:cNvSpPr/>
            <p:nvPr>
              <p:custDataLst>
                <p:tags r:id="rId1"/>
              </p:custDataLst>
            </p:nvPr>
          </p:nvSpPr>
          <p:spPr bwMode="auto">
            <a:xfrm>
              <a:off x="468162" y="5292000"/>
              <a:ext cx="1897421" cy="835725"/>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9399 w 1828800"/>
                <a:gd name="connsiteY1" fmla="*/ 1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1 h 914402"/>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7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7 w 1828800"/>
                <a:gd name="connsiteY1" fmla="*/ 0 h 914402"/>
                <a:gd name="connsiteX2" fmla="*/ 1828800 w 1828800"/>
                <a:gd name="connsiteY2" fmla="*/ 457200 h 914402"/>
                <a:gd name="connsiteX3" fmla="*/ 1710267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7 w 1828800"/>
                <a:gd name="connsiteY1" fmla="*/ 0 h 914402"/>
                <a:gd name="connsiteX2" fmla="*/ 1828800 w 1828800"/>
                <a:gd name="connsiteY2" fmla="*/ 457200 h 914402"/>
                <a:gd name="connsiteX3" fmla="*/ 1710267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710267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2">
                  <a:moveTo>
                    <a:pt x="0" y="0"/>
                  </a:moveTo>
                  <a:lnTo>
                    <a:pt x="1676501" y="0"/>
                  </a:lnTo>
                  <a:lnTo>
                    <a:pt x="1828800" y="457200"/>
                  </a:lnTo>
                  <a:lnTo>
                    <a:pt x="1676501" y="914402"/>
                  </a:lnTo>
                  <a:lnTo>
                    <a:pt x="0" y="914400"/>
                  </a:lnTo>
                  <a:lnTo>
                    <a:pt x="152299" y="457202"/>
                  </a:lnTo>
                  <a:close/>
                </a:path>
              </a:pathLst>
            </a:custGeom>
            <a:solidFill>
              <a:srgbClr val="FFDD00"/>
            </a:solidFill>
            <a:ln w="19050">
              <a:solidFill>
                <a:srgbClr val="FFFFFF"/>
              </a:solidFill>
              <a:round/>
              <a:headEnd/>
              <a:tailEnd/>
            </a:ln>
          </p:spPr>
          <p:txBody>
            <a:bodyPr wrap="none" lIns="121917" tIns="60958" rIns="121917" bIns="60958" rtlCol="0" anchor="ctr"/>
            <a:lstStyle/>
            <a:p>
              <a:pPr marL="182563" defTabSz="742302" eaLnBrk="0" hangingPunct="0"/>
              <a:r>
                <a:rPr lang="ru-RU" sz="1100" b="1" noProof="1">
                  <a:latin typeface="Calibri" panose="020F0502020204030204"/>
                </a:rPr>
                <a:t>1. Завантаження до системи </a:t>
              </a:r>
            </a:p>
            <a:p>
              <a:pPr marL="182563" defTabSz="742302" eaLnBrk="0" hangingPunct="0"/>
              <a:r>
                <a:rPr lang="ru-RU" sz="1100" b="1" noProof="1">
                  <a:latin typeface="Calibri" panose="020F0502020204030204"/>
                </a:rPr>
                <a:t>шаблонів відповідних корп. </a:t>
              </a:r>
            </a:p>
            <a:p>
              <a:pPr marL="182563" defTabSz="742302" eaLnBrk="0" hangingPunct="0"/>
              <a:r>
                <a:rPr lang="ru-RU" sz="1100" b="1" noProof="1">
                  <a:latin typeface="Calibri" panose="020F0502020204030204"/>
                </a:rPr>
                <a:t>документів (РУ/РА, протокол </a:t>
              </a:r>
            </a:p>
            <a:p>
              <a:pPr marL="182563" defTabSz="742302" eaLnBrk="0" hangingPunct="0"/>
              <a:r>
                <a:rPr lang="ru-RU" sz="1100" b="1" noProof="1">
                  <a:latin typeface="Calibri" panose="020F0502020204030204"/>
                </a:rPr>
                <a:t>ЗЗУ, протокол НР/РД…)</a:t>
              </a:r>
              <a:endParaRPr lang="uk-UA" sz="1100" b="1" noProof="1">
                <a:latin typeface="Calibri" panose="020F0502020204030204"/>
              </a:endParaRPr>
            </a:p>
          </p:txBody>
        </p:sp>
        <p:sp>
          <p:nvSpPr>
            <p:cNvPr id="16" name="Freeform 94">
              <a:extLst>
                <a:ext uri="{FF2B5EF4-FFF2-40B4-BE49-F238E27FC236}">
                  <a16:creationId xmlns:a16="http://schemas.microsoft.com/office/drawing/2014/main" id="{13794CA6-0888-9B71-E345-F16F1A6BA9D9}"/>
                </a:ext>
              </a:extLst>
            </p:cNvPr>
            <p:cNvSpPr/>
            <p:nvPr>
              <p:custDataLst>
                <p:tags r:id="rId2"/>
              </p:custDataLst>
            </p:nvPr>
          </p:nvSpPr>
          <p:spPr bwMode="auto">
            <a:xfrm>
              <a:off x="2221489" y="5292000"/>
              <a:ext cx="1897421" cy="835725"/>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9399 w 1828800"/>
                <a:gd name="connsiteY1" fmla="*/ 1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1 h 914402"/>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7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7 w 1828800"/>
                <a:gd name="connsiteY1" fmla="*/ 0 h 914402"/>
                <a:gd name="connsiteX2" fmla="*/ 1828800 w 1828800"/>
                <a:gd name="connsiteY2" fmla="*/ 457200 h 914402"/>
                <a:gd name="connsiteX3" fmla="*/ 1710267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7 w 1828800"/>
                <a:gd name="connsiteY1" fmla="*/ 0 h 914402"/>
                <a:gd name="connsiteX2" fmla="*/ 1828800 w 1828800"/>
                <a:gd name="connsiteY2" fmla="*/ 457200 h 914402"/>
                <a:gd name="connsiteX3" fmla="*/ 1710267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710267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2">
                  <a:moveTo>
                    <a:pt x="0" y="0"/>
                  </a:moveTo>
                  <a:lnTo>
                    <a:pt x="1676501" y="0"/>
                  </a:lnTo>
                  <a:lnTo>
                    <a:pt x="1828800" y="457200"/>
                  </a:lnTo>
                  <a:lnTo>
                    <a:pt x="1676501" y="914402"/>
                  </a:lnTo>
                  <a:lnTo>
                    <a:pt x="0" y="914400"/>
                  </a:lnTo>
                  <a:lnTo>
                    <a:pt x="152299" y="457202"/>
                  </a:lnTo>
                  <a:close/>
                </a:path>
              </a:pathLst>
            </a:custGeom>
            <a:solidFill>
              <a:srgbClr val="FFDD00"/>
            </a:solidFill>
            <a:ln w="19050">
              <a:solidFill>
                <a:srgbClr val="FFFFFF"/>
              </a:solidFill>
              <a:round/>
              <a:headEnd/>
              <a:tailEnd/>
            </a:ln>
          </p:spPr>
          <p:txBody>
            <a:bodyPr wrap="none" lIns="121917" tIns="60958" rIns="121917" bIns="60958" rtlCol="0" anchor="ctr"/>
            <a:lstStyle/>
            <a:p>
              <a:pPr marL="182563" defTabSz="742302" eaLnBrk="0" hangingPunct="0"/>
              <a:r>
                <a:rPr lang="uk-UA" sz="1100" b="1" noProof="1">
                  <a:latin typeface="Calibri" panose="020F0502020204030204"/>
                </a:rPr>
                <a:t>2. Наповнення системи </a:t>
              </a:r>
            </a:p>
            <a:p>
              <a:pPr marL="182563" defTabSz="742302" eaLnBrk="0" hangingPunct="0"/>
              <a:r>
                <a:rPr lang="uk-UA" sz="1100" b="1" noProof="1">
                  <a:latin typeface="Calibri" panose="020F0502020204030204"/>
                </a:rPr>
                <a:t>інформацією про </a:t>
              </a:r>
              <a:r>
                <a:rPr lang="ru-RU" sz="1100" b="1" noProof="1">
                  <a:latin typeface="Calibri" panose="020F0502020204030204"/>
                </a:rPr>
                <a:t>реквізити </a:t>
              </a:r>
            </a:p>
            <a:p>
              <a:pPr marL="182563" defTabSz="742302" eaLnBrk="0" hangingPunct="0"/>
              <a:r>
                <a:rPr lang="ru-RU" sz="1100" b="1" noProof="1">
                  <a:latin typeface="Calibri" panose="020F0502020204030204"/>
                </a:rPr>
                <a:t>компаній</a:t>
              </a:r>
              <a:endParaRPr lang="uk-UA" sz="1100" b="1" noProof="1">
                <a:latin typeface="Calibri" panose="020F0502020204030204"/>
              </a:endParaRPr>
            </a:p>
          </p:txBody>
        </p:sp>
        <p:sp>
          <p:nvSpPr>
            <p:cNvPr id="17" name="Freeform 94">
              <a:extLst>
                <a:ext uri="{FF2B5EF4-FFF2-40B4-BE49-F238E27FC236}">
                  <a16:creationId xmlns:a16="http://schemas.microsoft.com/office/drawing/2014/main" id="{6CA41A7E-8507-8ACD-9557-E6608E2028D9}"/>
                </a:ext>
              </a:extLst>
            </p:cNvPr>
            <p:cNvSpPr/>
            <p:nvPr>
              <p:custDataLst>
                <p:tags r:id="rId3"/>
              </p:custDataLst>
            </p:nvPr>
          </p:nvSpPr>
          <p:spPr bwMode="auto">
            <a:xfrm>
              <a:off x="3974815" y="5292000"/>
              <a:ext cx="1897421" cy="835725"/>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9399 w 1828800"/>
                <a:gd name="connsiteY1" fmla="*/ 1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1 h 914402"/>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7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7 w 1828800"/>
                <a:gd name="connsiteY1" fmla="*/ 0 h 914402"/>
                <a:gd name="connsiteX2" fmla="*/ 1828800 w 1828800"/>
                <a:gd name="connsiteY2" fmla="*/ 457200 h 914402"/>
                <a:gd name="connsiteX3" fmla="*/ 1710267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7 w 1828800"/>
                <a:gd name="connsiteY1" fmla="*/ 0 h 914402"/>
                <a:gd name="connsiteX2" fmla="*/ 1828800 w 1828800"/>
                <a:gd name="connsiteY2" fmla="*/ 457200 h 914402"/>
                <a:gd name="connsiteX3" fmla="*/ 1710267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710267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2">
                  <a:moveTo>
                    <a:pt x="0" y="0"/>
                  </a:moveTo>
                  <a:lnTo>
                    <a:pt x="1676501" y="0"/>
                  </a:lnTo>
                  <a:lnTo>
                    <a:pt x="1828800" y="457200"/>
                  </a:lnTo>
                  <a:lnTo>
                    <a:pt x="1676501" y="914402"/>
                  </a:lnTo>
                  <a:lnTo>
                    <a:pt x="0" y="914400"/>
                  </a:lnTo>
                  <a:lnTo>
                    <a:pt x="152299" y="457202"/>
                  </a:lnTo>
                  <a:close/>
                </a:path>
              </a:pathLst>
            </a:custGeom>
            <a:solidFill>
              <a:srgbClr val="FFDD00"/>
            </a:solidFill>
            <a:ln w="19050">
              <a:solidFill>
                <a:srgbClr val="FFFFFF"/>
              </a:solidFill>
              <a:round/>
              <a:headEnd/>
              <a:tailEnd/>
            </a:ln>
          </p:spPr>
          <p:txBody>
            <a:bodyPr wrap="none" lIns="121917" tIns="60958" rIns="121917" bIns="60958" rtlCol="0" anchor="ctr"/>
            <a:lstStyle/>
            <a:p>
              <a:pPr marL="182563" defTabSz="742302" eaLnBrk="0" hangingPunct="0"/>
              <a:r>
                <a:rPr lang="uk-UA" sz="1100" b="1" noProof="1">
                  <a:latin typeface="Calibri" panose="020F0502020204030204"/>
                </a:rPr>
                <a:t>3. Аналіз АІ змісту заявки </a:t>
              </a:r>
            </a:p>
            <a:p>
              <a:pPr marL="182563" defTabSz="742302" eaLnBrk="0" hangingPunct="0"/>
              <a:r>
                <a:rPr lang="uk-UA" sz="1100" b="1" noProof="1">
                  <a:latin typeface="Calibri" panose="020F0502020204030204"/>
                </a:rPr>
                <a:t>ініціатора та визначення</a:t>
              </a:r>
            </a:p>
            <a:p>
              <a:pPr marL="182563" defTabSz="742302" eaLnBrk="0" hangingPunct="0"/>
              <a:r>
                <a:rPr lang="uk-UA" sz="1100" b="1" noProof="1">
                  <a:latin typeface="Calibri" panose="020F0502020204030204"/>
                </a:rPr>
                <a:t>предмету запиту</a:t>
              </a:r>
            </a:p>
          </p:txBody>
        </p:sp>
        <p:sp>
          <p:nvSpPr>
            <p:cNvPr id="18" name="Freeform 94">
              <a:extLst>
                <a:ext uri="{FF2B5EF4-FFF2-40B4-BE49-F238E27FC236}">
                  <a16:creationId xmlns:a16="http://schemas.microsoft.com/office/drawing/2014/main" id="{E6DF5CD2-F43A-4CA5-3D58-D04C4C44DEF3}"/>
                </a:ext>
              </a:extLst>
            </p:cNvPr>
            <p:cNvSpPr/>
            <p:nvPr>
              <p:custDataLst>
                <p:tags r:id="rId4"/>
              </p:custDataLst>
            </p:nvPr>
          </p:nvSpPr>
          <p:spPr bwMode="auto">
            <a:xfrm>
              <a:off x="5728142" y="5292000"/>
              <a:ext cx="1897421" cy="835725"/>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9399 w 1828800"/>
                <a:gd name="connsiteY1" fmla="*/ 1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1 h 914402"/>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7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7 w 1828800"/>
                <a:gd name="connsiteY1" fmla="*/ 0 h 914402"/>
                <a:gd name="connsiteX2" fmla="*/ 1828800 w 1828800"/>
                <a:gd name="connsiteY2" fmla="*/ 457200 h 914402"/>
                <a:gd name="connsiteX3" fmla="*/ 1710267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7 w 1828800"/>
                <a:gd name="connsiteY1" fmla="*/ 0 h 914402"/>
                <a:gd name="connsiteX2" fmla="*/ 1828800 w 1828800"/>
                <a:gd name="connsiteY2" fmla="*/ 457200 h 914402"/>
                <a:gd name="connsiteX3" fmla="*/ 1710267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710267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2">
                  <a:moveTo>
                    <a:pt x="0" y="0"/>
                  </a:moveTo>
                  <a:lnTo>
                    <a:pt x="1676501" y="0"/>
                  </a:lnTo>
                  <a:lnTo>
                    <a:pt x="1828800" y="457200"/>
                  </a:lnTo>
                  <a:lnTo>
                    <a:pt x="1676501" y="914402"/>
                  </a:lnTo>
                  <a:lnTo>
                    <a:pt x="0" y="914400"/>
                  </a:lnTo>
                  <a:lnTo>
                    <a:pt x="152299" y="457202"/>
                  </a:lnTo>
                  <a:close/>
                </a:path>
              </a:pathLst>
            </a:custGeom>
            <a:solidFill>
              <a:srgbClr val="FFDD00"/>
            </a:solidFill>
            <a:ln w="19050">
              <a:solidFill>
                <a:srgbClr val="FFFFFF"/>
              </a:solidFill>
              <a:round/>
              <a:headEnd/>
              <a:tailEnd/>
            </a:ln>
          </p:spPr>
          <p:txBody>
            <a:bodyPr wrap="none" lIns="121917" tIns="60958" rIns="121917" bIns="60958" rtlCol="0" anchor="ctr"/>
            <a:lstStyle/>
            <a:p>
              <a:pPr marL="182563" defTabSz="742302" eaLnBrk="0" hangingPunct="0"/>
              <a:r>
                <a:rPr lang="uk-UA" sz="1100" b="1" noProof="1">
                  <a:latin typeface="Calibri" panose="020F0502020204030204"/>
                </a:rPr>
                <a:t>4. </a:t>
              </a:r>
              <a:r>
                <a:rPr lang="ru-RU" sz="1100" b="1" noProof="1">
                  <a:latin typeface="Calibri" panose="020F0502020204030204"/>
                </a:rPr>
                <a:t>Пошук АІ оформленого раніше</a:t>
              </a:r>
            </a:p>
            <a:p>
              <a:pPr marL="182563" defTabSz="742302" eaLnBrk="0" hangingPunct="0"/>
              <a:r>
                <a:rPr lang="ru-RU" sz="1100" b="1" noProof="1">
                  <a:latin typeface="Calibri" panose="020F0502020204030204"/>
                </a:rPr>
                <a:t>корп. документа з аналогічного</a:t>
              </a:r>
            </a:p>
            <a:p>
              <a:pPr marL="182563" defTabSz="742302" eaLnBrk="0" hangingPunct="0"/>
              <a:r>
                <a:rPr lang="ru-RU" sz="1100" b="1" noProof="1">
                  <a:latin typeface="Calibri" panose="020F0502020204030204"/>
                </a:rPr>
                <a:t>питання серед відповідних типів </a:t>
              </a:r>
            </a:p>
            <a:p>
              <a:pPr marL="182563" defTabSz="742302" eaLnBrk="0" hangingPunct="0"/>
              <a:r>
                <a:rPr lang="ru-RU" sz="1100" b="1" noProof="1">
                  <a:latin typeface="Calibri" panose="020F0502020204030204"/>
                </a:rPr>
                <a:t>документів (РУ/РА, ЗЗУ, </a:t>
              </a:r>
            </a:p>
            <a:p>
              <a:pPr marL="182563" defTabSz="742302" eaLnBrk="0" hangingPunct="0"/>
              <a:r>
                <a:rPr lang="ru-RU" sz="1100" b="1" noProof="1">
                  <a:latin typeface="Calibri" panose="020F0502020204030204"/>
                </a:rPr>
                <a:t>протокол НР/РД…), надавши</a:t>
              </a:r>
            </a:p>
            <a:p>
              <a:pPr marL="182563" defTabSz="742302" eaLnBrk="0" hangingPunct="0"/>
              <a:r>
                <a:rPr lang="ru-RU" sz="1100" b="1" noProof="1">
                  <a:latin typeface="Calibri" panose="020F0502020204030204"/>
                </a:rPr>
                <a:t>посилання на такі документи</a:t>
              </a:r>
              <a:endParaRPr lang="uk-UA" sz="1100" b="1" noProof="1">
                <a:latin typeface="Calibri" panose="020F0502020204030204"/>
              </a:endParaRPr>
            </a:p>
          </p:txBody>
        </p:sp>
        <p:sp>
          <p:nvSpPr>
            <p:cNvPr id="19" name="Freeform 94">
              <a:extLst>
                <a:ext uri="{FF2B5EF4-FFF2-40B4-BE49-F238E27FC236}">
                  <a16:creationId xmlns:a16="http://schemas.microsoft.com/office/drawing/2014/main" id="{FEAE974C-75CA-842C-C5B3-2F7D4515DFCB}"/>
                </a:ext>
              </a:extLst>
            </p:cNvPr>
            <p:cNvSpPr/>
            <p:nvPr>
              <p:custDataLst>
                <p:tags r:id="rId5"/>
              </p:custDataLst>
            </p:nvPr>
          </p:nvSpPr>
          <p:spPr bwMode="auto">
            <a:xfrm>
              <a:off x="7481468" y="5292000"/>
              <a:ext cx="1897421" cy="835725"/>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9399 w 1828800"/>
                <a:gd name="connsiteY1" fmla="*/ 1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1 h 914402"/>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7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7 w 1828800"/>
                <a:gd name="connsiteY1" fmla="*/ 0 h 914402"/>
                <a:gd name="connsiteX2" fmla="*/ 1828800 w 1828800"/>
                <a:gd name="connsiteY2" fmla="*/ 457200 h 914402"/>
                <a:gd name="connsiteX3" fmla="*/ 1710267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7 w 1828800"/>
                <a:gd name="connsiteY1" fmla="*/ 0 h 914402"/>
                <a:gd name="connsiteX2" fmla="*/ 1828800 w 1828800"/>
                <a:gd name="connsiteY2" fmla="*/ 457200 h 914402"/>
                <a:gd name="connsiteX3" fmla="*/ 1710267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710267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2">
                  <a:moveTo>
                    <a:pt x="0" y="0"/>
                  </a:moveTo>
                  <a:lnTo>
                    <a:pt x="1676501" y="0"/>
                  </a:lnTo>
                  <a:lnTo>
                    <a:pt x="1828800" y="457200"/>
                  </a:lnTo>
                  <a:lnTo>
                    <a:pt x="1676501" y="914402"/>
                  </a:lnTo>
                  <a:lnTo>
                    <a:pt x="0" y="914400"/>
                  </a:lnTo>
                  <a:lnTo>
                    <a:pt x="152299" y="457202"/>
                  </a:lnTo>
                  <a:close/>
                </a:path>
              </a:pathLst>
            </a:custGeom>
            <a:solidFill>
              <a:srgbClr val="FFDD00"/>
            </a:solidFill>
            <a:ln w="19050">
              <a:solidFill>
                <a:srgbClr val="FFFFFF"/>
              </a:solidFill>
              <a:round/>
              <a:headEnd/>
              <a:tailEnd/>
            </a:ln>
          </p:spPr>
          <p:txBody>
            <a:bodyPr wrap="none" lIns="121917" tIns="60958" rIns="121917" bIns="60958" rtlCol="0" anchor="ctr"/>
            <a:lstStyle/>
            <a:p>
              <a:pPr marL="182563" defTabSz="742302" eaLnBrk="0" hangingPunct="0"/>
              <a:r>
                <a:rPr lang="uk-UA" sz="1100" b="1" noProof="1">
                  <a:latin typeface="Calibri" panose="020F0502020204030204"/>
                </a:rPr>
                <a:t>5. </a:t>
              </a:r>
              <a:r>
                <a:rPr lang="ru-RU" sz="1100" b="1" noProof="1">
                  <a:latin typeface="Calibri" panose="020F0502020204030204"/>
                </a:rPr>
                <a:t>Формування АІ проекту</a:t>
              </a:r>
            </a:p>
            <a:p>
              <a:pPr marL="182563" defTabSz="742302" eaLnBrk="0" hangingPunct="0"/>
              <a:r>
                <a:rPr lang="ru-RU" sz="1100" b="1" noProof="1">
                  <a:latin typeface="Calibri" panose="020F0502020204030204"/>
                </a:rPr>
                <a:t>корп. документа на основі</a:t>
              </a:r>
            </a:p>
            <a:p>
              <a:pPr marL="182563" defTabSz="742302" eaLnBrk="0" hangingPunct="0"/>
              <a:r>
                <a:rPr lang="ru-RU" sz="1100" b="1" noProof="1">
                  <a:latin typeface="Calibri" panose="020F0502020204030204"/>
                </a:rPr>
                <a:t>заявки ініціатора та раніше</a:t>
              </a:r>
            </a:p>
            <a:p>
              <a:pPr marL="182563" defTabSz="742302" eaLnBrk="0" hangingPunct="0"/>
              <a:r>
                <a:rPr lang="ru-RU" sz="1100" b="1" noProof="1">
                  <a:latin typeface="Calibri" panose="020F0502020204030204"/>
                </a:rPr>
                <a:t>оформленого корп. документа</a:t>
              </a:r>
            </a:p>
            <a:p>
              <a:pPr marL="182563" defTabSz="742302" eaLnBrk="0" hangingPunct="0"/>
              <a:r>
                <a:rPr lang="ru-RU" sz="1100" b="1" noProof="1">
                  <a:latin typeface="Calibri" panose="020F0502020204030204"/>
                </a:rPr>
                <a:t>з аналогічного питання</a:t>
              </a:r>
              <a:endParaRPr lang="uk-UA" sz="1100" b="1" noProof="1">
                <a:latin typeface="Calibri" panose="020F0502020204030204"/>
              </a:endParaRPr>
            </a:p>
          </p:txBody>
        </p:sp>
      </p:grpSp>
      <p:sp>
        <p:nvSpPr>
          <p:cNvPr id="23" name="TextBox 22">
            <a:extLst>
              <a:ext uri="{FF2B5EF4-FFF2-40B4-BE49-F238E27FC236}">
                <a16:creationId xmlns:a16="http://schemas.microsoft.com/office/drawing/2014/main" id="{0291E5E8-E6BF-E44B-CF21-82E1BB91E137}"/>
              </a:ext>
            </a:extLst>
          </p:cNvPr>
          <p:cNvSpPr txBox="1"/>
          <p:nvPr/>
        </p:nvSpPr>
        <p:spPr>
          <a:xfrm>
            <a:off x="3339435" y="1292503"/>
            <a:ext cx="6719104" cy="307777"/>
          </a:xfrm>
          <a:prstGeom prst="rect">
            <a:avLst/>
          </a:prstGeom>
          <a:noFill/>
        </p:spPr>
        <p:txBody>
          <a:bodyPr wrap="square">
            <a:spAutoFit/>
          </a:bodyPr>
          <a:lstStyle/>
          <a:p>
            <a:pPr algn="ctr"/>
            <a:r>
              <a:rPr lang="uk-UA" sz="1400" b="1" noProof="1">
                <a:solidFill>
                  <a:schemeClr val="tx1"/>
                </a:solidFill>
                <a:latin typeface="Segoe UI" panose="020B0502040204020203" pitchFamily="34" charset="0"/>
                <a:cs typeface="Segoe UI" panose="020B0502040204020203" pitchFamily="34" charset="0"/>
              </a:rPr>
              <a:t>Очікуваний процес драфтингу корп. документів за допомогою АІ</a:t>
            </a:r>
          </a:p>
        </p:txBody>
      </p:sp>
      <p:sp>
        <p:nvSpPr>
          <p:cNvPr id="21" name="Text Placeholder 9">
            <a:extLst>
              <a:ext uri="{FF2B5EF4-FFF2-40B4-BE49-F238E27FC236}">
                <a16:creationId xmlns:a16="http://schemas.microsoft.com/office/drawing/2014/main" id="{D6EF8527-5F39-ABE9-8666-9E67AB1D7824}"/>
              </a:ext>
            </a:extLst>
          </p:cNvPr>
          <p:cNvSpPr txBox="1">
            <a:spLocks/>
          </p:cNvSpPr>
          <p:nvPr/>
        </p:nvSpPr>
        <p:spPr>
          <a:xfrm>
            <a:off x="680662" y="4095145"/>
            <a:ext cx="5076583" cy="1653660"/>
          </a:xfrm>
          <a:prstGeom prst="rect">
            <a:avLst/>
          </a:prstGeom>
          <a:noFill/>
        </p:spPr>
        <p:txBody>
          <a:bodyPr vert="horz" lIns="91440" tIns="45720" rIns="91440" bIns="45720" rtlCol="0" anchor="t" anchorCtr="0">
            <a:noAutofit/>
          </a:bodyPr>
          <a:lstStyle>
            <a:lvl1pPr marL="0" indent="0" algn="ctr" defTabSz="914509" rtl="0" eaLnBrk="1" latinLnBrk="0" hangingPunct="1">
              <a:lnSpc>
                <a:spcPct val="90000"/>
              </a:lnSpc>
              <a:spcBef>
                <a:spcPts val="1000"/>
              </a:spcBef>
              <a:buFont typeface="Arial" panose="020B0604020202020204" pitchFamily="34" charset="0"/>
              <a:buNone/>
              <a:defRPr sz="1804" kern="1200" cap="all" baseline="0">
                <a:solidFill>
                  <a:schemeClr val="bg1">
                    <a:lumMod val="50000"/>
                  </a:schemeClr>
                </a:solidFill>
                <a:latin typeface="+mj-lt"/>
                <a:ea typeface="+mn-ea"/>
                <a:cs typeface="+mn-cs"/>
              </a:defRPr>
            </a:lvl1pPr>
            <a:lvl2pPr marL="457254" indent="0" algn="l" defTabSz="914509" rtl="0" eaLnBrk="1" latinLnBrk="0" hangingPunct="1">
              <a:lnSpc>
                <a:spcPct val="90000"/>
              </a:lnSpc>
              <a:spcBef>
                <a:spcPts val="501"/>
              </a:spcBef>
              <a:buFont typeface="Arial" panose="020B0604020202020204" pitchFamily="34" charset="0"/>
              <a:buNone/>
              <a:defRPr sz="1804" kern="1200">
                <a:solidFill>
                  <a:schemeClr val="tx1"/>
                </a:solidFill>
                <a:latin typeface="+mj-lt"/>
                <a:ea typeface="+mn-ea"/>
                <a:cs typeface="+mn-cs"/>
              </a:defRPr>
            </a:lvl2pPr>
            <a:lvl3pPr marL="914509" indent="0" algn="l" defTabSz="914509" rtl="0" eaLnBrk="1" latinLnBrk="0" hangingPunct="1">
              <a:lnSpc>
                <a:spcPct val="90000"/>
              </a:lnSpc>
              <a:spcBef>
                <a:spcPts val="501"/>
              </a:spcBef>
              <a:buFont typeface="Arial" panose="020B0604020202020204" pitchFamily="34" charset="0"/>
              <a:buNone/>
              <a:defRPr sz="1804" kern="1200">
                <a:solidFill>
                  <a:schemeClr val="tx1"/>
                </a:solidFill>
                <a:latin typeface="+mj-lt"/>
                <a:ea typeface="+mn-ea"/>
                <a:cs typeface="+mn-cs"/>
              </a:defRPr>
            </a:lvl3pPr>
            <a:lvl4pPr marL="1371763" indent="0" algn="l" defTabSz="914509" rtl="0" eaLnBrk="1" latinLnBrk="0" hangingPunct="1">
              <a:lnSpc>
                <a:spcPct val="90000"/>
              </a:lnSpc>
              <a:spcBef>
                <a:spcPts val="501"/>
              </a:spcBef>
              <a:buFont typeface="Arial" panose="020B0604020202020204" pitchFamily="34" charset="0"/>
              <a:buNone/>
              <a:defRPr sz="1804" kern="1200">
                <a:solidFill>
                  <a:schemeClr val="tx1"/>
                </a:solidFill>
                <a:latin typeface="+mj-lt"/>
                <a:ea typeface="+mn-ea"/>
                <a:cs typeface="+mn-cs"/>
              </a:defRPr>
            </a:lvl4pPr>
            <a:lvl5pPr marL="1829018" indent="0" algn="l" defTabSz="914509" rtl="0" eaLnBrk="1" latinLnBrk="0" hangingPunct="1">
              <a:lnSpc>
                <a:spcPct val="90000"/>
              </a:lnSpc>
              <a:spcBef>
                <a:spcPts val="501"/>
              </a:spcBef>
              <a:buFont typeface="Arial" panose="020B0604020202020204" pitchFamily="34" charset="0"/>
              <a:buNone/>
              <a:defRPr sz="1804" kern="1200">
                <a:solidFill>
                  <a:schemeClr val="tx1"/>
                </a:solidFill>
                <a:latin typeface="+mj-lt"/>
                <a:ea typeface="+mn-ea"/>
                <a:cs typeface="+mn-cs"/>
              </a:defRPr>
            </a:lvl5pPr>
            <a:lvl6pPr marL="2514902" indent="-228632" algn="l" defTabSz="914509" rtl="0" eaLnBrk="1" latinLnBrk="0" hangingPunct="1">
              <a:lnSpc>
                <a:spcPct val="90000"/>
              </a:lnSpc>
              <a:spcBef>
                <a:spcPts val="501"/>
              </a:spcBef>
              <a:buFont typeface="Arial" panose="020B0604020202020204" pitchFamily="34" charset="0"/>
              <a:buChar char="•"/>
              <a:defRPr sz="1804" kern="1200">
                <a:solidFill>
                  <a:schemeClr val="tx1"/>
                </a:solidFill>
                <a:latin typeface="+mn-lt"/>
                <a:ea typeface="+mn-ea"/>
                <a:cs typeface="+mn-cs"/>
              </a:defRPr>
            </a:lvl6pPr>
            <a:lvl7pPr marL="2972156" indent="-228632" algn="l" defTabSz="914509" rtl="0" eaLnBrk="1" latinLnBrk="0" hangingPunct="1">
              <a:lnSpc>
                <a:spcPct val="90000"/>
              </a:lnSpc>
              <a:spcBef>
                <a:spcPts val="501"/>
              </a:spcBef>
              <a:buFont typeface="Arial" panose="020B0604020202020204" pitchFamily="34" charset="0"/>
              <a:buChar char="•"/>
              <a:defRPr sz="1804" kern="1200">
                <a:solidFill>
                  <a:schemeClr val="tx1"/>
                </a:solidFill>
                <a:latin typeface="+mn-lt"/>
                <a:ea typeface="+mn-ea"/>
                <a:cs typeface="+mn-cs"/>
              </a:defRPr>
            </a:lvl7pPr>
            <a:lvl8pPr marL="3429411" indent="-228632" algn="l" defTabSz="914509" rtl="0" eaLnBrk="1" latinLnBrk="0" hangingPunct="1">
              <a:lnSpc>
                <a:spcPct val="90000"/>
              </a:lnSpc>
              <a:spcBef>
                <a:spcPts val="501"/>
              </a:spcBef>
              <a:buFont typeface="Arial" panose="020B0604020202020204" pitchFamily="34" charset="0"/>
              <a:buChar char="•"/>
              <a:defRPr sz="1804" kern="1200">
                <a:solidFill>
                  <a:schemeClr val="tx1"/>
                </a:solidFill>
                <a:latin typeface="+mn-lt"/>
                <a:ea typeface="+mn-ea"/>
                <a:cs typeface="+mn-cs"/>
              </a:defRPr>
            </a:lvl8pPr>
            <a:lvl9pPr marL="3886665" indent="-228632" algn="l" defTabSz="914509" rtl="0" eaLnBrk="1" latinLnBrk="0" hangingPunct="1">
              <a:lnSpc>
                <a:spcPct val="90000"/>
              </a:lnSpc>
              <a:spcBef>
                <a:spcPts val="501"/>
              </a:spcBef>
              <a:buFont typeface="Arial" panose="020B0604020202020204" pitchFamily="34" charset="0"/>
              <a:buChar char="•"/>
              <a:defRPr sz="1804" kern="1200">
                <a:solidFill>
                  <a:schemeClr val="tx1"/>
                </a:solidFill>
                <a:latin typeface="+mn-lt"/>
                <a:ea typeface="+mn-ea"/>
                <a:cs typeface="+mn-cs"/>
              </a:defRPr>
            </a:lvl9pPr>
          </a:lstStyle>
          <a:p>
            <a:pPr algn="l">
              <a:lnSpc>
                <a:spcPct val="100000"/>
              </a:lnSpc>
              <a:spcBef>
                <a:spcPts val="0"/>
              </a:spcBef>
              <a:spcAft>
                <a:spcPts val="1200"/>
              </a:spcAft>
            </a:pPr>
            <a:r>
              <a:rPr lang="uk-UA" sz="1400" b="1" cap="none" noProof="1">
                <a:solidFill>
                  <a:schemeClr val="tx1"/>
                </a:solidFill>
                <a:latin typeface="Segoe UI" panose="020B0502040204020203" pitchFamily="34" charset="0"/>
                <a:cs typeface="Segoe UI" panose="020B0502040204020203" pitchFamily="34" charset="0"/>
              </a:rPr>
              <a:t>Результат:</a:t>
            </a:r>
          </a:p>
          <a:p>
            <a:pPr algn="l" fontAlgn="ctr">
              <a:lnSpc>
                <a:spcPct val="100000"/>
              </a:lnSpc>
              <a:spcBef>
                <a:spcPts val="0"/>
              </a:spcBef>
              <a:spcAft>
                <a:spcPts val="1200"/>
              </a:spcAft>
            </a:pPr>
            <a:r>
              <a:rPr lang="ru-RU" sz="1200" cap="none" noProof="1">
                <a:solidFill>
                  <a:srgbClr val="000000"/>
                </a:solidFill>
                <a:latin typeface="Segoe UI" panose="020B0502040204020203" pitchFamily="34" charset="0"/>
                <a:cs typeface="Segoe UI" panose="020B0502040204020203" pitchFamily="34" charset="0"/>
              </a:rPr>
              <a:t>Користувач працює з драфтом сформованого системою корп. документа</a:t>
            </a:r>
          </a:p>
          <a:p>
            <a:pPr algn="l" fontAlgn="ctr">
              <a:lnSpc>
                <a:spcPct val="100000"/>
              </a:lnSpc>
              <a:spcBef>
                <a:spcPts val="0"/>
              </a:spcBef>
              <a:spcAft>
                <a:spcPts val="1200"/>
              </a:spcAft>
            </a:pPr>
            <a:r>
              <a:rPr lang="ru-RU" sz="1200" cap="none" noProof="1">
                <a:solidFill>
                  <a:srgbClr val="000000"/>
                </a:solidFill>
                <a:latin typeface="Segoe UI" panose="020B0502040204020203" pitchFamily="34" charset="0"/>
                <a:cs typeface="Segoe UI" panose="020B0502040204020203" pitchFamily="34" charset="0"/>
              </a:rPr>
              <a:t>Оптимізація трудовитрат на формування проекту корп. документа</a:t>
            </a:r>
          </a:p>
        </p:txBody>
      </p:sp>
      <p:sp>
        <p:nvSpPr>
          <p:cNvPr id="22" name="Rectangle 5">
            <a:extLst>
              <a:ext uri="{FF2B5EF4-FFF2-40B4-BE49-F238E27FC236}">
                <a16:creationId xmlns:a16="http://schemas.microsoft.com/office/drawing/2014/main" id="{687249BE-7512-50A0-8E30-DD9053AA0442}"/>
              </a:ext>
            </a:extLst>
          </p:cNvPr>
          <p:cNvSpPr/>
          <p:nvPr/>
        </p:nvSpPr>
        <p:spPr>
          <a:xfrm>
            <a:off x="525603" y="4061394"/>
            <a:ext cx="151460" cy="1661381"/>
          </a:xfrm>
          <a:prstGeom prst="rect">
            <a:avLst/>
          </a:prstGeom>
          <a:solidFill>
            <a:srgbClr val="7F7F7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uk-UA" sz="2161" b="0" i="0" u="none" strike="noStrike" kern="0" cap="none" spc="0" normalizeH="0" baseline="0" noProof="1">
              <a:ln>
                <a:noFill/>
              </a:ln>
              <a:solidFill>
                <a:srgbClr val="FFFFFF"/>
              </a:solidFill>
              <a:effectLst/>
              <a:uLnTx/>
              <a:uFillTx/>
              <a:latin typeface="Arial"/>
              <a:ea typeface="+mn-ea"/>
              <a:cs typeface="+mn-cs"/>
            </a:endParaRPr>
          </a:p>
        </p:txBody>
      </p:sp>
      <p:sp>
        <p:nvSpPr>
          <p:cNvPr id="13" name="Text Placeholder 9">
            <a:extLst>
              <a:ext uri="{FF2B5EF4-FFF2-40B4-BE49-F238E27FC236}">
                <a16:creationId xmlns:a16="http://schemas.microsoft.com/office/drawing/2014/main" id="{6560A137-0238-7DA9-C8E9-A5D736769329}"/>
              </a:ext>
            </a:extLst>
          </p:cNvPr>
          <p:cNvSpPr txBox="1">
            <a:spLocks/>
          </p:cNvSpPr>
          <p:nvPr/>
        </p:nvSpPr>
        <p:spPr>
          <a:xfrm>
            <a:off x="5850931" y="4061396"/>
            <a:ext cx="7353440" cy="1661381"/>
          </a:xfrm>
          <a:prstGeom prst="rect">
            <a:avLst/>
          </a:prstGeom>
          <a:noFill/>
        </p:spPr>
        <p:txBody>
          <a:bodyPr vert="horz" lIns="91440" tIns="45720" rIns="91440" bIns="45720" rtlCol="0" anchor="t" anchorCtr="0">
            <a:noAutofit/>
          </a:bodyPr>
          <a:lstStyle>
            <a:lvl1pPr marL="0" indent="0" algn="ctr" defTabSz="914509" rtl="0" eaLnBrk="1" latinLnBrk="0" hangingPunct="1">
              <a:lnSpc>
                <a:spcPct val="90000"/>
              </a:lnSpc>
              <a:spcBef>
                <a:spcPts val="1000"/>
              </a:spcBef>
              <a:buFont typeface="Arial" panose="020B0604020202020204" pitchFamily="34" charset="0"/>
              <a:buNone/>
              <a:defRPr sz="1804" kern="1200" cap="all" baseline="0">
                <a:solidFill>
                  <a:schemeClr val="bg1">
                    <a:lumMod val="50000"/>
                  </a:schemeClr>
                </a:solidFill>
                <a:latin typeface="+mj-lt"/>
                <a:ea typeface="+mn-ea"/>
                <a:cs typeface="+mn-cs"/>
              </a:defRPr>
            </a:lvl1pPr>
            <a:lvl2pPr marL="457254" indent="0" algn="l" defTabSz="914509" rtl="0" eaLnBrk="1" latinLnBrk="0" hangingPunct="1">
              <a:lnSpc>
                <a:spcPct val="90000"/>
              </a:lnSpc>
              <a:spcBef>
                <a:spcPts val="501"/>
              </a:spcBef>
              <a:buFont typeface="Arial" panose="020B0604020202020204" pitchFamily="34" charset="0"/>
              <a:buNone/>
              <a:defRPr sz="1804" kern="1200">
                <a:solidFill>
                  <a:schemeClr val="tx1"/>
                </a:solidFill>
                <a:latin typeface="+mj-lt"/>
                <a:ea typeface="+mn-ea"/>
                <a:cs typeface="+mn-cs"/>
              </a:defRPr>
            </a:lvl2pPr>
            <a:lvl3pPr marL="914509" indent="0" algn="l" defTabSz="914509" rtl="0" eaLnBrk="1" latinLnBrk="0" hangingPunct="1">
              <a:lnSpc>
                <a:spcPct val="90000"/>
              </a:lnSpc>
              <a:spcBef>
                <a:spcPts val="501"/>
              </a:spcBef>
              <a:buFont typeface="Arial" panose="020B0604020202020204" pitchFamily="34" charset="0"/>
              <a:buNone/>
              <a:defRPr sz="1804" kern="1200">
                <a:solidFill>
                  <a:schemeClr val="tx1"/>
                </a:solidFill>
                <a:latin typeface="+mj-lt"/>
                <a:ea typeface="+mn-ea"/>
                <a:cs typeface="+mn-cs"/>
              </a:defRPr>
            </a:lvl3pPr>
            <a:lvl4pPr marL="1371763" indent="0" algn="l" defTabSz="914509" rtl="0" eaLnBrk="1" latinLnBrk="0" hangingPunct="1">
              <a:lnSpc>
                <a:spcPct val="90000"/>
              </a:lnSpc>
              <a:spcBef>
                <a:spcPts val="501"/>
              </a:spcBef>
              <a:buFont typeface="Arial" panose="020B0604020202020204" pitchFamily="34" charset="0"/>
              <a:buNone/>
              <a:defRPr sz="1804" kern="1200">
                <a:solidFill>
                  <a:schemeClr val="tx1"/>
                </a:solidFill>
                <a:latin typeface="+mj-lt"/>
                <a:ea typeface="+mn-ea"/>
                <a:cs typeface="+mn-cs"/>
              </a:defRPr>
            </a:lvl4pPr>
            <a:lvl5pPr marL="1829018" indent="0" algn="l" defTabSz="914509" rtl="0" eaLnBrk="1" latinLnBrk="0" hangingPunct="1">
              <a:lnSpc>
                <a:spcPct val="90000"/>
              </a:lnSpc>
              <a:spcBef>
                <a:spcPts val="501"/>
              </a:spcBef>
              <a:buFont typeface="Arial" panose="020B0604020202020204" pitchFamily="34" charset="0"/>
              <a:buNone/>
              <a:defRPr sz="1804" kern="1200">
                <a:solidFill>
                  <a:schemeClr val="tx1"/>
                </a:solidFill>
                <a:latin typeface="+mj-lt"/>
                <a:ea typeface="+mn-ea"/>
                <a:cs typeface="+mn-cs"/>
              </a:defRPr>
            </a:lvl5pPr>
            <a:lvl6pPr marL="2514902" indent="-228632" algn="l" defTabSz="914509" rtl="0" eaLnBrk="1" latinLnBrk="0" hangingPunct="1">
              <a:lnSpc>
                <a:spcPct val="90000"/>
              </a:lnSpc>
              <a:spcBef>
                <a:spcPts val="501"/>
              </a:spcBef>
              <a:buFont typeface="Arial" panose="020B0604020202020204" pitchFamily="34" charset="0"/>
              <a:buChar char="•"/>
              <a:defRPr sz="1804" kern="1200">
                <a:solidFill>
                  <a:schemeClr val="tx1"/>
                </a:solidFill>
                <a:latin typeface="+mn-lt"/>
                <a:ea typeface="+mn-ea"/>
                <a:cs typeface="+mn-cs"/>
              </a:defRPr>
            </a:lvl6pPr>
            <a:lvl7pPr marL="2972156" indent="-228632" algn="l" defTabSz="914509" rtl="0" eaLnBrk="1" latinLnBrk="0" hangingPunct="1">
              <a:lnSpc>
                <a:spcPct val="90000"/>
              </a:lnSpc>
              <a:spcBef>
                <a:spcPts val="501"/>
              </a:spcBef>
              <a:buFont typeface="Arial" panose="020B0604020202020204" pitchFamily="34" charset="0"/>
              <a:buChar char="•"/>
              <a:defRPr sz="1804" kern="1200">
                <a:solidFill>
                  <a:schemeClr val="tx1"/>
                </a:solidFill>
                <a:latin typeface="+mn-lt"/>
                <a:ea typeface="+mn-ea"/>
                <a:cs typeface="+mn-cs"/>
              </a:defRPr>
            </a:lvl7pPr>
            <a:lvl8pPr marL="3429411" indent="-228632" algn="l" defTabSz="914509" rtl="0" eaLnBrk="1" latinLnBrk="0" hangingPunct="1">
              <a:lnSpc>
                <a:spcPct val="90000"/>
              </a:lnSpc>
              <a:spcBef>
                <a:spcPts val="501"/>
              </a:spcBef>
              <a:buFont typeface="Arial" panose="020B0604020202020204" pitchFamily="34" charset="0"/>
              <a:buChar char="•"/>
              <a:defRPr sz="1804" kern="1200">
                <a:solidFill>
                  <a:schemeClr val="tx1"/>
                </a:solidFill>
                <a:latin typeface="+mn-lt"/>
                <a:ea typeface="+mn-ea"/>
                <a:cs typeface="+mn-cs"/>
              </a:defRPr>
            </a:lvl8pPr>
            <a:lvl9pPr marL="3886665" indent="-228632" algn="l" defTabSz="914509" rtl="0" eaLnBrk="1" latinLnBrk="0" hangingPunct="1">
              <a:lnSpc>
                <a:spcPct val="90000"/>
              </a:lnSpc>
              <a:spcBef>
                <a:spcPts val="501"/>
              </a:spcBef>
              <a:buFont typeface="Arial" panose="020B0604020202020204" pitchFamily="34" charset="0"/>
              <a:buChar char="•"/>
              <a:defRPr sz="1804" kern="1200">
                <a:solidFill>
                  <a:schemeClr val="tx1"/>
                </a:solidFill>
                <a:latin typeface="+mn-lt"/>
                <a:ea typeface="+mn-ea"/>
                <a:cs typeface="+mn-cs"/>
              </a:defRPr>
            </a:lvl9pPr>
          </a:lstStyle>
          <a:p>
            <a:pPr algn="l">
              <a:lnSpc>
                <a:spcPct val="100000"/>
              </a:lnSpc>
              <a:spcBef>
                <a:spcPts val="0"/>
              </a:spcBef>
              <a:spcAft>
                <a:spcPts val="1200"/>
              </a:spcAft>
            </a:pPr>
            <a:r>
              <a:rPr lang="uk-UA" sz="1400" b="1" cap="none" noProof="1">
                <a:solidFill>
                  <a:schemeClr val="tx1"/>
                </a:solidFill>
                <a:latin typeface="Segoe UI"/>
                <a:cs typeface="Segoe UI"/>
              </a:rPr>
              <a:t>Можливості системи:</a:t>
            </a:r>
          </a:p>
          <a:p>
            <a:pPr marL="188989" marR="0" lvl="0" indent="-188989" algn="l" defTabSz="99547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ru-RU" sz="1200" b="0" i="0" u="none" strike="noStrike" kern="1200" cap="none" spc="0" normalizeH="0" baseline="0" noProof="1">
                <a:ln>
                  <a:noFill/>
                </a:ln>
                <a:solidFill>
                  <a:srgbClr val="000000"/>
                </a:solidFill>
                <a:effectLst/>
                <a:uLnTx/>
                <a:uFillTx/>
                <a:latin typeface="Segoe UI"/>
                <a:ea typeface="+mn-ea"/>
                <a:cs typeface="Segoe UI"/>
              </a:rPr>
              <a:t>Уточнення змісту корп. документа з використанням автоматичного перекладу</a:t>
            </a:r>
          </a:p>
          <a:p>
            <a:pPr marL="188989" marR="0" lvl="0" indent="-188989" algn="l" defTabSz="99547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ru-RU" sz="1200" b="0" i="0" u="none" strike="noStrike" kern="1200" cap="none" spc="0" normalizeH="0" baseline="0" noProof="1">
                <a:ln>
                  <a:noFill/>
                </a:ln>
                <a:solidFill>
                  <a:srgbClr val="000000"/>
                </a:solidFill>
                <a:effectLst/>
                <a:uLnTx/>
                <a:uFillTx/>
                <a:latin typeface="Segoe UI"/>
                <a:ea typeface="+mn-ea"/>
                <a:cs typeface="Segoe UI"/>
              </a:rPr>
              <a:t>Зміна підписантів з автоматичною зміною підписного блоку</a:t>
            </a:r>
          </a:p>
          <a:p>
            <a:pPr marL="188989" marR="0" lvl="0" indent="-188989" algn="l" defTabSz="995478"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ru-RU" sz="1200" noProof="1">
                <a:solidFill>
                  <a:srgbClr val="000000"/>
                </a:solidFill>
                <a:latin typeface="Segoe UI"/>
                <a:cs typeface="Segoe UI"/>
              </a:rPr>
              <a:t>У</a:t>
            </a:r>
            <a:r>
              <a:rPr kumimoji="0" lang="ru-RU" sz="1200" b="0" i="0" u="none" strike="noStrike" kern="1200" cap="none" spc="0" normalizeH="0" baseline="0" noProof="1">
                <a:ln>
                  <a:noFill/>
                </a:ln>
                <a:solidFill>
                  <a:srgbClr val="000000"/>
                </a:solidFill>
                <a:effectLst/>
                <a:uLnTx/>
                <a:uFillTx/>
                <a:latin typeface="Segoe UI"/>
                <a:ea typeface="+mn-ea"/>
                <a:cs typeface="Segoe UI"/>
              </a:rPr>
              <a:t>точнення інших даних з автоматичним корегуванням проекту корп. документа</a:t>
            </a:r>
          </a:p>
          <a:p>
            <a:pPr marL="188989" marR="0" lvl="0" indent="-188989" algn="l" defTabSz="995478"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ru-RU" sz="1200" b="0" i="0" u="none" strike="noStrike" kern="1200" cap="none" spc="0" normalizeH="0" baseline="0" noProof="1">
                <a:ln>
                  <a:noFill/>
                </a:ln>
                <a:solidFill>
                  <a:srgbClr val="000000"/>
                </a:solidFill>
                <a:effectLst/>
                <a:uLnTx/>
                <a:uFillTx/>
                <a:latin typeface="Segoe UI"/>
                <a:ea typeface="+mn-ea"/>
                <a:cs typeface="Segoe UI"/>
              </a:rPr>
              <a:t>Можливість потенційного навчання та розвитку сервісу АІ</a:t>
            </a:r>
          </a:p>
          <a:p>
            <a:pPr marL="188989" marR="0" lvl="0" indent="-188989" algn="l" defTabSz="995478" rtl="0" eaLnBrk="1" fontAlgn="auto" latinLnBrk="0" hangingPunct="1">
              <a:lnSpc>
                <a:spcPct val="100000"/>
              </a:lnSpc>
              <a:spcBef>
                <a:spcPts val="0"/>
              </a:spcBef>
              <a:spcAft>
                <a:spcPts val="1200"/>
              </a:spcAft>
              <a:buClrTx/>
              <a:buSzTx/>
              <a:buFont typeface="Arial" panose="020B0604020202020204" pitchFamily="34" charset="0"/>
              <a:buChar char="•"/>
              <a:tabLst/>
              <a:defRPr/>
            </a:pPr>
            <a:endParaRPr kumimoji="0" lang="ru-RU" sz="1200" b="0" i="0" u="none" strike="noStrike" kern="1200" cap="none" spc="0" normalizeH="0" baseline="0" noProof="1">
              <a:ln>
                <a:noFill/>
              </a:ln>
              <a:solidFill>
                <a:srgbClr val="000000"/>
              </a:solidFill>
              <a:effectLst/>
              <a:uLnTx/>
              <a:uFillTx/>
              <a:latin typeface="Segoe UI"/>
              <a:ea typeface="+mn-ea"/>
              <a:cs typeface="Segoe UI"/>
            </a:endParaRPr>
          </a:p>
        </p:txBody>
      </p:sp>
      <p:sp>
        <p:nvSpPr>
          <p:cNvPr id="14" name="Rectangle 3">
            <a:extLst>
              <a:ext uri="{FF2B5EF4-FFF2-40B4-BE49-F238E27FC236}">
                <a16:creationId xmlns:a16="http://schemas.microsoft.com/office/drawing/2014/main" id="{1C6EC63C-2AAD-DEB1-4EF6-5D30F15852E7}"/>
              </a:ext>
            </a:extLst>
          </p:cNvPr>
          <p:cNvSpPr/>
          <p:nvPr/>
        </p:nvSpPr>
        <p:spPr>
          <a:xfrm>
            <a:off x="5760844" y="4069117"/>
            <a:ext cx="86488" cy="1653660"/>
          </a:xfrm>
          <a:prstGeom prst="rect">
            <a:avLst/>
          </a:prstGeom>
          <a:solidFill>
            <a:srgbClr val="FFDD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uk-UA" sz="2161" b="0" i="0" u="none" strike="noStrike" kern="0" cap="none" spc="0" normalizeH="0" baseline="0" noProof="1">
              <a:ln>
                <a:noFill/>
              </a:ln>
              <a:solidFill>
                <a:srgbClr val="FFFFFF"/>
              </a:solidFill>
              <a:effectLst/>
              <a:uLnTx/>
              <a:uFillTx/>
              <a:latin typeface="Arial"/>
              <a:ea typeface="+mn-ea"/>
              <a:cs typeface="+mn-cs"/>
            </a:endParaRPr>
          </a:p>
        </p:txBody>
      </p:sp>
      <p:sp>
        <p:nvSpPr>
          <p:cNvPr id="3" name="TextBox 2">
            <a:extLst>
              <a:ext uri="{FF2B5EF4-FFF2-40B4-BE49-F238E27FC236}">
                <a16:creationId xmlns:a16="http://schemas.microsoft.com/office/drawing/2014/main" id="{079F7A40-D87D-A472-1483-624F516BC828}"/>
              </a:ext>
            </a:extLst>
          </p:cNvPr>
          <p:cNvSpPr txBox="1"/>
          <p:nvPr/>
        </p:nvSpPr>
        <p:spPr>
          <a:xfrm>
            <a:off x="777475" y="141257"/>
            <a:ext cx="12662123" cy="461665"/>
          </a:xfrm>
          <a:prstGeom prst="rect">
            <a:avLst/>
          </a:prstGeom>
          <a:noFill/>
        </p:spPr>
        <p:txBody>
          <a:bodyPr wrap="square" rtlCol="0">
            <a:spAutoFit/>
          </a:bodyPr>
          <a:lstStyle/>
          <a:p>
            <a:r>
              <a:rPr lang="uk-UA" sz="2400" b="1" noProof="1">
                <a:latin typeface="Segoe UI" panose="020B0502040204020203" pitchFamily="34" charset="0"/>
                <a:ea typeface="Open Sans" panose="020B0606030504020204" pitchFamily="34" charset="0"/>
                <a:cs typeface="Segoe UI" panose="020B0502040204020203" pitchFamily="34" charset="0"/>
              </a:rPr>
              <a:t>АІ 2</a:t>
            </a:r>
            <a:r>
              <a:rPr lang="en-US" sz="2400" b="1" noProof="1">
                <a:latin typeface="Segoe UI" panose="020B0502040204020203" pitchFamily="34" charset="0"/>
                <a:ea typeface="Open Sans" panose="020B0606030504020204" pitchFamily="34" charset="0"/>
                <a:cs typeface="Segoe UI" panose="020B0502040204020203" pitchFamily="34" charset="0"/>
              </a:rPr>
              <a:t>/2</a:t>
            </a:r>
            <a:endParaRPr lang="uk-UA" sz="2400" b="1" noProof="1">
              <a:latin typeface="Segoe UI" panose="020B0502040204020203" pitchFamily="34" charset="0"/>
              <a:ea typeface="Open Sans" panose="020B0606030504020204" pitchFamily="34" charset="0"/>
              <a:cs typeface="Segoe UI" panose="020B0502040204020203" pitchFamily="34" charset="0"/>
            </a:endParaRPr>
          </a:p>
        </p:txBody>
      </p:sp>
    </p:spTree>
    <p:extLst>
      <p:ext uri="{BB962C8B-B14F-4D97-AF65-F5344CB8AC3E}">
        <p14:creationId xmlns:p14="http://schemas.microsoft.com/office/powerpoint/2010/main" val="296200811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575">
          <a:extLst>
            <a:ext uri="{FF2B5EF4-FFF2-40B4-BE49-F238E27FC236}">
              <a16:creationId xmlns:a16="http://schemas.microsoft.com/office/drawing/2014/main" id="{36BDC1DB-7FDB-E473-725E-3DF2F7A937B2}"/>
            </a:ext>
          </a:extLst>
        </p:cNvPr>
        <p:cNvGrpSpPr/>
        <p:nvPr/>
      </p:nvGrpSpPr>
      <p:grpSpPr>
        <a:xfrm>
          <a:off x="0" y="0"/>
          <a:ext cx="0" cy="0"/>
          <a:chOff x="0" y="0"/>
          <a:chExt cx="0" cy="0"/>
        </a:xfrm>
      </p:grpSpPr>
      <p:sp>
        <p:nvSpPr>
          <p:cNvPr id="2" name="Google Shape;322;p42">
            <a:extLst>
              <a:ext uri="{FF2B5EF4-FFF2-40B4-BE49-F238E27FC236}">
                <a16:creationId xmlns:a16="http://schemas.microsoft.com/office/drawing/2014/main" id="{8A284D37-B4D4-11ED-0037-E7B4EC77E14B}"/>
              </a:ext>
            </a:extLst>
          </p:cNvPr>
          <p:cNvSpPr txBox="1">
            <a:spLocks/>
          </p:cNvSpPr>
          <p:nvPr/>
        </p:nvSpPr>
        <p:spPr>
          <a:xfrm>
            <a:off x="556776" y="858310"/>
            <a:ext cx="5248224" cy="1662685"/>
          </a:xfrm>
          <a:prstGeom prst="rect">
            <a:avLst/>
          </a:prstGeom>
        </p:spPr>
        <p:txBody>
          <a:bodyPr spcFirstLastPara="1" wrap="square" lIns="134372" tIns="295641" rIns="134372" bIns="134372"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defTabSz="1343985"/>
            <a:r>
              <a:rPr lang="uk-UA" sz="7349" b="1" kern="0">
                <a:solidFill>
                  <a:srgbClr val="363F4C">
                    <a:lumMod val="50000"/>
                  </a:srgbClr>
                </a:solidFill>
                <a:latin typeface="Calibri Light" panose="020F0302020204030204" pitchFamily="34" charset="0"/>
                <a:cs typeface="Calibri Light" panose="020F0302020204030204" pitchFamily="34" charset="0"/>
              </a:rPr>
              <a:t>Дякуємо</a:t>
            </a:r>
            <a:r>
              <a:rPr lang="en" sz="7349" b="1" kern="0">
                <a:solidFill>
                  <a:srgbClr val="363F4C">
                    <a:lumMod val="50000"/>
                  </a:srgbClr>
                </a:solidFill>
                <a:latin typeface="Calibri Light" panose="020F0302020204030204" pitchFamily="34" charset="0"/>
                <a:cs typeface="Calibri Light" panose="020F0302020204030204" pitchFamily="34" charset="0"/>
              </a:rPr>
              <a:t>!</a:t>
            </a:r>
            <a:endParaRPr lang="en-US" sz="7349" b="1" kern="0">
              <a:solidFill>
                <a:srgbClr val="363F4C">
                  <a:lumMod val="50000"/>
                </a:srgbClr>
              </a:solidFill>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341695089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Текст 1">
            <a:extLst>
              <a:ext uri="{FF2B5EF4-FFF2-40B4-BE49-F238E27FC236}">
                <a16:creationId xmlns:a16="http://schemas.microsoft.com/office/drawing/2014/main" id="{F6AF9792-223B-DEDE-C177-C6DE29C79551}"/>
              </a:ext>
            </a:extLst>
          </p:cNvPr>
          <p:cNvSpPr txBox="1">
            <a:spLocks/>
          </p:cNvSpPr>
          <p:nvPr/>
        </p:nvSpPr>
        <p:spPr>
          <a:xfrm>
            <a:off x="697814" y="2308607"/>
            <a:ext cx="8284140" cy="1252021"/>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0" marR="0" lvl="0" indent="0" algn="l" defTabSz="1007943" rtl="0" eaLnBrk="1" fontAlgn="auto" latinLnBrk="0" hangingPunct="1">
              <a:lnSpc>
                <a:spcPct val="100000"/>
              </a:lnSpc>
              <a:spcBef>
                <a:spcPts val="0"/>
              </a:spcBef>
              <a:spcAft>
                <a:spcPts val="0"/>
              </a:spcAft>
              <a:buClrTx/>
              <a:buSzTx/>
              <a:buFont typeface="Arial" panose="020B0604020202020204" pitchFamily="34" charset="0"/>
              <a:buNone/>
              <a:tabLst/>
              <a:defRPr sz="3600" b="0" i="0" u="none" strike="noStrike" cap="none" baseline="0">
                <a:solidFill>
                  <a:srgbClr val="000000"/>
                </a:solidFill>
                <a:latin typeface="Catamaran Light"/>
                <a:ea typeface="Catamaran Light"/>
                <a:cs typeface="Catamaran Light"/>
                <a:sym typeface="Catamaran Light"/>
              </a:defRPr>
            </a:lvl1pPr>
            <a:lvl2pPr marL="914400" marR="0" lvl="1" indent="-304800" algn="l" rtl="0">
              <a:lnSpc>
                <a:spcPct val="115000"/>
              </a:lnSpc>
              <a:spcBef>
                <a:spcPts val="1600"/>
              </a:spcBef>
              <a:spcAft>
                <a:spcPts val="0"/>
              </a:spcAft>
              <a:buClr>
                <a:schemeClr val="dk1"/>
              </a:buClr>
              <a:buSzPts val="1200"/>
              <a:buFont typeface="Catamaran Light"/>
              <a:buChar char="○"/>
              <a:defRPr sz="1200" b="0" i="0" u="none" strike="noStrike" cap="none">
                <a:solidFill>
                  <a:schemeClr val="dk1"/>
                </a:solidFill>
                <a:latin typeface="Catamaran Light"/>
                <a:ea typeface="Catamaran Light"/>
                <a:cs typeface="Catamaran Light"/>
                <a:sym typeface="Catamaran Light"/>
              </a:defRPr>
            </a:lvl2pPr>
            <a:lvl3pPr marL="1371600" marR="0" lvl="2" indent="-304800" algn="l" rtl="0">
              <a:lnSpc>
                <a:spcPct val="115000"/>
              </a:lnSpc>
              <a:spcBef>
                <a:spcPts val="1600"/>
              </a:spcBef>
              <a:spcAft>
                <a:spcPts val="0"/>
              </a:spcAft>
              <a:buClr>
                <a:schemeClr val="dk1"/>
              </a:buClr>
              <a:buSzPts val="1200"/>
              <a:buFont typeface="Catamaran Light"/>
              <a:buChar char="■"/>
              <a:defRPr sz="1200" b="0" i="0" u="none" strike="noStrike" cap="none">
                <a:solidFill>
                  <a:schemeClr val="dk1"/>
                </a:solidFill>
                <a:latin typeface="Catamaran Light"/>
                <a:ea typeface="Catamaran Light"/>
                <a:cs typeface="Catamaran Light"/>
                <a:sym typeface="Catamaran Light"/>
              </a:defRPr>
            </a:lvl3pPr>
            <a:lvl4pPr marL="1828800" marR="0" lvl="3" indent="-304800" algn="l" rtl="0">
              <a:lnSpc>
                <a:spcPct val="115000"/>
              </a:lnSpc>
              <a:spcBef>
                <a:spcPts val="1600"/>
              </a:spcBef>
              <a:spcAft>
                <a:spcPts val="0"/>
              </a:spcAft>
              <a:buClr>
                <a:schemeClr val="dk1"/>
              </a:buClr>
              <a:buSzPts val="1200"/>
              <a:buFont typeface="Catamaran Light"/>
              <a:buChar char="●"/>
              <a:defRPr sz="1200" b="0" i="0" u="none" strike="noStrike" cap="none">
                <a:solidFill>
                  <a:schemeClr val="dk1"/>
                </a:solidFill>
                <a:latin typeface="Catamaran Light"/>
                <a:ea typeface="Catamaran Light"/>
                <a:cs typeface="Catamaran Light"/>
                <a:sym typeface="Catamaran Light"/>
              </a:defRPr>
            </a:lvl4pPr>
            <a:lvl5pPr marL="2286000" marR="0" lvl="4" indent="-304800" algn="l" rtl="0">
              <a:lnSpc>
                <a:spcPct val="115000"/>
              </a:lnSpc>
              <a:spcBef>
                <a:spcPts val="1600"/>
              </a:spcBef>
              <a:spcAft>
                <a:spcPts val="0"/>
              </a:spcAft>
              <a:buClr>
                <a:schemeClr val="dk1"/>
              </a:buClr>
              <a:buSzPts val="1200"/>
              <a:buFont typeface="Catamaran Light"/>
              <a:buChar char="○"/>
              <a:defRPr sz="1200" b="0" i="0" u="none" strike="noStrike" cap="none">
                <a:solidFill>
                  <a:schemeClr val="dk1"/>
                </a:solidFill>
                <a:latin typeface="Catamaran Light"/>
                <a:ea typeface="Catamaran Light"/>
                <a:cs typeface="Catamaran Light"/>
                <a:sym typeface="Catamaran Light"/>
              </a:defRPr>
            </a:lvl5pPr>
            <a:lvl6pPr marL="2743200" marR="0" lvl="5" indent="-304800" algn="l" rtl="0">
              <a:lnSpc>
                <a:spcPct val="115000"/>
              </a:lnSpc>
              <a:spcBef>
                <a:spcPts val="1600"/>
              </a:spcBef>
              <a:spcAft>
                <a:spcPts val="0"/>
              </a:spcAft>
              <a:buClr>
                <a:schemeClr val="dk1"/>
              </a:buClr>
              <a:buSzPts val="1200"/>
              <a:buFont typeface="Catamaran Light"/>
              <a:buChar char="■"/>
              <a:defRPr sz="1200" b="0" i="0" u="none" strike="noStrike" cap="none">
                <a:solidFill>
                  <a:schemeClr val="dk1"/>
                </a:solidFill>
                <a:latin typeface="Catamaran Light"/>
                <a:ea typeface="Catamaran Light"/>
                <a:cs typeface="Catamaran Light"/>
                <a:sym typeface="Catamaran Light"/>
              </a:defRPr>
            </a:lvl6pPr>
            <a:lvl7pPr marL="3200400" marR="0" lvl="6" indent="-304800" algn="l" rtl="0">
              <a:lnSpc>
                <a:spcPct val="115000"/>
              </a:lnSpc>
              <a:spcBef>
                <a:spcPts val="1600"/>
              </a:spcBef>
              <a:spcAft>
                <a:spcPts val="0"/>
              </a:spcAft>
              <a:buClr>
                <a:schemeClr val="dk1"/>
              </a:buClr>
              <a:buSzPts val="1200"/>
              <a:buFont typeface="Catamaran Light"/>
              <a:buChar char="●"/>
              <a:defRPr sz="1200" b="0" i="0" u="none" strike="noStrike" cap="none">
                <a:solidFill>
                  <a:schemeClr val="dk1"/>
                </a:solidFill>
                <a:latin typeface="Catamaran Light"/>
                <a:ea typeface="Catamaran Light"/>
                <a:cs typeface="Catamaran Light"/>
                <a:sym typeface="Catamaran Light"/>
              </a:defRPr>
            </a:lvl7pPr>
            <a:lvl8pPr marL="3657600" marR="0" lvl="7" indent="-304800" algn="l" rtl="0">
              <a:lnSpc>
                <a:spcPct val="115000"/>
              </a:lnSpc>
              <a:spcBef>
                <a:spcPts val="1600"/>
              </a:spcBef>
              <a:spcAft>
                <a:spcPts val="0"/>
              </a:spcAft>
              <a:buClr>
                <a:schemeClr val="dk1"/>
              </a:buClr>
              <a:buSzPts val="1200"/>
              <a:buFont typeface="Catamaran Light"/>
              <a:buChar char="○"/>
              <a:defRPr sz="1200" b="0" i="0" u="none" strike="noStrike" cap="none">
                <a:solidFill>
                  <a:schemeClr val="dk1"/>
                </a:solidFill>
                <a:latin typeface="Catamaran Light"/>
                <a:ea typeface="Catamaran Light"/>
                <a:cs typeface="Catamaran Light"/>
                <a:sym typeface="Catamaran Light"/>
              </a:defRPr>
            </a:lvl8pPr>
            <a:lvl9pPr marL="4114800" marR="0" lvl="8" indent="-304800" algn="l" rtl="0">
              <a:lnSpc>
                <a:spcPct val="115000"/>
              </a:lnSpc>
              <a:spcBef>
                <a:spcPts val="1600"/>
              </a:spcBef>
              <a:spcAft>
                <a:spcPts val="1600"/>
              </a:spcAft>
              <a:buClr>
                <a:schemeClr val="dk1"/>
              </a:buClr>
              <a:buSzPts val="1200"/>
              <a:buFont typeface="Catamaran Light"/>
              <a:buChar char="■"/>
              <a:defRPr sz="1200" b="0" i="0" u="none" strike="noStrike" cap="none">
                <a:solidFill>
                  <a:schemeClr val="dk1"/>
                </a:solidFill>
                <a:latin typeface="Catamaran Light"/>
                <a:ea typeface="Catamaran Light"/>
                <a:cs typeface="Catamaran Light"/>
                <a:sym typeface="Catamaran Light"/>
              </a:defRPr>
            </a:lvl9pPr>
          </a:lstStyle>
          <a:p>
            <a:r>
              <a:rPr lang="uk-UA" b="1" kern="0" noProof="1">
                <a:latin typeface="Segoe UI"/>
                <a:cs typeface="Segoe UI"/>
              </a:rPr>
              <a:t>Автоматизація драфтингу корпоративних документів</a:t>
            </a:r>
          </a:p>
        </p:txBody>
      </p:sp>
    </p:spTree>
    <p:extLst>
      <p:ext uri="{BB962C8B-B14F-4D97-AF65-F5344CB8AC3E}">
        <p14:creationId xmlns:p14="http://schemas.microsoft.com/office/powerpoint/2010/main" val="178379179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E473A9-253B-C37B-DF05-FA6153C27F1B}"/>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0289F49D-270E-2581-B909-8BF7710ED4EF}"/>
              </a:ext>
            </a:extLst>
          </p:cNvPr>
          <p:cNvSpPr txBox="1"/>
          <p:nvPr/>
        </p:nvSpPr>
        <p:spPr>
          <a:xfrm>
            <a:off x="894743" y="2178671"/>
            <a:ext cx="4960014" cy="2237151"/>
          </a:xfrm>
          <a:prstGeom prst="rect">
            <a:avLst/>
          </a:prstGeom>
          <a:noFill/>
        </p:spPr>
        <p:txBody>
          <a:bodyPr wrap="square" rtlCol="0">
            <a:spAutoFit/>
          </a:bodyPr>
          <a:lstStyle>
            <a:defPPr>
              <a:defRPr lang="en-US"/>
            </a:defPPr>
            <a:lvl1pPr marL="0" algn="l" defTabSz="685721" rtl="0" eaLnBrk="1" latinLnBrk="0" hangingPunct="1">
              <a:defRPr sz="1352" kern="1200">
                <a:solidFill>
                  <a:schemeClr val="tx1"/>
                </a:solidFill>
                <a:latin typeface="+mn-lt"/>
                <a:ea typeface="+mn-ea"/>
                <a:cs typeface="+mn-cs"/>
              </a:defRPr>
            </a:lvl1pPr>
            <a:lvl2pPr marL="342860" algn="l" defTabSz="685721" rtl="0" eaLnBrk="1" latinLnBrk="0" hangingPunct="1">
              <a:defRPr sz="1352" kern="1200">
                <a:solidFill>
                  <a:schemeClr val="tx1"/>
                </a:solidFill>
                <a:latin typeface="+mn-lt"/>
                <a:ea typeface="+mn-ea"/>
                <a:cs typeface="+mn-cs"/>
              </a:defRPr>
            </a:lvl2pPr>
            <a:lvl3pPr marL="685721" algn="l" defTabSz="685721" rtl="0" eaLnBrk="1" latinLnBrk="0" hangingPunct="1">
              <a:defRPr sz="1352" kern="1200">
                <a:solidFill>
                  <a:schemeClr val="tx1"/>
                </a:solidFill>
                <a:latin typeface="+mn-lt"/>
                <a:ea typeface="+mn-ea"/>
                <a:cs typeface="+mn-cs"/>
              </a:defRPr>
            </a:lvl3pPr>
            <a:lvl4pPr marL="1028579" algn="l" defTabSz="685721" rtl="0" eaLnBrk="1" latinLnBrk="0" hangingPunct="1">
              <a:defRPr sz="1352" kern="1200">
                <a:solidFill>
                  <a:schemeClr val="tx1"/>
                </a:solidFill>
                <a:latin typeface="+mn-lt"/>
                <a:ea typeface="+mn-ea"/>
                <a:cs typeface="+mn-cs"/>
              </a:defRPr>
            </a:lvl4pPr>
            <a:lvl5pPr marL="1371440" algn="l" defTabSz="685721" rtl="0" eaLnBrk="1" latinLnBrk="0" hangingPunct="1">
              <a:defRPr sz="1352" kern="1200">
                <a:solidFill>
                  <a:schemeClr val="tx1"/>
                </a:solidFill>
                <a:latin typeface="+mn-lt"/>
                <a:ea typeface="+mn-ea"/>
                <a:cs typeface="+mn-cs"/>
              </a:defRPr>
            </a:lvl5pPr>
            <a:lvl6pPr marL="1714300" algn="l" defTabSz="685721" rtl="0" eaLnBrk="1" latinLnBrk="0" hangingPunct="1">
              <a:defRPr sz="1352" kern="1200">
                <a:solidFill>
                  <a:schemeClr val="tx1"/>
                </a:solidFill>
                <a:latin typeface="+mn-lt"/>
                <a:ea typeface="+mn-ea"/>
                <a:cs typeface="+mn-cs"/>
              </a:defRPr>
            </a:lvl6pPr>
            <a:lvl7pPr marL="2057159" algn="l" defTabSz="685721" rtl="0" eaLnBrk="1" latinLnBrk="0" hangingPunct="1">
              <a:defRPr sz="1352" kern="1200">
                <a:solidFill>
                  <a:schemeClr val="tx1"/>
                </a:solidFill>
                <a:latin typeface="+mn-lt"/>
                <a:ea typeface="+mn-ea"/>
                <a:cs typeface="+mn-cs"/>
              </a:defRPr>
            </a:lvl7pPr>
            <a:lvl8pPr marL="2400019" algn="l" defTabSz="685721" rtl="0" eaLnBrk="1" latinLnBrk="0" hangingPunct="1">
              <a:defRPr sz="1352" kern="1200">
                <a:solidFill>
                  <a:schemeClr val="tx1"/>
                </a:solidFill>
                <a:latin typeface="+mn-lt"/>
                <a:ea typeface="+mn-ea"/>
                <a:cs typeface="+mn-cs"/>
              </a:defRPr>
            </a:lvl8pPr>
            <a:lvl9pPr marL="2742879" algn="l" defTabSz="685721" rtl="0" eaLnBrk="1" latinLnBrk="0" hangingPunct="1">
              <a:defRPr sz="1352" kern="1200">
                <a:solidFill>
                  <a:schemeClr val="tx1"/>
                </a:solidFill>
                <a:latin typeface="+mn-lt"/>
                <a:ea typeface="+mn-ea"/>
                <a:cs typeface="+mn-cs"/>
              </a:defRPr>
            </a:lvl9pPr>
          </a:lstStyle>
          <a:p>
            <a:pPr marL="285750" indent="-285750">
              <a:spcAft>
                <a:spcPts val="1800"/>
              </a:spcAft>
              <a:buClr>
                <a:schemeClr val="tx1"/>
              </a:buClr>
              <a:buFont typeface="Wingdings" panose="05000000000000000000" pitchFamily="2" charset="2"/>
              <a:buChar char="q"/>
            </a:pPr>
            <a:r>
              <a:rPr lang="uk-UA" sz="1323" noProof="1">
                <a:latin typeface="Segoe UI" panose="020B0502040204020203" pitchFamily="34" charset="0"/>
                <a:ea typeface="Open Sans" panose="020B0606030504020204" pitchFamily="34" charset="0"/>
                <a:cs typeface="Segoe UI" panose="020B0502040204020203" pitchFamily="34" charset="0"/>
              </a:rPr>
              <a:t>~150 компаній в Групі ДТЕК</a:t>
            </a:r>
          </a:p>
          <a:p>
            <a:pPr marL="285750" indent="-285750">
              <a:spcAft>
                <a:spcPts val="1800"/>
              </a:spcAft>
              <a:buClr>
                <a:schemeClr val="tx1"/>
              </a:buClr>
              <a:buFont typeface="Wingdings" panose="05000000000000000000" pitchFamily="2" charset="2"/>
              <a:buChar char="q"/>
            </a:pPr>
            <a:r>
              <a:rPr lang="uk-UA" sz="1323" noProof="1">
                <a:latin typeface="Segoe UI" panose="020B0502040204020203" pitchFamily="34" charset="0"/>
                <a:ea typeface="Open Sans" panose="020B0606030504020204" pitchFamily="34" charset="0"/>
                <a:cs typeface="Segoe UI" panose="020B0502040204020203" pitchFamily="34" charset="0"/>
              </a:rPr>
              <a:t>~50 типів корп. документів</a:t>
            </a:r>
          </a:p>
          <a:p>
            <a:pPr marL="285750" indent="-285750">
              <a:spcAft>
                <a:spcPts val="1800"/>
              </a:spcAft>
              <a:buClr>
                <a:schemeClr val="tx1"/>
              </a:buClr>
              <a:buFont typeface="Wingdings" panose="05000000000000000000" pitchFamily="2" charset="2"/>
              <a:buChar char="q"/>
            </a:pPr>
            <a:r>
              <a:rPr lang="uk-UA" sz="1323" noProof="1">
                <a:latin typeface="Segoe UI" panose="020B0502040204020203" pitchFamily="34" charset="0"/>
                <a:ea typeface="Open Sans" panose="020B0606030504020204" pitchFamily="34" charset="0"/>
                <a:cs typeface="Segoe UI" panose="020B0502040204020203" pitchFamily="34" charset="0"/>
              </a:rPr>
              <a:t>~ 2000 корп. документів в рік</a:t>
            </a:r>
          </a:p>
          <a:p>
            <a:pPr marL="285750" indent="-285750">
              <a:spcAft>
                <a:spcPts val="1800"/>
              </a:spcAft>
              <a:buClr>
                <a:schemeClr val="tx1"/>
              </a:buClr>
              <a:buFont typeface="Wingdings" panose="05000000000000000000" pitchFamily="2" charset="2"/>
              <a:buChar char="q"/>
            </a:pPr>
            <a:r>
              <a:rPr lang="uk-UA" sz="1323" noProof="1">
                <a:latin typeface="Segoe UI" panose="020B0502040204020203" pitchFamily="34" charset="0"/>
                <a:ea typeface="Open Sans" panose="020B0606030504020204" pitchFamily="34" charset="0"/>
                <a:cs typeface="Segoe UI" panose="020B0502040204020203" pitchFamily="34" charset="0"/>
              </a:rPr>
              <a:t>~150 реєстрів корп. рішень, запитів та звернень, які велися вручну</a:t>
            </a:r>
          </a:p>
          <a:p>
            <a:pPr marL="285750" indent="-285750">
              <a:spcAft>
                <a:spcPts val="1800"/>
              </a:spcAft>
              <a:buClr>
                <a:schemeClr val="tx1"/>
              </a:buClr>
              <a:buFont typeface="Wingdings" panose="05000000000000000000" pitchFamily="2" charset="2"/>
              <a:buChar char="q"/>
            </a:pPr>
            <a:r>
              <a:rPr lang="uk-UA" sz="1323" noProof="1">
                <a:latin typeface="Segoe UI" panose="020B0502040204020203" pitchFamily="34" charset="0"/>
                <a:ea typeface="Open Sans" panose="020B0606030504020204" pitchFamily="34" charset="0"/>
                <a:cs typeface="Segoe UI" panose="020B0502040204020203" pitchFamily="34" charset="0"/>
              </a:rPr>
              <a:t>~150 папок для зберігання документів вручну</a:t>
            </a:r>
          </a:p>
        </p:txBody>
      </p:sp>
      <p:sp>
        <p:nvSpPr>
          <p:cNvPr id="9" name="Прямоугольник 6">
            <a:extLst>
              <a:ext uri="{FF2B5EF4-FFF2-40B4-BE49-F238E27FC236}">
                <a16:creationId xmlns:a16="http://schemas.microsoft.com/office/drawing/2014/main" id="{72110133-DCA6-D3F2-B781-6545744B5D1B}"/>
              </a:ext>
            </a:extLst>
          </p:cNvPr>
          <p:cNvSpPr/>
          <p:nvPr/>
        </p:nvSpPr>
        <p:spPr>
          <a:xfrm flipH="1">
            <a:off x="6231467" y="1654028"/>
            <a:ext cx="48834" cy="3806952"/>
          </a:xfrm>
          <a:prstGeom prst="rect">
            <a:avLst/>
          </a:prstGeom>
          <a:solidFill>
            <a:srgbClr val="4343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685721" rtl="0" eaLnBrk="1" latinLnBrk="0" hangingPunct="1">
              <a:defRPr sz="1352" kern="1200">
                <a:solidFill>
                  <a:schemeClr val="tx1"/>
                </a:solidFill>
                <a:latin typeface="+mn-lt"/>
                <a:ea typeface="+mn-ea"/>
                <a:cs typeface="+mn-cs"/>
              </a:defRPr>
            </a:lvl1pPr>
            <a:lvl2pPr marL="342860" algn="l" defTabSz="685721" rtl="0" eaLnBrk="1" latinLnBrk="0" hangingPunct="1">
              <a:defRPr sz="1352" kern="1200">
                <a:solidFill>
                  <a:schemeClr val="tx1"/>
                </a:solidFill>
                <a:latin typeface="+mn-lt"/>
                <a:ea typeface="+mn-ea"/>
                <a:cs typeface="+mn-cs"/>
              </a:defRPr>
            </a:lvl2pPr>
            <a:lvl3pPr marL="685721" algn="l" defTabSz="685721" rtl="0" eaLnBrk="1" latinLnBrk="0" hangingPunct="1">
              <a:defRPr sz="1352" kern="1200">
                <a:solidFill>
                  <a:schemeClr val="tx1"/>
                </a:solidFill>
                <a:latin typeface="+mn-lt"/>
                <a:ea typeface="+mn-ea"/>
                <a:cs typeface="+mn-cs"/>
              </a:defRPr>
            </a:lvl3pPr>
            <a:lvl4pPr marL="1028579" algn="l" defTabSz="685721" rtl="0" eaLnBrk="1" latinLnBrk="0" hangingPunct="1">
              <a:defRPr sz="1352" kern="1200">
                <a:solidFill>
                  <a:schemeClr val="tx1"/>
                </a:solidFill>
                <a:latin typeface="+mn-lt"/>
                <a:ea typeface="+mn-ea"/>
                <a:cs typeface="+mn-cs"/>
              </a:defRPr>
            </a:lvl4pPr>
            <a:lvl5pPr marL="1371440" algn="l" defTabSz="685721" rtl="0" eaLnBrk="1" latinLnBrk="0" hangingPunct="1">
              <a:defRPr sz="1352" kern="1200">
                <a:solidFill>
                  <a:schemeClr val="tx1"/>
                </a:solidFill>
                <a:latin typeface="+mn-lt"/>
                <a:ea typeface="+mn-ea"/>
                <a:cs typeface="+mn-cs"/>
              </a:defRPr>
            </a:lvl5pPr>
            <a:lvl6pPr marL="1714300" algn="l" defTabSz="685721" rtl="0" eaLnBrk="1" latinLnBrk="0" hangingPunct="1">
              <a:defRPr sz="1352" kern="1200">
                <a:solidFill>
                  <a:schemeClr val="tx1"/>
                </a:solidFill>
                <a:latin typeface="+mn-lt"/>
                <a:ea typeface="+mn-ea"/>
                <a:cs typeface="+mn-cs"/>
              </a:defRPr>
            </a:lvl6pPr>
            <a:lvl7pPr marL="2057159" algn="l" defTabSz="685721" rtl="0" eaLnBrk="1" latinLnBrk="0" hangingPunct="1">
              <a:defRPr sz="1352" kern="1200">
                <a:solidFill>
                  <a:schemeClr val="tx1"/>
                </a:solidFill>
                <a:latin typeface="+mn-lt"/>
                <a:ea typeface="+mn-ea"/>
                <a:cs typeface="+mn-cs"/>
              </a:defRPr>
            </a:lvl7pPr>
            <a:lvl8pPr marL="2400019" algn="l" defTabSz="685721" rtl="0" eaLnBrk="1" latinLnBrk="0" hangingPunct="1">
              <a:defRPr sz="1352" kern="1200">
                <a:solidFill>
                  <a:schemeClr val="tx1"/>
                </a:solidFill>
                <a:latin typeface="+mn-lt"/>
                <a:ea typeface="+mn-ea"/>
                <a:cs typeface="+mn-cs"/>
              </a:defRPr>
            </a:lvl8pPr>
            <a:lvl9pPr marL="2742879" algn="l" defTabSz="685721" rtl="0" eaLnBrk="1" latinLnBrk="0" hangingPunct="1">
              <a:defRPr sz="1352" kern="1200">
                <a:solidFill>
                  <a:schemeClr val="tx1"/>
                </a:solidFill>
                <a:latin typeface="+mn-lt"/>
                <a:ea typeface="+mn-ea"/>
                <a:cs typeface="+mn-cs"/>
              </a:defRPr>
            </a:lvl9pPr>
          </a:lstStyle>
          <a:p>
            <a:pPr algn="ctr"/>
            <a:endParaRPr lang="uk-UA" sz="1118" noProof="1"/>
          </a:p>
        </p:txBody>
      </p:sp>
      <p:sp>
        <p:nvSpPr>
          <p:cNvPr id="10" name="Title 1">
            <a:extLst>
              <a:ext uri="{FF2B5EF4-FFF2-40B4-BE49-F238E27FC236}">
                <a16:creationId xmlns:a16="http://schemas.microsoft.com/office/drawing/2014/main" id="{0F5698B0-B2BB-2791-7A9E-81CA5F1F173D}"/>
              </a:ext>
            </a:extLst>
          </p:cNvPr>
          <p:cNvSpPr txBox="1">
            <a:spLocks/>
          </p:cNvSpPr>
          <p:nvPr/>
        </p:nvSpPr>
        <p:spPr>
          <a:xfrm>
            <a:off x="602748" y="118850"/>
            <a:ext cx="11053043" cy="772690"/>
          </a:xfrm>
          <a:prstGeom prst="rect">
            <a:avLst/>
          </a:prstGeom>
        </p:spPr>
        <p:txBody>
          <a:bodyPr lIns="91440" tIns="45720" rIns="91440" bIns="45720" anchor="t">
            <a:noAutofit/>
          </a:bodyPr>
          <a:lstStyle>
            <a:lvl1pPr algn="l" defTabSz="1007352" rtl="0" eaLnBrk="1" latinLnBrk="0" hangingPunct="1">
              <a:lnSpc>
                <a:spcPct val="90000"/>
              </a:lnSpc>
              <a:spcBef>
                <a:spcPct val="0"/>
              </a:spcBef>
              <a:buNone/>
              <a:defRPr sz="2597" b="1" kern="1200" baseline="0">
                <a:solidFill>
                  <a:srgbClr val="000000"/>
                </a:solidFill>
                <a:latin typeface="+mj-lt"/>
                <a:ea typeface="+mj-ea"/>
                <a:cs typeface="+mj-cs"/>
              </a:defRPr>
            </a:lvl1pPr>
          </a:lstStyle>
          <a:p>
            <a:r>
              <a:rPr lang="uk-UA" sz="2400" cap="all" spc="-10" noProof="1">
                <a:solidFill>
                  <a:srgbClr val="1F1F1F"/>
                </a:solidFill>
                <a:latin typeface="Segoe UI"/>
                <a:cs typeface="Segoe UI"/>
              </a:rPr>
              <a:t>ПЕРЕДУМОВИ ТА ПРОБЛЕМАТИКА ПРОЦЕСУ ДРАФТИНГУ КОРПОРАТИВНИХ ДОКУМЕНТІВ</a:t>
            </a:r>
            <a:endParaRPr lang="uk-UA" sz="2400" b="0" noProof="1">
              <a:latin typeface="Segoe UI"/>
              <a:cs typeface="Segoe UI"/>
            </a:endParaRPr>
          </a:p>
        </p:txBody>
      </p:sp>
      <p:sp>
        <p:nvSpPr>
          <p:cNvPr id="2" name="Прямокутник: округлені кути 1">
            <a:extLst>
              <a:ext uri="{FF2B5EF4-FFF2-40B4-BE49-F238E27FC236}">
                <a16:creationId xmlns:a16="http://schemas.microsoft.com/office/drawing/2014/main" id="{0E0393E1-1840-05EE-F0CE-F8937148E6DF}"/>
              </a:ext>
            </a:extLst>
          </p:cNvPr>
          <p:cNvSpPr/>
          <p:nvPr/>
        </p:nvSpPr>
        <p:spPr>
          <a:xfrm>
            <a:off x="894743" y="1654028"/>
            <a:ext cx="4825725" cy="404634"/>
          </a:xfrm>
          <a:prstGeom prst="roundRect">
            <a:avLst/>
          </a:prstGeom>
          <a:solidFill>
            <a:srgbClr val="FFE5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uk-UA" sz="1500" b="1" noProof="1">
                <a:solidFill>
                  <a:prstClr val="black"/>
                </a:solidFill>
                <a:latin typeface="Segoe UI" panose="020B0502040204020203" pitchFamily="34" charset="0"/>
                <a:cs typeface="Segoe UI" panose="020B0502040204020203" pitchFamily="34" charset="0"/>
              </a:rPr>
              <a:t>ПЕРЕДУМОВИ</a:t>
            </a:r>
            <a:endParaRPr lang="uk-UA" sz="1500" dirty="0"/>
          </a:p>
        </p:txBody>
      </p:sp>
      <p:sp>
        <p:nvSpPr>
          <p:cNvPr id="12" name="Прямокутник: округлені кути 11">
            <a:extLst>
              <a:ext uri="{FF2B5EF4-FFF2-40B4-BE49-F238E27FC236}">
                <a16:creationId xmlns:a16="http://schemas.microsoft.com/office/drawing/2014/main" id="{22FA3E42-6E35-0453-038A-C7B19CC94A2C}"/>
              </a:ext>
            </a:extLst>
          </p:cNvPr>
          <p:cNvSpPr/>
          <p:nvPr/>
        </p:nvSpPr>
        <p:spPr>
          <a:xfrm>
            <a:off x="6641150" y="1654028"/>
            <a:ext cx="4825725" cy="404634"/>
          </a:xfrm>
          <a:prstGeom prst="roundRect">
            <a:avLst/>
          </a:prstGeom>
          <a:solidFill>
            <a:srgbClr val="8F8F8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uk-UA" sz="1500" b="1" noProof="1">
                <a:solidFill>
                  <a:schemeClr val="bg1"/>
                </a:solidFill>
                <a:latin typeface="Segoe UI" panose="020B0502040204020203" pitchFamily="34" charset="0"/>
                <a:cs typeface="Segoe UI" panose="020B0502040204020203" pitchFamily="34" charset="0"/>
              </a:rPr>
              <a:t>ПРОБЛЕМАТИКА</a:t>
            </a:r>
            <a:endParaRPr lang="uk-UA" sz="1500" dirty="0">
              <a:solidFill>
                <a:schemeClr val="bg1"/>
              </a:solidFill>
            </a:endParaRPr>
          </a:p>
        </p:txBody>
      </p:sp>
      <p:sp>
        <p:nvSpPr>
          <p:cNvPr id="14" name="TextBox 13">
            <a:extLst>
              <a:ext uri="{FF2B5EF4-FFF2-40B4-BE49-F238E27FC236}">
                <a16:creationId xmlns:a16="http://schemas.microsoft.com/office/drawing/2014/main" id="{D3A5D724-9E81-A789-17DA-6509FF28D8DA}"/>
              </a:ext>
            </a:extLst>
          </p:cNvPr>
          <p:cNvSpPr txBox="1"/>
          <p:nvPr/>
        </p:nvSpPr>
        <p:spPr>
          <a:xfrm>
            <a:off x="6695777" y="2178671"/>
            <a:ext cx="4960014" cy="3282309"/>
          </a:xfrm>
          <a:prstGeom prst="rect">
            <a:avLst/>
          </a:prstGeom>
          <a:noFill/>
        </p:spPr>
        <p:txBody>
          <a:bodyPr wrap="square" rtlCol="0">
            <a:spAutoFit/>
          </a:bodyPr>
          <a:lstStyle>
            <a:defPPr>
              <a:defRPr lang="en-US"/>
            </a:defPPr>
            <a:lvl1pPr marL="0" algn="l" defTabSz="685721" rtl="0" eaLnBrk="1" latinLnBrk="0" hangingPunct="1">
              <a:defRPr sz="1352" kern="1200">
                <a:solidFill>
                  <a:schemeClr val="tx1"/>
                </a:solidFill>
                <a:latin typeface="+mn-lt"/>
                <a:ea typeface="+mn-ea"/>
                <a:cs typeface="+mn-cs"/>
              </a:defRPr>
            </a:lvl1pPr>
            <a:lvl2pPr marL="342860" algn="l" defTabSz="685721" rtl="0" eaLnBrk="1" latinLnBrk="0" hangingPunct="1">
              <a:defRPr sz="1352" kern="1200">
                <a:solidFill>
                  <a:schemeClr val="tx1"/>
                </a:solidFill>
                <a:latin typeface="+mn-lt"/>
                <a:ea typeface="+mn-ea"/>
                <a:cs typeface="+mn-cs"/>
              </a:defRPr>
            </a:lvl2pPr>
            <a:lvl3pPr marL="685721" algn="l" defTabSz="685721" rtl="0" eaLnBrk="1" latinLnBrk="0" hangingPunct="1">
              <a:defRPr sz="1352" kern="1200">
                <a:solidFill>
                  <a:schemeClr val="tx1"/>
                </a:solidFill>
                <a:latin typeface="+mn-lt"/>
                <a:ea typeface="+mn-ea"/>
                <a:cs typeface="+mn-cs"/>
              </a:defRPr>
            </a:lvl3pPr>
            <a:lvl4pPr marL="1028579" algn="l" defTabSz="685721" rtl="0" eaLnBrk="1" latinLnBrk="0" hangingPunct="1">
              <a:defRPr sz="1352" kern="1200">
                <a:solidFill>
                  <a:schemeClr val="tx1"/>
                </a:solidFill>
                <a:latin typeface="+mn-lt"/>
                <a:ea typeface="+mn-ea"/>
                <a:cs typeface="+mn-cs"/>
              </a:defRPr>
            </a:lvl4pPr>
            <a:lvl5pPr marL="1371440" algn="l" defTabSz="685721" rtl="0" eaLnBrk="1" latinLnBrk="0" hangingPunct="1">
              <a:defRPr sz="1352" kern="1200">
                <a:solidFill>
                  <a:schemeClr val="tx1"/>
                </a:solidFill>
                <a:latin typeface="+mn-lt"/>
                <a:ea typeface="+mn-ea"/>
                <a:cs typeface="+mn-cs"/>
              </a:defRPr>
            </a:lvl5pPr>
            <a:lvl6pPr marL="1714300" algn="l" defTabSz="685721" rtl="0" eaLnBrk="1" latinLnBrk="0" hangingPunct="1">
              <a:defRPr sz="1352" kern="1200">
                <a:solidFill>
                  <a:schemeClr val="tx1"/>
                </a:solidFill>
                <a:latin typeface="+mn-lt"/>
                <a:ea typeface="+mn-ea"/>
                <a:cs typeface="+mn-cs"/>
              </a:defRPr>
            </a:lvl6pPr>
            <a:lvl7pPr marL="2057159" algn="l" defTabSz="685721" rtl="0" eaLnBrk="1" latinLnBrk="0" hangingPunct="1">
              <a:defRPr sz="1352" kern="1200">
                <a:solidFill>
                  <a:schemeClr val="tx1"/>
                </a:solidFill>
                <a:latin typeface="+mn-lt"/>
                <a:ea typeface="+mn-ea"/>
                <a:cs typeface="+mn-cs"/>
              </a:defRPr>
            </a:lvl7pPr>
            <a:lvl8pPr marL="2400019" algn="l" defTabSz="685721" rtl="0" eaLnBrk="1" latinLnBrk="0" hangingPunct="1">
              <a:defRPr sz="1352" kern="1200">
                <a:solidFill>
                  <a:schemeClr val="tx1"/>
                </a:solidFill>
                <a:latin typeface="+mn-lt"/>
                <a:ea typeface="+mn-ea"/>
                <a:cs typeface="+mn-cs"/>
              </a:defRPr>
            </a:lvl8pPr>
            <a:lvl9pPr marL="2742879" algn="l" defTabSz="685721" rtl="0" eaLnBrk="1" latinLnBrk="0" hangingPunct="1">
              <a:defRPr sz="1352" kern="1200">
                <a:solidFill>
                  <a:schemeClr val="tx1"/>
                </a:solidFill>
                <a:latin typeface="+mn-lt"/>
                <a:ea typeface="+mn-ea"/>
                <a:cs typeface="+mn-cs"/>
              </a:defRPr>
            </a:lvl9pPr>
          </a:lstStyle>
          <a:p>
            <a:pPr marL="285750" indent="-285750">
              <a:spcAft>
                <a:spcPts val="1800"/>
              </a:spcAft>
              <a:buClr>
                <a:schemeClr val="tx1"/>
              </a:buClr>
              <a:buSzPct val="100000"/>
              <a:buFont typeface="Wingdings" panose="05000000000000000000" pitchFamily="2" charset="2"/>
              <a:buChar char="q"/>
            </a:pPr>
            <a:r>
              <a:rPr lang="uk-UA" sz="1323" noProof="1">
                <a:latin typeface="Segoe UI" panose="020B0502040204020203" pitchFamily="34" charset="0"/>
                <a:ea typeface="Open Sans" panose="020B0606030504020204" pitchFamily="34" charset="0"/>
                <a:cs typeface="Segoe UI" panose="020B0502040204020203" pitchFamily="34" charset="0"/>
              </a:rPr>
              <a:t>Значний обсяг трудовитрат на пошук потрібного шаблону, заповнення реквізитів, оформлення корп. документів та організацію почергового підписання</a:t>
            </a:r>
          </a:p>
          <a:p>
            <a:pPr marL="285750" indent="-285750">
              <a:spcAft>
                <a:spcPts val="1800"/>
              </a:spcAft>
              <a:buClr>
                <a:schemeClr val="tx1"/>
              </a:buClr>
              <a:buSzPct val="100000"/>
              <a:buFont typeface="Wingdings" panose="05000000000000000000" pitchFamily="2" charset="2"/>
              <a:buChar char="q"/>
            </a:pPr>
            <a:r>
              <a:rPr lang="ru-RU" sz="1323" noProof="1">
                <a:latin typeface="Segoe UI" panose="020B0502040204020203" pitchFamily="34" charset="0"/>
                <a:ea typeface="Open Sans" panose="020B0606030504020204" pitchFamily="34" charset="0"/>
                <a:cs typeface="Segoe UI" panose="020B0502040204020203" pitchFamily="34" charset="0"/>
              </a:rPr>
              <a:t>Значний обсяг трудовитрат на ведення реєстрів</a:t>
            </a:r>
          </a:p>
          <a:p>
            <a:pPr marL="285750" indent="-285750">
              <a:spcAft>
                <a:spcPts val="1800"/>
              </a:spcAft>
              <a:buClr>
                <a:schemeClr val="tx1"/>
              </a:buClr>
              <a:buSzPct val="100000"/>
              <a:buFont typeface="Wingdings" panose="05000000000000000000" pitchFamily="2" charset="2"/>
              <a:buChar char="q"/>
            </a:pPr>
            <a:r>
              <a:rPr lang="ru-RU" sz="1323" noProof="1">
                <a:latin typeface="Segoe UI" panose="020B0502040204020203" pitchFamily="34" charset="0"/>
                <a:ea typeface="Open Sans" panose="020B0606030504020204" pitchFamily="34" charset="0"/>
                <a:cs typeface="Segoe UI" panose="020B0502040204020203" pitchFamily="34" charset="0"/>
              </a:rPr>
              <a:t>Значний обсяг трудовитрат на зберігання документів, а також пошук інформації та документів </a:t>
            </a:r>
            <a:endParaRPr lang="uk-UA" sz="1323" noProof="1">
              <a:latin typeface="Segoe UI" panose="020B0502040204020203" pitchFamily="34" charset="0"/>
              <a:ea typeface="Open Sans" panose="020B0606030504020204" pitchFamily="34" charset="0"/>
              <a:cs typeface="Segoe UI" panose="020B0502040204020203" pitchFamily="34" charset="0"/>
            </a:endParaRPr>
          </a:p>
          <a:p>
            <a:pPr marL="285750" indent="-285750">
              <a:spcAft>
                <a:spcPts val="1800"/>
              </a:spcAft>
              <a:buClr>
                <a:schemeClr val="tx1"/>
              </a:buClr>
              <a:buSzPct val="100000"/>
              <a:buFont typeface="Wingdings" panose="05000000000000000000" pitchFamily="2" charset="2"/>
              <a:buChar char="q"/>
            </a:pPr>
            <a:r>
              <a:rPr lang="uk-UA" sz="1323" noProof="1">
                <a:latin typeface="Segoe UI" panose="020B0502040204020203" pitchFamily="34" charset="0"/>
                <a:ea typeface="Open Sans" panose="020B0606030504020204" pitchFamily="34" charset="0"/>
                <a:cs typeface="Segoe UI" panose="020B0502040204020203" pitchFamily="34" charset="0"/>
              </a:rPr>
              <a:t>Значний ризик помилок через людський фактор</a:t>
            </a:r>
          </a:p>
          <a:p>
            <a:pPr marL="285750" indent="-285750">
              <a:spcAft>
                <a:spcPts val="1800"/>
              </a:spcAft>
              <a:buClr>
                <a:schemeClr val="tx1"/>
              </a:buClr>
              <a:buSzPct val="100000"/>
              <a:buFont typeface="Wingdings" panose="05000000000000000000" pitchFamily="2" charset="2"/>
              <a:buChar char="q"/>
            </a:pPr>
            <a:r>
              <a:rPr lang="uk-UA" sz="1323" noProof="1">
                <a:latin typeface="Segoe UI" panose="020B0502040204020203" pitchFamily="34" charset="0"/>
                <a:ea typeface="Open Sans" panose="020B0606030504020204" pitchFamily="34" charset="0"/>
                <a:cs typeface="Segoe UI" panose="020B0502040204020203" pitchFamily="34" charset="0"/>
              </a:rPr>
              <a:t>Розсинхронізація процесу оформлення корп. документів між Бізнесами Групи ДТЕК</a:t>
            </a:r>
          </a:p>
          <a:p>
            <a:pPr marL="285750" indent="-285750">
              <a:spcAft>
                <a:spcPts val="1800"/>
              </a:spcAft>
              <a:buClr>
                <a:schemeClr val="tx1"/>
              </a:buClr>
              <a:buSzPct val="100000"/>
              <a:buFont typeface="Wingdings" panose="05000000000000000000" pitchFamily="2" charset="2"/>
              <a:buChar char="q"/>
            </a:pPr>
            <a:r>
              <a:rPr lang="uk-UA" sz="1323" noProof="1">
                <a:latin typeface="Segoe UI" panose="020B0502040204020203" pitchFamily="34" charset="0"/>
                <a:ea typeface="Open Sans" panose="020B0606030504020204" pitchFamily="34" charset="0"/>
                <a:cs typeface="Segoe UI" panose="020B0502040204020203" pitchFamily="34" charset="0"/>
              </a:rPr>
              <a:t>Значний період адаптації нових кадрів</a:t>
            </a:r>
          </a:p>
        </p:txBody>
      </p:sp>
    </p:spTree>
    <p:extLst>
      <p:ext uri="{BB962C8B-B14F-4D97-AF65-F5344CB8AC3E}">
        <p14:creationId xmlns:p14="http://schemas.microsoft.com/office/powerpoint/2010/main" val="219197298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AD334-679F-7F16-31F0-533FB92F4AD1}"/>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78CF57AB-96CB-CAD0-01E3-96A6C589D7AE}"/>
              </a:ext>
            </a:extLst>
          </p:cNvPr>
          <p:cNvSpPr txBox="1"/>
          <p:nvPr/>
        </p:nvSpPr>
        <p:spPr>
          <a:xfrm>
            <a:off x="777475" y="141257"/>
            <a:ext cx="12662123" cy="461665"/>
          </a:xfrm>
          <a:prstGeom prst="rect">
            <a:avLst/>
          </a:prstGeom>
          <a:noFill/>
        </p:spPr>
        <p:txBody>
          <a:bodyPr wrap="square" rtlCol="0">
            <a:spAutoFit/>
          </a:bodyPr>
          <a:lstStyle/>
          <a:p>
            <a:r>
              <a:rPr lang="uk-UA" sz="2400" b="1" noProof="1">
                <a:latin typeface="Segoe UI" panose="020B0502040204020203" pitchFamily="34" charset="0"/>
                <a:ea typeface="Open Sans" panose="020B0606030504020204" pitchFamily="34" charset="0"/>
                <a:cs typeface="Segoe UI" panose="020B0502040204020203" pitchFamily="34" charset="0"/>
              </a:rPr>
              <a:t>РІШЕННЯ</a:t>
            </a:r>
          </a:p>
        </p:txBody>
      </p:sp>
      <p:sp>
        <p:nvSpPr>
          <p:cNvPr id="4" name="Овал 3">
            <a:extLst>
              <a:ext uri="{FF2B5EF4-FFF2-40B4-BE49-F238E27FC236}">
                <a16:creationId xmlns:a16="http://schemas.microsoft.com/office/drawing/2014/main" id="{6A58AAFA-F469-40AF-C5BA-E669183081F5}"/>
              </a:ext>
            </a:extLst>
          </p:cNvPr>
          <p:cNvSpPr/>
          <p:nvPr/>
        </p:nvSpPr>
        <p:spPr>
          <a:xfrm>
            <a:off x="777475" y="2057399"/>
            <a:ext cx="2526030" cy="2320291"/>
          </a:xfrm>
          <a:prstGeom prst="ellipse">
            <a:avLst/>
          </a:prstGeom>
          <a:solidFill>
            <a:srgbClr val="FED1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ru-RU" sz="1400" b="1" noProof="1">
                <a:solidFill>
                  <a:schemeClr val="bg2"/>
                </a:solidFill>
                <a:latin typeface="Segoe UI" panose="020B0502040204020203" pitchFamily="34" charset="0"/>
                <a:cs typeface="Segoe UI" panose="020B0502040204020203" pitchFamily="34" charset="0"/>
              </a:rPr>
              <a:t>1. Драфтинг корп. документів за допомогою автоматизованої системи</a:t>
            </a:r>
            <a:endParaRPr lang="uk-UA" sz="1400" b="1" noProof="1">
              <a:solidFill>
                <a:schemeClr val="bg2"/>
              </a:solidFill>
              <a:latin typeface="Segoe UI" panose="020B0502040204020203" pitchFamily="34" charset="0"/>
              <a:cs typeface="Segoe UI" panose="020B0502040204020203" pitchFamily="34" charset="0"/>
            </a:endParaRPr>
          </a:p>
        </p:txBody>
      </p:sp>
      <p:sp>
        <p:nvSpPr>
          <p:cNvPr id="5" name="Овал 4">
            <a:extLst>
              <a:ext uri="{FF2B5EF4-FFF2-40B4-BE49-F238E27FC236}">
                <a16:creationId xmlns:a16="http://schemas.microsoft.com/office/drawing/2014/main" id="{D0DEA001-CFCD-62FA-F7C0-97163B68C4C2}"/>
              </a:ext>
            </a:extLst>
          </p:cNvPr>
          <p:cNvSpPr/>
          <p:nvPr/>
        </p:nvSpPr>
        <p:spPr>
          <a:xfrm>
            <a:off x="6898845" y="2057397"/>
            <a:ext cx="2526030" cy="2320291"/>
          </a:xfrm>
          <a:prstGeom prst="ellipse">
            <a:avLst/>
          </a:prstGeom>
          <a:solidFill>
            <a:srgbClr val="FED1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ru-RU" sz="1400" b="1" noProof="1">
                <a:solidFill>
                  <a:schemeClr val="bg2"/>
                </a:solidFill>
                <a:latin typeface="Segoe UI" panose="020B0502040204020203" pitchFamily="34" charset="0"/>
                <a:cs typeface="Segoe UI" panose="020B0502040204020203" pitchFamily="34" charset="0"/>
              </a:rPr>
              <a:t>3. Підписання корп. документів ЕЦП</a:t>
            </a:r>
            <a:endParaRPr lang="uk-UA" sz="1400" b="1" noProof="1">
              <a:solidFill>
                <a:schemeClr val="bg2"/>
              </a:solidFill>
              <a:latin typeface="Segoe UI" panose="020B0502040204020203" pitchFamily="34" charset="0"/>
              <a:cs typeface="Segoe UI" panose="020B0502040204020203" pitchFamily="34" charset="0"/>
            </a:endParaRPr>
          </a:p>
        </p:txBody>
      </p:sp>
      <p:sp>
        <p:nvSpPr>
          <p:cNvPr id="6" name="Овал 5">
            <a:extLst>
              <a:ext uri="{FF2B5EF4-FFF2-40B4-BE49-F238E27FC236}">
                <a16:creationId xmlns:a16="http://schemas.microsoft.com/office/drawing/2014/main" id="{AED2C978-DFBC-FFF6-9282-080FAD4DBA20}"/>
              </a:ext>
            </a:extLst>
          </p:cNvPr>
          <p:cNvSpPr/>
          <p:nvPr/>
        </p:nvSpPr>
        <p:spPr>
          <a:xfrm>
            <a:off x="3594365" y="2057398"/>
            <a:ext cx="2526030" cy="2320291"/>
          </a:xfrm>
          <a:prstGeom prst="ellipse">
            <a:avLst/>
          </a:prstGeom>
          <a:solidFill>
            <a:srgbClr val="FED1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uk-UA" sz="1400" b="1" noProof="1">
                <a:solidFill>
                  <a:schemeClr val="bg2"/>
                </a:solidFill>
                <a:latin typeface="Segoe UI" panose="020B0502040204020203" pitchFamily="34" charset="0"/>
                <a:cs typeface="Segoe UI" panose="020B0502040204020203" pitchFamily="34" charset="0"/>
              </a:rPr>
              <a:t>2. Автоматичне формування реєстру корп. документів</a:t>
            </a:r>
          </a:p>
        </p:txBody>
      </p:sp>
      <p:sp>
        <p:nvSpPr>
          <p:cNvPr id="7" name="Овал 6">
            <a:extLst>
              <a:ext uri="{FF2B5EF4-FFF2-40B4-BE49-F238E27FC236}">
                <a16:creationId xmlns:a16="http://schemas.microsoft.com/office/drawing/2014/main" id="{CAD1DE1F-D605-79AB-E7C7-6BBF0AC32BB5}"/>
              </a:ext>
            </a:extLst>
          </p:cNvPr>
          <p:cNvSpPr/>
          <p:nvPr/>
        </p:nvSpPr>
        <p:spPr>
          <a:xfrm>
            <a:off x="9715735" y="2057399"/>
            <a:ext cx="2526030" cy="2320291"/>
          </a:xfrm>
          <a:prstGeom prst="ellipse">
            <a:avLst/>
          </a:prstGeom>
          <a:solidFill>
            <a:srgbClr val="FED1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ru-RU" sz="1400" b="1" noProof="1">
                <a:solidFill>
                  <a:schemeClr val="bg2"/>
                </a:solidFill>
                <a:latin typeface="Segoe UI" panose="020B0502040204020203" pitchFamily="34" charset="0"/>
                <a:cs typeface="Segoe UI" panose="020B0502040204020203" pitchFamily="34" charset="0"/>
              </a:rPr>
              <a:t>4. Автоматичне зберігання підписнаих ЕЦП корп. документів</a:t>
            </a:r>
            <a:endParaRPr lang="uk-UA" sz="1400" b="1" noProof="1">
              <a:solidFill>
                <a:schemeClr val="bg2"/>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64201167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1F7E6B-E25C-A4F1-F0C9-F7BBD18F223C}"/>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4A9EC874-3508-561C-56BD-4A1BF50F51F6}"/>
              </a:ext>
            </a:extLst>
          </p:cNvPr>
          <p:cNvSpPr txBox="1"/>
          <p:nvPr/>
        </p:nvSpPr>
        <p:spPr>
          <a:xfrm>
            <a:off x="777475" y="49977"/>
            <a:ext cx="12662123" cy="830997"/>
          </a:xfrm>
          <a:prstGeom prst="rect">
            <a:avLst/>
          </a:prstGeom>
          <a:noFill/>
        </p:spPr>
        <p:txBody>
          <a:bodyPr wrap="square" rtlCol="0">
            <a:spAutoFit/>
          </a:bodyPr>
          <a:lstStyle/>
          <a:p>
            <a:r>
              <a:rPr lang="uk-UA" sz="2400" b="1" noProof="1">
                <a:latin typeface="Segoe UI" panose="020B0502040204020203" pitchFamily="34" charset="0"/>
                <a:ea typeface="Open Sans" panose="020B0606030504020204" pitchFamily="34" charset="0"/>
                <a:cs typeface="Segoe UI" panose="020B0502040204020203" pitchFamily="34" charset="0"/>
              </a:rPr>
              <a:t>АВТОМАТИЗОВАНА СИСТЕМА ДРАФТИНГУ КОРПОРАТИВНИХ ДОКУМЕНТІВ </a:t>
            </a:r>
          </a:p>
          <a:p>
            <a:r>
              <a:rPr lang="en-US" sz="2400" b="1" noProof="1">
                <a:latin typeface="Segoe UI" panose="020B0502040204020203" pitchFamily="34" charset="0"/>
                <a:ea typeface="Open Sans" panose="020B0606030504020204" pitchFamily="34" charset="0"/>
                <a:cs typeface="Segoe UI" panose="020B0502040204020203" pitchFamily="34" charset="0"/>
              </a:rPr>
              <a:t>AS IS</a:t>
            </a:r>
            <a:r>
              <a:rPr lang="uk-UA" sz="2400" b="1" noProof="1">
                <a:latin typeface="Segoe UI" panose="020B0502040204020203" pitchFamily="34" charset="0"/>
                <a:ea typeface="Open Sans" panose="020B0606030504020204" pitchFamily="34" charset="0"/>
                <a:cs typeface="Segoe UI" panose="020B0502040204020203" pitchFamily="34" charset="0"/>
              </a:rPr>
              <a:t> 1</a:t>
            </a:r>
            <a:r>
              <a:rPr lang="en-US" sz="2400" b="1" noProof="1">
                <a:latin typeface="Segoe UI" panose="020B0502040204020203" pitchFamily="34" charset="0"/>
                <a:ea typeface="Open Sans" panose="020B0606030504020204" pitchFamily="34" charset="0"/>
                <a:cs typeface="Segoe UI" panose="020B0502040204020203" pitchFamily="34" charset="0"/>
              </a:rPr>
              <a:t>/</a:t>
            </a:r>
            <a:r>
              <a:rPr lang="uk-UA" sz="2400" b="1" noProof="1">
                <a:latin typeface="Segoe UI" panose="020B0502040204020203" pitchFamily="34" charset="0"/>
                <a:ea typeface="Open Sans" panose="020B0606030504020204" pitchFamily="34" charset="0"/>
                <a:cs typeface="Segoe UI" panose="020B0502040204020203" pitchFamily="34" charset="0"/>
              </a:rPr>
              <a:t>4</a:t>
            </a:r>
          </a:p>
        </p:txBody>
      </p:sp>
      <p:sp>
        <p:nvSpPr>
          <p:cNvPr id="5" name="Rectangle 1">
            <a:extLst>
              <a:ext uri="{FF2B5EF4-FFF2-40B4-BE49-F238E27FC236}">
                <a16:creationId xmlns:a16="http://schemas.microsoft.com/office/drawing/2014/main" id="{02DFD42C-CC4C-32A4-824C-5905DC95993D}"/>
              </a:ext>
            </a:extLst>
          </p:cNvPr>
          <p:cNvSpPr/>
          <p:nvPr/>
        </p:nvSpPr>
        <p:spPr>
          <a:xfrm>
            <a:off x="777475" y="5055949"/>
            <a:ext cx="4710946" cy="1399822"/>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00796" tIns="50398" rIns="100796" bIns="50398" rtlCol="0" anchor="ctr"/>
          <a:lstStyle/>
          <a:p>
            <a:pPr>
              <a:spcAft>
                <a:spcPts val="1800"/>
              </a:spcAft>
            </a:pPr>
            <a:endParaRPr lang="uk-UA" sz="1200" noProof="1">
              <a:solidFill>
                <a:srgbClr val="000000"/>
              </a:solidFill>
              <a:latin typeface="Segoe UI"/>
              <a:cs typeface="Segoe UI"/>
            </a:endParaRPr>
          </a:p>
        </p:txBody>
      </p:sp>
      <p:sp>
        <p:nvSpPr>
          <p:cNvPr id="7" name="TextBox 6">
            <a:extLst>
              <a:ext uri="{FF2B5EF4-FFF2-40B4-BE49-F238E27FC236}">
                <a16:creationId xmlns:a16="http://schemas.microsoft.com/office/drawing/2014/main" id="{7BB14DDB-6BC8-024C-3583-EC925B61E70A}"/>
              </a:ext>
            </a:extLst>
          </p:cNvPr>
          <p:cNvSpPr txBox="1"/>
          <p:nvPr/>
        </p:nvSpPr>
        <p:spPr>
          <a:xfrm>
            <a:off x="1394293" y="5251194"/>
            <a:ext cx="3985310" cy="276999"/>
          </a:xfrm>
          <a:prstGeom prst="rect">
            <a:avLst/>
          </a:prstGeom>
          <a:noFill/>
        </p:spPr>
        <p:txBody>
          <a:bodyPr wrap="square" rtlCol="0">
            <a:spAutoFit/>
          </a:bodyPr>
          <a:lstStyle/>
          <a:p>
            <a:pPr>
              <a:spcAft>
                <a:spcPts val="1800"/>
              </a:spcAft>
            </a:pPr>
            <a:r>
              <a:rPr lang="uk-UA" sz="1200" noProof="1">
                <a:solidFill>
                  <a:srgbClr val="000000"/>
                </a:solidFill>
                <a:latin typeface="Segoe UI"/>
                <a:cs typeface="Segoe UI"/>
              </a:rPr>
              <a:t>Обрання типу корп. документа</a:t>
            </a:r>
          </a:p>
        </p:txBody>
      </p:sp>
      <p:sp>
        <p:nvSpPr>
          <p:cNvPr id="9" name="TextBox 8">
            <a:extLst>
              <a:ext uri="{FF2B5EF4-FFF2-40B4-BE49-F238E27FC236}">
                <a16:creationId xmlns:a16="http://schemas.microsoft.com/office/drawing/2014/main" id="{D893B043-E714-88EC-2881-956319EE8837}"/>
              </a:ext>
            </a:extLst>
          </p:cNvPr>
          <p:cNvSpPr txBox="1"/>
          <p:nvPr/>
        </p:nvSpPr>
        <p:spPr>
          <a:xfrm>
            <a:off x="1394293" y="5781435"/>
            <a:ext cx="4359048" cy="461665"/>
          </a:xfrm>
          <a:prstGeom prst="rect">
            <a:avLst/>
          </a:prstGeom>
          <a:noFill/>
        </p:spPr>
        <p:txBody>
          <a:bodyPr wrap="square" rtlCol="0">
            <a:spAutoFit/>
          </a:bodyPr>
          <a:lstStyle/>
          <a:p>
            <a:pPr>
              <a:spcAft>
                <a:spcPts val="1800"/>
              </a:spcAft>
            </a:pPr>
            <a:r>
              <a:rPr lang="ru-RU" sz="1200" noProof="1">
                <a:solidFill>
                  <a:srgbClr val="000000"/>
                </a:solidFill>
                <a:latin typeface="Segoe UI"/>
                <a:cs typeface="Segoe UI"/>
              </a:rPr>
              <a:t>Обрання компанії, щодо якої оформлюється корп. документ</a:t>
            </a:r>
          </a:p>
        </p:txBody>
      </p:sp>
      <p:sp>
        <p:nvSpPr>
          <p:cNvPr id="12" name="Овал 11">
            <a:extLst>
              <a:ext uri="{FF2B5EF4-FFF2-40B4-BE49-F238E27FC236}">
                <a16:creationId xmlns:a16="http://schemas.microsoft.com/office/drawing/2014/main" id="{520714A9-BC3B-4936-F5C7-22B3C90A363F}"/>
              </a:ext>
            </a:extLst>
          </p:cNvPr>
          <p:cNvSpPr/>
          <p:nvPr/>
        </p:nvSpPr>
        <p:spPr>
          <a:xfrm>
            <a:off x="865940" y="5191694"/>
            <a:ext cx="396000" cy="396000"/>
          </a:xfrm>
          <a:prstGeom prst="ellipse">
            <a:avLst/>
          </a:prstGeom>
          <a:solidFill>
            <a:srgbClr val="545454"/>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uk-UA" sz="1800" b="1" dirty="0">
                <a:latin typeface="Segoe UI" panose="020B0502040204020203" pitchFamily="34" charset="0"/>
                <a:cs typeface="Segoe UI" panose="020B0502040204020203" pitchFamily="34" charset="0"/>
              </a:rPr>
              <a:t>1</a:t>
            </a:r>
          </a:p>
        </p:txBody>
      </p:sp>
      <p:sp>
        <p:nvSpPr>
          <p:cNvPr id="13" name="Овал 12">
            <a:extLst>
              <a:ext uri="{FF2B5EF4-FFF2-40B4-BE49-F238E27FC236}">
                <a16:creationId xmlns:a16="http://schemas.microsoft.com/office/drawing/2014/main" id="{03B79CDA-48F0-1290-047C-CD526B3895B0}"/>
              </a:ext>
            </a:extLst>
          </p:cNvPr>
          <p:cNvSpPr/>
          <p:nvPr/>
        </p:nvSpPr>
        <p:spPr>
          <a:xfrm>
            <a:off x="865940" y="5836842"/>
            <a:ext cx="396000" cy="396000"/>
          </a:xfrm>
          <a:prstGeom prst="ellipse">
            <a:avLst/>
          </a:prstGeom>
          <a:solidFill>
            <a:srgbClr val="545454"/>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800" b="1" dirty="0">
                <a:latin typeface="Segoe UI" panose="020B0502040204020203" pitchFamily="34" charset="0"/>
                <a:cs typeface="Segoe UI" panose="020B0502040204020203" pitchFamily="34" charset="0"/>
              </a:rPr>
              <a:t>2</a:t>
            </a:r>
            <a:endParaRPr lang="uk-UA" sz="1800" b="1" dirty="0">
              <a:latin typeface="Segoe UI" panose="020B0502040204020203" pitchFamily="34" charset="0"/>
              <a:cs typeface="Segoe UI" panose="020B0502040204020203" pitchFamily="34" charset="0"/>
            </a:endParaRPr>
          </a:p>
        </p:txBody>
      </p:sp>
      <p:pic>
        <p:nvPicPr>
          <p:cNvPr id="6" name="Рисунок 5" descr="Зображення, що містить текст, знімок екрана, програмне забезпечення, Шрифт&#10;&#10;Вміст, створений ШІ, може бути неправильним.">
            <a:extLst>
              <a:ext uri="{FF2B5EF4-FFF2-40B4-BE49-F238E27FC236}">
                <a16:creationId xmlns:a16="http://schemas.microsoft.com/office/drawing/2014/main" id="{D7770712-5595-ECD7-538B-5EBB74A151B3}"/>
              </a:ext>
            </a:extLst>
          </p:cNvPr>
          <p:cNvPicPr>
            <a:picLocks noChangeAspect="1"/>
          </p:cNvPicPr>
          <p:nvPr/>
        </p:nvPicPr>
        <p:blipFill>
          <a:blip r:embed="rId3"/>
          <a:stretch>
            <a:fillRect/>
          </a:stretch>
        </p:blipFill>
        <p:spPr>
          <a:xfrm>
            <a:off x="1170879" y="1326833"/>
            <a:ext cx="6746487" cy="3302805"/>
          </a:xfrm>
          <a:prstGeom prst="rect">
            <a:avLst/>
          </a:prstGeom>
        </p:spPr>
      </p:pic>
      <p:pic>
        <p:nvPicPr>
          <p:cNvPr id="8" name="Рисунок 7" descr="Зображення, що містить текст, знімок екрана, Шрифт, число&#10;&#10;Вміст, створений ШІ, може бути неправильним.">
            <a:extLst>
              <a:ext uri="{FF2B5EF4-FFF2-40B4-BE49-F238E27FC236}">
                <a16:creationId xmlns:a16="http://schemas.microsoft.com/office/drawing/2014/main" id="{0B9663A4-8FEE-6399-B675-471BF0CFDE18}"/>
              </a:ext>
            </a:extLst>
          </p:cNvPr>
          <p:cNvPicPr>
            <a:picLocks noChangeAspect="1"/>
          </p:cNvPicPr>
          <p:nvPr/>
        </p:nvPicPr>
        <p:blipFill>
          <a:blip r:embed="rId4"/>
          <a:stretch>
            <a:fillRect/>
          </a:stretch>
        </p:blipFill>
        <p:spPr>
          <a:xfrm>
            <a:off x="5996421" y="3266263"/>
            <a:ext cx="7136649" cy="3326130"/>
          </a:xfrm>
          <a:prstGeom prst="rect">
            <a:avLst/>
          </a:prstGeom>
        </p:spPr>
      </p:pic>
      <p:sp>
        <p:nvSpPr>
          <p:cNvPr id="10" name="Овал 9">
            <a:extLst>
              <a:ext uri="{FF2B5EF4-FFF2-40B4-BE49-F238E27FC236}">
                <a16:creationId xmlns:a16="http://schemas.microsoft.com/office/drawing/2014/main" id="{3993B615-7E99-B75D-AA53-61BC38BD5848}"/>
              </a:ext>
            </a:extLst>
          </p:cNvPr>
          <p:cNvSpPr/>
          <p:nvPr/>
        </p:nvSpPr>
        <p:spPr>
          <a:xfrm>
            <a:off x="5798421" y="3151304"/>
            <a:ext cx="396000" cy="396000"/>
          </a:xfrm>
          <a:prstGeom prst="ellipse">
            <a:avLst/>
          </a:prstGeom>
          <a:solidFill>
            <a:srgbClr val="FED1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800" b="1" dirty="0">
                <a:solidFill>
                  <a:schemeClr val="tx1"/>
                </a:solidFill>
                <a:latin typeface="Segoe UI" panose="020B0502040204020203" pitchFamily="34" charset="0"/>
                <a:cs typeface="Segoe UI" panose="020B0502040204020203" pitchFamily="34" charset="0"/>
              </a:rPr>
              <a:t>2</a:t>
            </a:r>
            <a:endParaRPr lang="uk-UA" sz="1800" b="1" dirty="0">
              <a:solidFill>
                <a:schemeClr val="tx1"/>
              </a:solidFill>
              <a:latin typeface="Segoe UI" panose="020B0502040204020203" pitchFamily="34" charset="0"/>
              <a:cs typeface="Segoe UI" panose="020B0502040204020203" pitchFamily="34" charset="0"/>
            </a:endParaRPr>
          </a:p>
        </p:txBody>
      </p:sp>
      <p:sp>
        <p:nvSpPr>
          <p:cNvPr id="11" name="Овал 10">
            <a:extLst>
              <a:ext uri="{FF2B5EF4-FFF2-40B4-BE49-F238E27FC236}">
                <a16:creationId xmlns:a16="http://schemas.microsoft.com/office/drawing/2014/main" id="{F0EF11DB-63BE-8D13-2BAB-617FD961B608}"/>
              </a:ext>
            </a:extLst>
          </p:cNvPr>
          <p:cNvSpPr/>
          <p:nvPr/>
        </p:nvSpPr>
        <p:spPr>
          <a:xfrm>
            <a:off x="810574" y="1153764"/>
            <a:ext cx="396000" cy="396000"/>
          </a:xfrm>
          <a:prstGeom prst="ellipse">
            <a:avLst/>
          </a:prstGeom>
          <a:solidFill>
            <a:srgbClr val="FED1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uk-UA" sz="1800" b="1" dirty="0">
                <a:solidFill>
                  <a:schemeClr val="tx1"/>
                </a:solidFill>
                <a:latin typeface="Segoe UI" panose="020B0502040204020203" pitchFamily="34" charset="0"/>
                <a:cs typeface="Segoe UI" panose="020B0502040204020203" pitchFamily="34" charset="0"/>
              </a:rPr>
              <a:t>1</a:t>
            </a:r>
          </a:p>
        </p:txBody>
      </p:sp>
    </p:spTree>
    <p:extLst>
      <p:ext uri="{BB962C8B-B14F-4D97-AF65-F5344CB8AC3E}">
        <p14:creationId xmlns:p14="http://schemas.microsoft.com/office/powerpoint/2010/main" val="170858485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8C3292-F646-E5B6-8010-EC1C57112EE4}"/>
            </a:ext>
          </a:extLst>
        </p:cNvPr>
        <p:cNvGrpSpPr/>
        <p:nvPr/>
      </p:nvGrpSpPr>
      <p:grpSpPr>
        <a:xfrm>
          <a:off x="0" y="0"/>
          <a:ext cx="0" cy="0"/>
          <a:chOff x="0" y="0"/>
          <a:chExt cx="0" cy="0"/>
        </a:xfrm>
      </p:grpSpPr>
      <p:sp>
        <p:nvSpPr>
          <p:cNvPr id="5" name="Rectangle 1">
            <a:extLst>
              <a:ext uri="{FF2B5EF4-FFF2-40B4-BE49-F238E27FC236}">
                <a16:creationId xmlns:a16="http://schemas.microsoft.com/office/drawing/2014/main" id="{2CC59B31-26A9-A2BC-EBE4-E4499A7F2933}"/>
              </a:ext>
            </a:extLst>
          </p:cNvPr>
          <p:cNvSpPr/>
          <p:nvPr/>
        </p:nvSpPr>
        <p:spPr>
          <a:xfrm>
            <a:off x="777475" y="5055949"/>
            <a:ext cx="4710946" cy="1399822"/>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00796" tIns="50398" rIns="100796" bIns="50398" rtlCol="0" anchor="ctr"/>
          <a:lstStyle/>
          <a:p>
            <a:pPr>
              <a:spcAft>
                <a:spcPts val="1800"/>
              </a:spcAft>
            </a:pPr>
            <a:endParaRPr lang="uk-UA" sz="1200" noProof="1">
              <a:solidFill>
                <a:srgbClr val="000000"/>
              </a:solidFill>
              <a:latin typeface="Segoe UI"/>
              <a:cs typeface="Segoe UI"/>
            </a:endParaRPr>
          </a:p>
        </p:txBody>
      </p:sp>
      <p:sp>
        <p:nvSpPr>
          <p:cNvPr id="7" name="TextBox 6">
            <a:extLst>
              <a:ext uri="{FF2B5EF4-FFF2-40B4-BE49-F238E27FC236}">
                <a16:creationId xmlns:a16="http://schemas.microsoft.com/office/drawing/2014/main" id="{BDFC23A5-B7CC-908A-6F32-8C185441FE43}"/>
              </a:ext>
            </a:extLst>
          </p:cNvPr>
          <p:cNvSpPr txBox="1"/>
          <p:nvPr/>
        </p:nvSpPr>
        <p:spPr>
          <a:xfrm>
            <a:off x="1394293" y="5191694"/>
            <a:ext cx="3985310" cy="461665"/>
          </a:xfrm>
          <a:prstGeom prst="rect">
            <a:avLst/>
          </a:prstGeom>
          <a:noFill/>
        </p:spPr>
        <p:txBody>
          <a:bodyPr wrap="square" rtlCol="0">
            <a:spAutoFit/>
          </a:bodyPr>
          <a:lstStyle/>
          <a:p>
            <a:pPr>
              <a:spcAft>
                <a:spcPts val="1800"/>
              </a:spcAft>
            </a:pPr>
            <a:r>
              <a:rPr lang="ru-RU" sz="1200" noProof="1">
                <a:solidFill>
                  <a:srgbClr val="000000"/>
                </a:solidFill>
                <a:latin typeface="Segoe UI"/>
                <a:cs typeface="Segoe UI"/>
              </a:rPr>
              <a:t>Обрання типу питання, з якого оформлюється корп. документ</a:t>
            </a:r>
          </a:p>
        </p:txBody>
      </p:sp>
      <p:sp>
        <p:nvSpPr>
          <p:cNvPr id="9" name="TextBox 8">
            <a:extLst>
              <a:ext uri="{FF2B5EF4-FFF2-40B4-BE49-F238E27FC236}">
                <a16:creationId xmlns:a16="http://schemas.microsoft.com/office/drawing/2014/main" id="{F51227D9-4C77-0812-8211-AB4C52CEAED8}"/>
              </a:ext>
            </a:extLst>
          </p:cNvPr>
          <p:cNvSpPr txBox="1"/>
          <p:nvPr/>
        </p:nvSpPr>
        <p:spPr>
          <a:xfrm>
            <a:off x="1394293" y="5808076"/>
            <a:ext cx="4094128" cy="461665"/>
          </a:xfrm>
          <a:prstGeom prst="rect">
            <a:avLst/>
          </a:prstGeom>
          <a:noFill/>
        </p:spPr>
        <p:txBody>
          <a:bodyPr wrap="square" rtlCol="0">
            <a:spAutoFit/>
          </a:bodyPr>
          <a:lstStyle/>
          <a:p>
            <a:pPr>
              <a:spcAft>
                <a:spcPts val="1800"/>
              </a:spcAft>
            </a:pPr>
            <a:r>
              <a:rPr lang="ru-RU" sz="1200" noProof="1">
                <a:solidFill>
                  <a:srgbClr val="000000"/>
                </a:solidFill>
                <a:latin typeface="Segoe UI"/>
                <a:cs typeface="Segoe UI"/>
              </a:rPr>
              <a:t>Обрання предмету питання, з якого оформлюється корп. документ</a:t>
            </a:r>
          </a:p>
        </p:txBody>
      </p:sp>
      <p:sp>
        <p:nvSpPr>
          <p:cNvPr id="12" name="Овал 11">
            <a:extLst>
              <a:ext uri="{FF2B5EF4-FFF2-40B4-BE49-F238E27FC236}">
                <a16:creationId xmlns:a16="http://schemas.microsoft.com/office/drawing/2014/main" id="{8A0A7F18-F0DF-01C3-C7DC-943691786DD4}"/>
              </a:ext>
            </a:extLst>
          </p:cNvPr>
          <p:cNvSpPr/>
          <p:nvPr/>
        </p:nvSpPr>
        <p:spPr>
          <a:xfrm>
            <a:off x="865940" y="5191694"/>
            <a:ext cx="396000" cy="396000"/>
          </a:xfrm>
          <a:prstGeom prst="ellipse">
            <a:avLst/>
          </a:prstGeom>
          <a:solidFill>
            <a:srgbClr val="545454"/>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uk-UA" sz="1800" b="1" dirty="0">
                <a:latin typeface="Segoe UI" panose="020B0502040204020203" pitchFamily="34" charset="0"/>
                <a:cs typeface="Segoe UI" panose="020B0502040204020203" pitchFamily="34" charset="0"/>
              </a:rPr>
              <a:t>3</a:t>
            </a:r>
          </a:p>
        </p:txBody>
      </p:sp>
      <p:sp>
        <p:nvSpPr>
          <p:cNvPr id="13" name="Овал 12">
            <a:extLst>
              <a:ext uri="{FF2B5EF4-FFF2-40B4-BE49-F238E27FC236}">
                <a16:creationId xmlns:a16="http://schemas.microsoft.com/office/drawing/2014/main" id="{DCC1DAD3-9D41-D716-FCA2-7DA53C05C3AC}"/>
              </a:ext>
            </a:extLst>
          </p:cNvPr>
          <p:cNvSpPr/>
          <p:nvPr/>
        </p:nvSpPr>
        <p:spPr>
          <a:xfrm>
            <a:off x="865940" y="5836842"/>
            <a:ext cx="396000" cy="396000"/>
          </a:xfrm>
          <a:prstGeom prst="ellipse">
            <a:avLst/>
          </a:prstGeom>
          <a:solidFill>
            <a:srgbClr val="545454"/>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uk-UA" sz="1800" b="1" dirty="0">
                <a:latin typeface="Segoe UI" panose="020B0502040204020203" pitchFamily="34" charset="0"/>
                <a:cs typeface="Segoe UI" panose="020B0502040204020203" pitchFamily="34" charset="0"/>
              </a:rPr>
              <a:t>4</a:t>
            </a:r>
          </a:p>
        </p:txBody>
      </p:sp>
      <p:sp>
        <p:nvSpPr>
          <p:cNvPr id="6" name="TextBox 5">
            <a:extLst>
              <a:ext uri="{FF2B5EF4-FFF2-40B4-BE49-F238E27FC236}">
                <a16:creationId xmlns:a16="http://schemas.microsoft.com/office/drawing/2014/main" id="{010D756C-AC78-337B-9A92-3CEF8A4C1BF7}"/>
              </a:ext>
            </a:extLst>
          </p:cNvPr>
          <p:cNvSpPr txBox="1"/>
          <p:nvPr/>
        </p:nvSpPr>
        <p:spPr>
          <a:xfrm>
            <a:off x="777475" y="49977"/>
            <a:ext cx="12662123" cy="830997"/>
          </a:xfrm>
          <a:prstGeom prst="rect">
            <a:avLst/>
          </a:prstGeom>
          <a:noFill/>
        </p:spPr>
        <p:txBody>
          <a:bodyPr wrap="square" rtlCol="0">
            <a:spAutoFit/>
          </a:bodyPr>
          <a:lstStyle/>
          <a:p>
            <a:r>
              <a:rPr lang="uk-UA" sz="2400" b="1" noProof="1">
                <a:latin typeface="Segoe UI" panose="020B0502040204020203" pitchFamily="34" charset="0"/>
                <a:ea typeface="Open Sans" panose="020B0606030504020204" pitchFamily="34" charset="0"/>
                <a:cs typeface="Segoe UI" panose="020B0502040204020203" pitchFamily="34" charset="0"/>
              </a:rPr>
              <a:t>АВТОМАТИЗОВАНА СИСТЕМА ДРАФТИНГУ КОРПОРАТИВНИХ ДОКУМЕНТІВ </a:t>
            </a:r>
          </a:p>
          <a:p>
            <a:r>
              <a:rPr lang="en-US" sz="2400" b="1" noProof="1">
                <a:latin typeface="Segoe UI" panose="020B0502040204020203" pitchFamily="34" charset="0"/>
                <a:ea typeface="Open Sans" panose="020B0606030504020204" pitchFamily="34" charset="0"/>
                <a:cs typeface="Segoe UI" panose="020B0502040204020203" pitchFamily="34" charset="0"/>
              </a:rPr>
              <a:t>AS IS</a:t>
            </a:r>
            <a:r>
              <a:rPr lang="uk-UA" sz="2400" b="1" noProof="1">
                <a:latin typeface="Segoe UI" panose="020B0502040204020203" pitchFamily="34" charset="0"/>
                <a:ea typeface="Open Sans" panose="020B0606030504020204" pitchFamily="34" charset="0"/>
                <a:cs typeface="Segoe UI" panose="020B0502040204020203" pitchFamily="34" charset="0"/>
              </a:rPr>
              <a:t> 2</a:t>
            </a:r>
            <a:r>
              <a:rPr lang="en-US" sz="2400" b="1" noProof="1">
                <a:latin typeface="Segoe UI" panose="020B0502040204020203" pitchFamily="34" charset="0"/>
                <a:ea typeface="Open Sans" panose="020B0606030504020204" pitchFamily="34" charset="0"/>
                <a:cs typeface="Segoe UI" panose="020B0502040204020203" pitchFamily="34" charset="0"/>
              </a:rPr>
              <a:t>/</a:t>
            </a:r>
            <a:r>
              <a:rPr lang="uk-UA" sz="2400" b="1" noProof="1">
                <a:latin typeface="Segoe UI" panose="020B0502040204020203" pitchFamily="34" charset="0"/>
                <a:ea typeface="Open Sans" panose="020B0606030504020204" pitchFamily="34" charset="0"/>
                <a:cs typeface="Segoe UI" panose="020B0502040204020203" pitchFamily="34" charset="0"/>
              </a:rPr>
              <a:t>4</a:t>
            </a:r>
          </a:p>
        </p:txBody>
      </p:sp>
      <p:pic>
        <p:nvPicPr>
          <p:cNvPr id="18" name="Рисунок 17" descr="Зображення, що містить текст, знімок екрана, Шрифт, число&#10;&#10;Вміст, створений ШІ, може бути неправильним.">
            <a:extLst>
              <a:ext uri="{FF2B5EF4-FFF2-40B4-BE49-F238E27FC236}">
                <a16:creationId xmlns:a16="http://schemas.microsoft.com/office/drawing/2014/main" id="{B2F156C1-1A6E-584A-AF27-14977FBAA581}"/>
              </a:ext>
            </a:extLst>
          </p:cNvPr>
          <p:cNvPicPr>
            <a:picLocks noChangeAspect="1"/>
          </p:cNvPicPr>
          <p:nvPr/>
        </p:nvPicPr>
        <p:blipFill>
          <a:blip r:embed="rId3"/>
          <a:stretch>
            <a:fillRect/>
          </a:stretch>
        </p:blipFill>
        <p:spPr>
          <a:xfrm>
            <a:off x="971550" y="1103903"/>
            <a:ext cx="7818119" cy="3838643"/>
          </a:xfrm>
          <a:prstGeom prst="rect">
            <a:avLst/>
          </a:prstGeom>
        </p:spPr>
      </p:pic>
      <p:pic>
        <p:nvPicPr>
          <p:cNvPr id="20" name="Рисунок 19" descr="Зображення, що містить текст, знімок екрана, Шрифт, число&#10;&#10;Вміст, створений ШІ, може бути неправильним.">
            <a:extLst>
              <a:ext uri="{FF2B5EF4-FFF2-40B4-BE49-F238E27FC236}">
                <a16:creationId xmlns:a16="http://schemas.microsoft.com/office/drawing/2014/main" id="{6FF23FD8-B51C-C181-8BCE-63F67FB65675}"/>
              </a:ext>
            </a:extLst>
          </p:cNvPr>
          <p:cNvPicPr>
            <a:picLocks noChangeAspect="1"/>
          </p:cNvPicPr>
          <p:nvPr/>
        </p:nvPicPr>
        <p:blipFill>
          <a:blip r:embed="rId4"/>
          <a:stretch>
            <a:fillRect/>
          </a:stretch>
        </p:blipFill>
        <p:spPr>
          <a:xfrm>
            <a:off x="5620775" y="2983208"/>
            <a:ext cx="7523726" cy="3838643"/>
          </a:xfrm>
          <a:prstGeom prst="rect">
            <a:avLst/>
          </a:prstGeom>
        </p:spPr>
      </p:pic>
      <p:sp>
        <p:nvSpPr>
          <p:cNvPr id="21" name="Овал 20">
            <a:extLst>
              <a:ext uri="{FF2B5EF4-FFF2-40B4-BE49-F238E27FC236}">
                <a16:creationId xmlns:a16="http://schemas.microsoft.com/office/drawing/2014/main" id="{957E7398-03FC-6B4F-8524-AD4161068E8F}"/>
              </a:ext>
            </a:extLst>
          </p:cNvPr>
          <p:cNvSpPr/>
          <p:nvPr/>
        </p:nvSpPr>
        <p:spPr>
          <a:xfrm>
            <a:off x="865940" y="990500"/>
            <a:ext cx="396000" cy="396000"/>
          </a:xfrm>
          <a:prstGeom prst="ellipse">
            <a:avLst/>
          </a:prstGeom>
          <a:solidFill>
            <a:srgbClr val="FED1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800" b="1" dirty="0">
                <a:solidFill>
                  <a:schemeClr val="tx1"/>
                </a:solidFill>
                <a:latin typeface="Segoe UI" panose="020B0502040204020203" pitchFamily="34" charset="0"/>
                <a:cs typeface="Segoe UI" panose="020B0502040204020203" pitchFamily="34" charset="0"/>
              </a:rPr>
              <a:t>3</a:t>
            </a:r>
            <a:endParaRPr lang="uk-UA" sz="1800" b="1" dirty="0">
              <a:solidFill>
                <a:schemeClr val="tx1"/>
              </a:solidFill>
              <a:latin typeface="Segoe UI" panose="020B0502040204020203" pitchFamily="34" charset="0"/>
              <a:cs typeface="Segoe UI" panose="020B0502040204020203" pitchFamily="34" charset="0"/>
            </a:endParaRPr>
          </a:p>
        </p:txBody>
      </p:sp>
      <p:sp>
        <p:nvSpPr>
          <p:cNvPr id="22" name="Овал 21">
            <a:extLst>
              <a:ext uri="{FF2B5EF4-FFF2-40B4-BE49-F238E27FC236}">
                <a16:creationId xmlns:a16="http://schemas.microsoft.com/office/drawing/2014/main" id="{1378A2BE-B3FD-69AA-DCD9-4A31E65491EE}"/>
              </a:ext>
            </a:extLst>
          </p:cNvPr>
          <p:cNvSpPr/>
          <p:nvPr/>
        </p:nvSpPr>
        <p:spPr>
          <a:xfrm>
            <a:off x="5488421" y="2905843"/>
            <a:ext cx="396000" cy="396000"/>
          </a:xfrm>
          <a:prstGeom prst="ellipse">
            <a:avLst/>
          </a:prstGeom>
          <a:solidFill>
            <a:srgbClr val="FED1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800" b="1" dirty="0">
                <a:solidFill>
                  <a:schemeClr val="tx1"/>
                </a:solidFill>
                <a:latin typeface="Segoe UI" panose="020B0502040204020203" pitchFamily="34" charset="0"/>
                <a:cs typeface="Segoe UI" panose="020B0502040204020203" pitchFamily="34" charset="0"/>
              </a:rPr>
              <a:t>4</a:t>
            </a:r>
            <a:endParaRPr lang="uk-UA" sz="1800" b="1" dirty="0">
              <a:solidFill>
                <a:schemeClr val="tx1"/>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27294297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78416B-3A75-6FBC-98BA-88A70267CBD2}"/>
            </a:ext>
          </a:extLst>
        </p:cNvPr>
        <p:cNvGrpSpPr/>
        <p:nvPr/>
      </p:nvGrpSpPr>
      <p:grpSpPr>
        <a:xfrm>
          <a:off x="0" y="0"/>
          <a:ext cx="0" cy="0"/>
          <a:chOff x="0" y="0"/>
          <a:chExt cx="0" cy="0"/>
        </a:xfrm>
      </p:grpSpPr>
      <p:sp>
        <p:nvSpPr>
          <p:cNvPr id="5" name="Rectangle 1">
            <a:extLst>
              <a:ext uri="{FF2B5EF4-FFF2-40B4-BE49-F238E27FC236}">
                <a16:creationId xmlns:a16="http://schemas.microsoft.com/office/drawing/2014/main" id="{43F39183-0987-82A9-F645-D1BD8630A30C}"/>
              </a:ext>
            </a:extLst>
          </p:cNvPr>
          <p:cNvSpPr/>
          <p:nvPr/>
        </p:nvSpPr>
        <p:spPr>
          <a:xfrm>
            <a:off x="777475" y="5055949"/>
            <a:ext cx="4710946" cy="1399822"/>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00796" tIns="50398" rIns="100796" bIns="50398" rtlCol="0" anchor="ctr"/>
          <a:lstStyle/>
          <a:p>
            <a:pPr>
              <a:spcAft>
                <a:spcPts val="1800"/>
              </a:spcAft>
            </a:pPr>
            <a:endParaRPr lang="uk-UA" sz="1200" noProof="1">
              <a:solidFill>
                <a:srgbClr val="000000"/>
              </a:solidFill>
              <a:latin typeface="Segoe UI"/>
              <a:cs typeface="Segoe UI"/>
            </a:endParaRPr>
          </a:p>
        </p:txBody>
      </p:sp>
      <p:sp>
        <p:nvSpPr>
          <p:cNvPr id="7" name="TextBox 6">
            <a:extLst>
              <a:ext uri="{FF2B5EF4-FFF2-40B4-BE49-F238E27FC236}">
                <a16:creationId xmlns:a16="http://schemas.microsoft.com/office/drawing/2014/main" id="{3D003780-1414-E7B5-6E7E-D0785AC697C8}"/>
              </a:ext>
            </a:extLst>
          </p:cNvPr>
          <p:cNvSpPr txBox="1"/>
          <p:nvPr/>
        </p:nvSpPr>
        <p:spPr>
          <a:xfrm>
            <a:off x="1394293" y="5251194"/>
            <a:ext cx="3985310" cy="276999"/>
          </a:xfrm>
          <a:prstGeom prst="rect">
            <a:avLst/>
          </a:prstGeom>
          <a:noFill/>
        </p:spPr>
        <p:txBody>
          <a:bodyPr wrap="square" rtlCol="0">
            <a:spAutoFit/>
          </a:bodyPr>
          <a:lstStyle/>
          <a:p>
            <a:pPr>
              <a:spcAft>
                <a:spcPts val="1800"/>
              </a:spcAft>
            </a:pPr>
            <a:r>
              <a:rPr lang="ru-RU" sz="1200" noProof="1">
                <a:solidFill>
                  <a:srgbClr val="000000"/>
                </a:solidFill>
                <a:latin typeface="Segoe UI"/>
                <a:cs typeface="Segoe UI"/>
              </a:rPr>
              <a:t>Автоматичне заповнення даних про компанію</a:t>
            </a:r>
          </a:p>
        </p:txBody>
      </p:sp>
      <p:sp>
        <p:nvSpPr>
          <p:cNvPr id="9" name="TextBox 8">
            <a:extLst>
              <a:ext uri="{FF2B5EF4-FFF2-40B4-BE49-F238E27FC236}">
                <a16:creationId xmlns:a16="http://schemas.microsoft.com/office/drawing/2014/main" id="{D6800069-A20C-8BDA-05F3-C62984014BCD}"/>
              </a:ext>
            </a:extLst>
          </p:cNvPr>
          <p:cNvSpPr txBox="1"/>
          <p:nvPr/>
        </p:nvSpPr>
        <p:spPr>
          <a:xfrm>
            <a:off x="1394293" y="5804009"/>
            <a:ext cx="3985310" cy="461665"/>
          </a:xfrm>
          <a:prstGeom prst="rect">
            <a:avLst/>
          </a:prstGeom>
          <a:noFill/>
        </p:spPr>
        <p:txBody>
          <a:bodyPr wrap="square" rtlCol="0">
            <a:spAutoFit/>
          </a:bodyPr>
          <a:lstStyle/>
          <a:p>
            <a:pPr>
              <a:spcAft>
                <a:spcPts val="1800"/>
              </a:spcAft>
            </a:pPr>
            <a:r>
              <a:rPr lang="ru-RU" sz="1200" noProof="1">
                <a:solidFill>
                  <a:srgbClr val="000000"/>
                </a:solidFill>
                <a:latin typeface="Segoe UI"/>
                <a:cs typeface="Segoe UI"/>
              </a:rPr>
              <a:t>Автоматичне заповнення даних про учасника компанії</a:t>
            </a:r>
          </a:p>
        </p:txBody>
      </p:sp>
      <p:sp>
        <p:nvSpPr>
          <p:cNvPr id="12" name="Овал 11">
            <a:extLst>
              <a:ext uri="{FF2B5EF4-FFF2-40B4-BE49-F238E27FC236}">
                <a16:creationId xmlns:a16="http://schemas.microsoft.com/office/drawing/2014/main" id="{A5B9E36E-CE79-71E1-3715-D6C61BA364E6}"/>
              </a:ext>
            </a:extLst>
          </p:cNvPr>
          <p:cNvSpPr/>
          <p:nvPr/>
        </p:nvSpPr>
        <p:spPr>
          <a:xfrm>
            <a:off x="865940" y="5191694"/>
            <a:ext cx="396000" cy="396000"/>
          </a:xfrm>
          <a:prstGeom prst="ellipse">
            <a:avLst/>
          </a:prstGeom>
          <a:solidFill>
            <a:srgbClr val="545454"/>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uk-UA" sz="1800" b="1" dirty="0">
                <a:latin typeface="Segoe UI" panose="020B0502040204020203" pitchFamily="34" charset="0"/>
                <a:cs typeface="Segoe UI" panose="020B0502040204020203" pitchFamily="34" charset="0"/>
              </a:rPr>
              <a:t>5</a:t>
            </a:r>
          </a:p>
        </p:txBody>
      </p:sp>
      <p:sp>
        <p:nvSpPr>
          <p:cNvPr id="13" name="Овал 12">
            <a:extLst>
              <a:ext uri="{FF2B5EF4-FFF2-40B4-BE49-F238E27FC236}">
                <a16:creationId xmlns:a16="http://schemas.microsoft.com/office/drawing/2014/main" id="{D0C95CC6-92C3-319F-67C5-FAFF8A2AB097}"/>
              </a:ext>
            </a:extLst>
          </p:cNvPr>
          <p:cNvSpPr/>
          <p:nvPr/>
        </p:nvSpPr>
        <p:spPr>
          <a:xfrm>
            <a:off x="865940" y="5836842"/>
            <a:ext cx="396000" cy="396000"/>
          </a:xfrm>
          <a:prstGeom prst="ellipse">
            <a:avLst/>
          </a:prstGeom>
          <a:solidFill>
            <a:srgbClr val="545454"/>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uk-UA" sz="1800" b="1" dirty="0">
                <a:latin typeface="Segoe UI" panose="020B0502040204020203" pitchFamily="34" charset="0"/>
                <a:cs typeface="Segoe UI" panose="020B0502040204020203" pitchFamily="34" charset="0"/>
              </a:rPr>
              <a:t>6</a:t>
            </a:r>
          </a:p>
        </p:txBody>
      </p:sp>
      <p:sp>
        <p:nvSpPr>
          <p:cNvPr id="3" name="TextBox 2">
            <a:extLst>
              <a:ext uri="{FF2B5EF4-FFF2-40B4-BE49-F238E27FC236}">
                <a16:creationId xmlns:a16="http://schemas.microsoft.com/office/drawing/2014/main" id="{FB552C7E-B56B-42D0-4315-C87235B788ED}"/>
              </a:ext>
            </a:extLst>
          </p:cNvPr>
          <p:cNvSpPr txBox="1"/>
          <p:nvPr/>
        </p:nvSpPr>
        <p:spPr>
          <a:xfrm>
            <a:off x="777475" y="49977"/>
            <a:ext cx="12662123" cy="830997"/>
          </a:xfrm>
          <a:prstGeom prst="rect">
            <a:avLst/>
          </a:prstGeom>
          <a:noFill/>
        </p:spPr>
        <p:txBody>
          <a:bodyPr wrap="square" rtlCol="0">
            <a:spAutoFit/>
          </a:bodyPr>
          <a:lstStyle/>
          <a:p>
            <a:r>
              <a:rPr lang="uk-UA" sz="2400" b="1" noProof="1">
                <a:latin typeface="Segoe UI" panose="020B0502040204020203" pitchFamily="34" charset="0"/>
                <a:ea typeface="Open Sans" panose="020B0606030504020204" pitchFamily="34" charset="0"/>
                <a:cs typeface="Segoe UI" panose="020B0502040204020203" pitchFamily="34" charset="0"/>
              </a:rPr>
              <a:t>АВТОМАТИЗОВАНА СИСТЕМА ДРАФТИНГУ КОРПОРАТИВНИХ ДОКУМЕНТІВ </a:t>
            </a:r>
          </a:p>
          <a:p>
            <a:r>
              <a:rPr lang="en-US" sz="2400" b="1" noProof="1">
                <a:latin typeface="Segoe UI" panose="020B0502040204020203" pitchFamily="34" charset="0"/>
                <a:ea typeface="Open Sans" panose="020B0606030504020204" pitchFamily="34" charset="0"/>
                <a:cs typeface="Segoe UI" panose="020B0502040204020203" pitchFamily="34" charset="0"/>
              </a:rPr>
              <a:t>AS IS</a:t>
            </a:r>
            <a:r>
              <a:rPr lang="uk-UA" sz="2400" b="1" noProof="1">
                <a:latin typeface="Segoe UI" panose="020B0502040204020203" pitchFamily="34" charset="0"/>
                <a:ea typeface="Open Sans" panose="020B0606030504020204" pitchFamily="34" charset="0"/>
                <a:cs typeface="Segoe UI" panose="020B0502040204020203" pitchFamily="34" charset="0"/>
              </a:rPr>
              <a:t> 3</a:t>
            </a:r>
            <a:r>
              <a:rPr lang="en-US" sz="2400" b="1" noProof="1">
                <a:latin typeface="Segoe UI" panose="020B0502040204020203" pitchFamily="34" charset="0"/>
                <a:ea typeface="Open Sans" panose="020B0606030504020204" pitchFamily="34" charset="0"/>
                <a:cs typeface="Segoe UI" panose="020B0502040204020203" pitchFamily="34" charset="0"/>
              </a:rPr>
              <a:t>/</a:t>
            </a:r>
            <a:r>
              <a:rPr lang="uk-UA" sz="2400" b="1" noProof="1">
                <a:latin typeface="Segoe UI" panose="020B0502040204020203" pitchFamily="34" charset="0"/>
                <a:ea typeface="Open Sans" panose="020B0606030504020204" pitchFamily="34" charset="0"/>
                <a:cs typeface="Segoe UI" panose="020B0502040204020203" pitchFamily="34" charset="0"/>
              </a:rPr>
              <a:t>4</a:t>
            </a:r>
          </a:p>
        </p:txBody>
      </p:sp>
      <p:pic>
        <p:nvPicPr>
          <p:cNvPr id="10" name="Рисунок 9" descr="Зображення, що містить текст, знімок екрана, Шрифт, число&#10;&#10;Вміст, створений ШІ, може бути неправильним.">
            <a:extLst>
              <a:ext uri="{FF2B5EF4-FFF2-40B4-BE49-F238E27FC236}">
                <a16:creationId xmlns:a16="http://schemas.microsoft.com/office/drawing/2014/main" id="{A5EEF9C6-4BEB-D5A7-A893-881CD0280ABD}"/>
              </a:ext>
            </a:extLst>
          </p:cNvPr>
          <p:cNvPicPr>
            <a:picLocks noChangeAspect="1"/>
          </p:cNvPicPr>
          <p:nvPr/>
        </p:nvPicPr>
        <p:blipFill>
          <a:blip r:embed="rId3"/>
          <a:stretch>
            <a:fillRect/>
          </a:stretch>
        </p:blipFill>
        <p:spPr>
          <a:xfrm>
            <a:off x="865941" y="1103904"/>
            <a:ext cx="8198049" cy="3681378"/>
          </a:xfrm>
          <a:prstGeom prst="rect">
            <a:avLst/>
          </a:prstGeom>
        </p:spPr>
      </p:pic>
      <p:pic>
        <p:nvPicPr>
          <p:cNvPr id="16" name="Рисунок 15" descr="Зображення, що містить текст, знімок екрана, Шрифт, число&#10;&#10;Вміст, створений ШІ, може бути неправильним.">
            <a:extLst>
              <a:ext uri="{FF2B5EF4-FFF2-40B4-BE49-F238E27FC236}">
                <a16:creationId xmlns:a16="http://schemas.microsoft.com/office/drawing/2014/main" id="{8440AAE3-8B88-5A48-97D3-0A112F4B4E99}"/>
              </a:ext>
            </a:extLst>
          </p:cNvPr>
          <p:cNvPicPr>
            <a:picLocks noChangeAspect="1"/>
          </p:cNvPicPr>
          <p:nvPr/>
        </p:nvPicPr>
        <p:blipFill>
          <a:blip r:embed="rId4"/>
          <a:stretch>
            <a:fillRect/>
          </a:stretch>
        </p:blipFill>
        <p:spPr>
          <a:xfrm>
            <a:off x="5709239" y="3406140"/>
            <a:ext cx="7572421" cy="3280410"/>
          </a:xfrm>
          <a:prstGeom prst="rect">
            <a:avLst/>
          </a:prstGeom>
        </p:spPr>
      </p:pic>
      <p:sp>
        <p:nvSpPr>
          <p:cNvPr id="17" name="Овал 16">
            <a:extLst>
              <a:ext uri="{FF2B5EF4-FFF2-40B4-BE49-F238E27FC236}">
                <a16:creationId xmlns:a16="http://schemas.microsoft.com/office/drawing/2014/main" id="{6A3D5B83-F23E-15C4-2076-1FB3FFBE32B3}"/>
              </a:ext>
            </a:extLst>
          </p:cNvPr>
          <p:cNvSpPr/>
          <p:nvPr/>
        </p:nvSpPr>
        <p:spPr>
          <a:xfrm>
            <a:off x="777475" y="971863"/>
            <a:ext cx="396000" cy="396000"/>
          </a:xfrm>
          <a:prstGeom prst="ellipse">
            <a:avLst/>
          </a:prstGeom>
          <a:solidFill>
            <a:srgbClr val="FED1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uk-UA" sz="1800" b="1" dirty="0">
                <a:solidFill>
                  <a:schemeClr val="tx1"/>
                </a:solidFill>
                <a:latin typeface="Segoe UI" panose="020B0502040204020203" pitchFamily="34" charset="0"/>
                <a:cs typeface="Segoe UI" panose="020B0502040204020203" pitchFamily="34" charset="0"/>
              </a:rPr>
              <a:t>5</a:t>
            </a:r>
          </a:p>
        </p:txBody>
      </p:sp>
      <p:sp>
        <p:nvSpPr>
          <p:cNvPr id="18" name="Овал 17">
            <a:extLst>
              <a:ext uri="{FF2B5EF4-FFF2-40B4-BE49-F238E27FC236}">
                <a16:creationId xmlns:a16="http://schemas.microsoft.com/office/drawing/2014/main" id="{1EDD1EC3-ECC1-3825-613F-3CB7168A338C}"/>
              </a:ext>
            </a:extLst>
          </p:cNvPr>
          <p:cNvSpPr/>
          <p:nvPr/>
        </p:nvSpPr>
        <p:spPr>
          <a:xfrm>
            <a:off x="5599746" y="3298551"/>
            <a:ext cx="396000" cy="396000"/>
          </a:xfrm>
          <a:prstGeom prst="ellipse">
            <a:avLst/>
          </a:prstGeom>
          <a:solidFill>
            <a:srgbClr val="FED1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uk-UA" sz="1800" b="1" dirty="0">
                <a:solidFill>
                  <a:schemeClr val="tx1"/>
                </a:solidFill>
                <a:latin typeface="Segoe UI" panose="020B0502040204020203" pitchFamily="34" charset="0"/>
                <a:cs typeface="Segoe UI" panose="020B0502040204020203" pitchFamily="34" charset="0"/>
              </a:rPr>
              <a:t>6</a:t>
            </a:r>
          </a:p>
        </p:txBody>
      </p:sp>
    </p:spTree>
    <p:extLst>
      <p:ext uri="{BB962C8B-B14F-4D97-AF65-F5344CB8AC3E}">
        <p14:creationId xmlns:p14="http://schemas.microsoft.com/office/powerpoint/2010/main" val="194063516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D98B8D-4E24-5FE2-C257-3E186AEE76D3}"/>
            </a:ext>
          </a:extLst>
        </p:cNvPr>
        <p:cNvGrpSpPr/>
        <p:nvPr/>
      </p:nvGrpSpPr>
      <p:grpSpPr>
        <a:xfrm>
          <a:off x="0" y="0"/>
          <a:ext cx="0" cy="0"/>
          <a:chOff x="0" y="0"/>
          <a:chExt cx="0" cy="0"/>
        </a:xfrm>
      </p:grpSpPr>
      <p:sp>
        <p:nvSpPr>
          <p:cNvPr id="5" name="Rectangle 1">
            <a:extLst>
              <a:ext uri="{FF2B5EF4-FFF2-40B4-BE49-F238E27FC236}">
                <a16:creationId xmlns:a16="http://schemas.microsoft.com/office/drawing/2014/main" id="{653C185A-5439-D317-F058-27DAB11E17F3}"/>
              </a:ext>
            </a:extLst>
          </p:cNvPr>
          <p:cNvSpPr/>
          <p:nvPr/>
        </p:nvSpPr>
        <p:spPr>
          <a:xfrm>
            <a:off x="777475" y="5055949"/>
            <a:ext cx="4710946" cy="1399822"/>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00796" tIns="50398" rIns="100796" bIns="50398" rtlCol="0" anchor="ctr"/>
          <a:lstStyle/>
          <a:p>
            <a:pPr>
              <a:spcAft>
                <a:spcPts val="1800"/>
              </a:spcAft>
            </a:pPr>
            <a:endParaRPr lang="uk-UA" sz="1200" noProof="1">
              <a:solidFill>
                <a:srgbClr val="000000"/>
              </a:solidFill>
              <a:latin typeface="Segoe UI"/>
              <a:cs typeface="Segoe UI"/>
            </a:endParaRPr>
          </a:p>
        </p:txBody>
      </p:sp>
      <p:sp>
        <p:nvSpPr>
          <p:cNvPr id="7" name="TextBox 6">
            <a:extLst>
              <a:ext uri="{FF2B5EF4-FFF2-40B4-BE49-F238E27FC236}">
                <a16:creationId xmlns:a16="http://schemas.microsoft.com/office/drawing/2014/main" id="{477F722D-22F0-20A7-1964-7CE2660CC27E}"/>
              </a:ext>
            </a:extLst>
          </p:cNvPr>
          <p:cNvSpPr txBox="1"/>
          <p:nvPr/>
        </p:nvSpPr>
        <p:spPr>
          <a:xfrm>
            <a:off x="1394293" y="5192090"/>
            <a:ext cx="3985310" cy="461665"/>
          </a:xfrm>
          <a:prstGeom prst="rect">
            <a:avLst/>
          </a:prstGeom>
          <a:noFill/>
        </p:spPr>
        <p:txBody>
          <a:bodyPr wrap="square" rtlCol="0">
            <a:spAutoFit/>
          </a:bodyPr>
          <a:lstStyle/>
          <a:p>
            <a:pPr>
              <a:spcAft>
                <a:spcPts val="1800"/>
              </a:spcAft>
            </a:pPr>
            <a:r>
              <a:rPr lang="ru-RU" sz="1200" noProof="1">
                <a:solidFill>
                  <a:srgbClr val="000000"/>
                </a:solidFill>
                <a:latin typeface="Segoe UI"/>
                <a:cs typeface="Segoe UI"/>
              </a:rPr>
              <a:t>Внесення даних про дату корп. документа, контрагента, суму договору</a:t>
            </a:r>
          </a:p>
        </p:txBody>
      </p:sp>
      <p:sp>
        <p:nvSpPr>
          <p:cNvPr id="9" name="TextBox 8">
            <a:extLst>
              <a:ext uri="{FF2B5EF4-FFF2-40B4-BE49-F238E27FC236}">
                <a16:creationId xmlns:a16="http://schemas.microsoft.com/office/drawing/2014/main" id="{B8BCF360-3723-17E2-BE81-202F135F310A}"/>
              </a:ext>
            </a:extLst>
          </p:cNvPr>
          <p:cNvSpPr txBox="1"/>
          <p:nvPr/>
        </p:nvSpPr>
        <p:spPr>
          <a:xfrm>
            <a:off x="1394293" y="5836842"/>
            <a:ext cx="4094128" cy="461665"/>
          </a:xfrm>
          <a:prstGeom prst="rect">
            <a:avLst/>
          </a:prstGeom>
          <a:noFill/>
        </p:spPr>
        <p:txBody>
          <a:bodyPr wrap="square" rtlCol="0">
            <a:spAutoFit/>
          </a:bodyPr>
          <a:lstStyle/>
          <a:p>
            <a:pPr>
              <a:spcAft>
                <a:spcPts val="1800"/>
              </a:spcAft>
            </a:pPr>
            <a:r>
              <a:rPr lang="ru-RU" sz="1200" noProof="1">
                <a:solidFill>
                  <a:srgbClr val="000000"/>
                </a:solidFill>
                <a:latin typeface="Segoe UI"/>
                <a:cs typeface="Segoe UI"/>
              </a:rPr>
              <a:t>Автоматичне генерування проекту корп. документа у форматі </a:t>
            </a:r>
            <a:r>
              <a:rPr lang="en-US" sz="1200" noProof="1">
                <a:solidFill>
                  <a:srgbClr val="000000"/>
                </a:solidFill>
                <a:latin typeface="Segoe UI"/>
                <a:cs typeface="Segoe UI"/>
              </a:rPr>
              <a:t>Word</a:t>
            </a:r>
            <a:endParaRPr lang="ru-RU" sz="1200" noProof="1">
              <a:solidFill>
                <a:srgbClr val="000000"/>
              </a:solidFill>
              <a:latin typeface="Segoe UI"/>
              <a:cs typeface="Segoe UI"/>
            </a:endParaRPr>
          </a:p>
        </p:txBody>
      </p:sp>
      <p:sp>
        <p:nvSpPr>
          <p:cNvPr id="12" name="Овал 11">
            <a:extLst>
              <a:ext uri="{FF2B5EF4-FFF2-40B4-BE49-F238E27FC236}">
                <a16:creationId xmlns:a16="http://schemas.microsoft.com/office/drawing/2014/main" id="{BCC716E0-5634-1A80-ABCA-22A1F8E2F163}"/>
              </a:ext>
            </a:extLst>
          </p:cNvPr>
          <p:cNvSpPr/>
          <p:nvPr/>
        </p:nvSpPr>
        <p:spPr>
          <a:xfrm>
            <a:off x="865940" y="5191694"/>
            <a:ext cx="396000" cy="396000"/>
          </a:xfrm>
          <a:prstGeom prst="ellipse">
            <a:avLst/>
          </a:prstGeom>
          <a:solidFill>
            <a:srgbClr val="545454"/>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uk-UA" sz="1800" b="1" dirty="0">
                <a:latin typeface="Segoe UI" panose="020B0502040204020203" pitchFamily="34" charset="0"/>
                <a:cs typeface="Segoe UI" panose="020B0502040204020203" pitchFamily="34" charset="0"/>
              </a:rPr>
              <a:t>7</a:t>
            </a:r>
          </a:p>
        </p:txBody>
      </p:sp>
      <p:sp>
        <p:nvSpPr>
          <p:cNvPr id="13" name="Овал 12">
            <a:extLst>
              <a:ext uri="{FF2B5EF4-FFF2-40B4-BE49-F238E27FC236}">
                <a16:creationId xmlns:a16="http://schemas.microsoft.com/office/drawing/2014/main" id="{A1EA08F7-194A-4216-B5CA-D062565A2EDA}"/>
              </a:ext>
            </a:extLst>
          </p:cNvPr>
          <p:cNvSpPr/>
          <p:nvPr/>
        </p:nvSpPr>
        <p:spPr>
          <a:xfrm>
            <a:off x="865940" y="5836842"/>
            <a:ext cx="396000" cy="396000"/>
          </a:xfrm>
          <a:prstGeom prst="ellipse">
            <a:avLst/>
          </a:prstGeom>
          <a:solidFill>
            <a:srgbClr val="545454"/>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uk-UA" sz="1800" b="1" dirty="0">
                <a:latin typeface="Segoe UI" panose="020B0502040204020203" pitchFamily="34" charset="0"/>
                <a:cs typeface="Segoe UI" panose="020B0502040204020203" pitchFamily="34" charset="0"/>
              </a:rPr>
              <a:t>8</a:t>
            </a:r>
          </a:p>
        </p:txBody>
      </p:sp>
      <p:sp>
        <p:nvSpPr>
          <p:cNvPr id="4" name="TextBox 3">
            <a:extLst>
              <a:ext uri="{FF2B5EF4-FFF2-40B4-BE49-F238E27FC236}">
                <a16:creationId xmlns:a16="http://schemas.microsoft.com/office/drawing/2014/main" id="{4AEFAB88-C99C-BDF8-C9EF-ECDDCF9FAC6B}"/>
              </a:ext>
            </a:extLst>
          </p:cNvPr>
          <p:cNvSpPr txBox="1"/>
          <p:nvPr/>
        </p:nvSpPr>
        <p:spPr>
          <a:xfrm>
            <a:off x="777475" y="49977"/>
            <a:ext cx="12662123" cy="830997"/>
          </a:xfrm>
          <a:prstGeom prst="rect">
            <a:avLst/>
          </a:prstGeom>
          <a:noFill/>
        </p:spPr>
        <p:txBody>
          <a:bodyPr wrap="square" rtlCol="0">
            <a:spAutoFit/>
          </a:bodyPr>
          <a:lstStyle/>
          <a:p>
            <a:r>
              <a:rPr lang="uk-UA" sz="2400" b="1" noProof="1">
                <a:latin typeface="Segoe UI" panose="020B0502040204020203" pitchFamily="34" charset="0"/>
                <a:ea typeface="Open Sans" panose="020B0606030504020204" pitchFamily="34" charset="0"/>
                <a:cs typeface="Segoe UI" panose="020B0502040204020203" pitchFamily="34" charset="0"/>
              </a:rPr>
              <a:t>АВТОМАТИЗОВАНА СИСТЕМА ДРАФТИНГУ КОРПОРАТИВНИХ ДОКУМЕНТІВ </a:t>
            </a:r>
          </a:p>
          <a:p>
            <a:r>
              <a:rPr lang="en-US" sz="2400" b="1" noProof="1">
                <a:latin typeface="Segoe UI" panose="020B0502040204020203" pitchFamily="34" charset="0"/>
                <a:ea typeface="Open Sans" panose="020B0606030504020204" pitchFamily="34" charset="0"/>
                <a:cs typeface="Segoe UI" panose="020B0502040204020203" pitchFamily="34" charset="0"/>
              </a:rPr>
              <a:t>AS IS</a:t>
            </a:r>
            <a:r>
              <a:rPr lang="uk-UA" sz="2400" b="1" noProof="1">
                <a:latin typeface="Segoe UI" panose="020B0502040204020203" pitchFamily="34" charset="0"/>
                <a:ea typeface="Open Sans" panose="020B0606030504020204" pitchFamily="34" charset="0"/>
                <a:cs typeface="Segoe UI" panose="020B0502040204020203" pitchFamily="34" charset="0"/>
              </a:rPr>
              <a:t> 4</a:t>
            </a:r>
            <a:r>
              <a:rPr lang="en-US" sz="2400" b="1" noProof="1">
                <a:latin typeface="Segoe UI" panose="020B0502040204020203" pitchFamily="34" charset="0"/>
                <a:ea typeface="Open Sans" panose="020B0606030504020204" pitchFamily="34" charset="0"/>
                <a:cs typeface="Segoe UI" panose="020B0502040204020203" pitchFamily="34" charset="0"/>
              </a:rPr>
              <a:t>/</a:t>
            </a:r>
            <a:r>
              <a:rPr lang="uk-UA" sz="2400" b="1" noProof="1">
                <a:latin typeface="Segoe UI" panose="020B0502040204020203" pitchFamily="34" charset="0"/>
                <a:ea typeface="Open Sans" panose="020B0606030504020204" pitchFamily="34" charset="0"/>
                <a:cs typeface="Segoe UI" panose="020B0502040204020203" pitchFamily="34" charset="0"/>
              </a:rPr>
              <a:t>4</a:t>
            </a:r>
          </a:p>
        </p:txBody>
      </p:sp>
      <p:pic>
        <p:nvPicPr>
          <p:cNvPr id="8" name="Рисунок 7" descr="Зображення, що містить текст, знімок екрана, Шрифт, число&#10;&#10;Вміст, створений ШІ, може бути неправильним.">
            <a:extLst>
              <a:ext uri="{FF2B5EF4-FFF2-40B4-BE49-F238E27FC236}">
                <a16:creationId xmlns:a16="http://schemas.microsoft.com/office/drawing/2014/main" id="{4EA5E2AA-EABB-ECC7-4807-27A455025C39}"/>
              </a:ext>
            </a:extLst>
          </p:cNvPr>
          <p:cNvPicPr>
            <a:picLocks noChangeAspect="1"/>
          </p:cNvPicPr>
          <p:nvPr/>
        </p:nvPicPr>
        <p:blipFill>
          <a:blip r:embed="rId3"/>
          <a:stretch>
            <a:fillRect/>
          </a:stretch>
        </p:blipFill>
        <p:spPr>
          <a:xfrm>
            <a:off x="777475" y="1103904"/>
            <a:ext cx="8172215" cy="3768958"/>
          </a:xfrm>
          <a:prstGeom prst="rect">
            <a:avLst/>
          </a:prstGeom>
        </p:spPr>
      </p:pic>
      <p:pic>
        <p:nvPicPr>
          <p:cNvPr id="15" name="Рисунок 14" descr="Зображення, що містить текст, Шрифт, знімок екрана, чорно-білий&#10;&#10;Вміст, створений ШІ, може бути неправильним.">
            <a:extLst>
              <a:ext uri="{FF2B5EF4-FFF2-40B4-BE49-F238E27FC236}">
                <a16:creationId xmlns:a16="http://schemas.microsoft.com/office/drawing/2014/main" id="{DB9B206A-7C8D-9D14-0F47-CD30C2CB88CA}"/>
              </a:ext>
            </a:extLst>
          </p:cNvPr>
          <p:cNvPicPr>
            <a:picLocks noChangeAspect="1"/>
          </p:cNvPicPr>
          <p:nvPr/>
        </p:nvPicPr>
        <p:blipFill>
          <a:blip r:embed="rId4"/>
          <a:stretch>
            <a:fillRect/>
          </a:stretch>
        </p:blipFill>
        <p:spPr>
          <a:xfrm>
            <a:off x="7292340" y="2883302"/>
            <a:ext cx="5566410" cy="3768958"/>
          </a:xfrm>
          <a:prstGeom prst="rect">
            <a:avLst/>
          </a:prstGeom>
        </p:spPr>
      </p:pic>
      <p:sp>
        <p:nvSpPr>
          <p:cNvPr id="17" name="Овал 16">
            <a:extLst>
              <a:ext uri="{FF2B5EF4-FFF2-40B4-BE49-F238E27FC236}">
                <a16:creationId xmlns:a16="http://schemas.microsoft.com/office/drawing/2014/main" id="{179ED5D4-5B32-1304-A59A-C30C3F45E9CE}"/>
              </a:ext>
            </a:extLst>
          </p:cNvPr>
          <p:cNvSpPr/>
          <p:nvPr/>
        </p:nvSpPr>
        <p:spPr>
          <a:xfrm>
            <a:off x="736394" y="966964"/>
            <a:ext cx="396000" cy="396000"/>
          </a:xfrm>
          <a:prstGeom prst="ellipse">
            <a:avLst/>
          </a:prstGeom>
          <a:solidFill>
            <a:srgbClr val="FED1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uk-UA" sz="1800" b="1" dirty="0">
                <a:solidFill>
                  <a:schemeClr val="tx1"/>
                </a:solidFill>
                <a:latin typeface="Segoe UI" panose="020B0502040204020203" pitchFamily="34" charset="0"/>
                <a:cs typeface="Segoe UI" panose="020B0502040204020203" pitchFamily="34" charset="0"/>
              </a:rPr>
              <a:t>7</a:t>
            </a:r>
          </a:p>
        </p:txBody>
      </p:sp>
      <p:sp>
        <p:nvSpPr>
          <p:cNvPr id="18" name="Овал 17">
            <a:extLst>
              <a:ext uri="{FF2B5EF4-FFF2-40B4-BE49-F238E27FC236}">
                <a16:creationId xmlns:a16="http://schemas.microsoft.com/office/drawing/2014/main" id="{EAF0D021-261B-0C54-139A-9EF013CD80D5}"/>
              </a:ext>
            </a:extLst>
          </p:cNvPr>
          <p:cNvSpPr/>
          <p:nvPr/>
        </p:nvSpPr>
        <p:spPr>
          <a:xfrm>
            <a:off x="7292340" y="2790383"/>
            <a:ext cx="396000" cy="396000"/>
          </a:xfrm>
          <a:prstGeom prst="ellipse">
            <a:avLst/>
          </a:prstGeom>
          <a:solidFill>
            <a:srgbClr val="FED1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uk-UA" sz="1800" b="1" dirty="0">
                <a:solidFill>
                  <a:schemeClr val="tx1"/>
                </a:solidFill>
                <a:latin typeface="Segoe UI" panose="020B0502040204020203" pitchFamily="34" charset="0"/>
                <a:cs typeface="Segoe UI" panose="020B0502040204020203" pitchFamily="34" charset="0"/>
              </a:rPr>
              <a:t>8</a:t>
            </a:r>
          </a:p>
        </p:txBody>
      </p:sp>
    </p:spTree>
    <p:extLst>
      <p:ext uri="{BB962C8B-B14F-4D97-AF65-F5344CB8AC3E}">
        <p14:creationId xmlns:p14="http://schemas.microsoft.com/office/powerpoint/2010/main" val="181741516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E473A9-253B-C37B-DF05-FA6153C27F1B}"/>
            </a:ext>
          </a:extLst>
        </p:cNvPr>
        <p:cNvGrpSpPr/>
        <p:nvPr/>
      </p:nvGrpSpPr>
      <p:grpSpPr>
        <a:xfrm>
          <a:off x="0" y="0"/>
          <a:ext cx="0" cy="0"/>
          <a:chOff x="0" y="0"/>
          <a:chExt cx="0" cy="0"/>
        </a:xfrm>
      </p:grpSpPr>
      <p:sp>
        <p:nvSpPr>
          <p:cNvPr id="3" name="Rectangle: Rounded Corners 23">
            <a:extLst>
              <a:ext uri="{FF2B5EF4-FFF2-40B4-BE49-F238E27FC236}">
                <a16:creationId xmlns:a16="http://schemas.microsoft.com/office/drawing/2014/main" id="{863D0F53-F420-4FB6-B28E-09F845D7991C}"/>
              </a:ext>
            </a:extLst>
          </p:cNvPr>
          <p:cNvSpPr/>
          <p:nvPr/>
        </p:nvSpPr>
        <p:spPr>
          <a:xfrm>
            <a:off x="897162" y="1073498"/>
            <a:ext cx="3549324" cy="290993"/>
          </a:xfrm>
          <a:prstGeom prst="snip2DiagRect">
            <a:avLst>
              <a:gd name="adj1" fmla="val 0"/>
              <a:gd name="adj2" fmla="val 41022"/>
            </a:avLst>
          </a:prstGeom>
          <a:solidFill>
            <a:srgbClr val="FFE500"/>
          </a:solidFill>
          <a:ln>
            <a:noFill/>
          </a:ln>
          <a:effectLst>
            <a:outerShdw blurRad="50800" dist="38100" dir="2700000" algn="tl" rotWithShape="0">
              <a:srgbClr val="EEC600">
                <a:alpha val="53725"/>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685721" rtl="0" eaLnBrk="1" latinLnBrk="0" hangingPunct="1">
              <a:defRPr sz="1352" kern="1200">
                <a:solidFill>
                  <a:schemeClr val="tx1"/>
                </a:solidFill>
                <a:latin typeface="+mn-lt"/>
                <a:ea typeface="+mn-ea"/>
                <a:cs typeface="+mn-cs"/>
              </a:defRPr>
            </a:lvl1pPr>
            <a:lvl2pPr marL="342860" algn="l" defTabSz="685721" rtl="0" eaLnBrk="1" latinLnBrk="0" hangingPunct="1">
              <a:defRPr sz="1352" kern="1200">
                <a:solidFill>
                  <a:schemeClr val="tx1"/>
                </a:solidFill>
                <a:latin typeface="+mn-lt"/>
                <a:ea typeface="+mn-ea"/>
                <a:cs typeface="+mn-cs"/>
              </a:defRPr>
            </a:lvl2pPr>
            <a:lvl3pPr marL="685721" algn="l" defTabSz="685721" rtl="0" eaLnBrk="1" latinLnBrk="0" hangingPunct="1">
              <a:defRPr sz="1352" kern="1200">
                <a:solidFill>
                  <a:schemeClr val="tx1"/>
                </a:solidFill>
                <a:latin typeface="+mn-lt"/>
                <a:ea typeface="+mn-ea"/>
                <a:cs typeface="+mn-cs"/>
              </a:defRPr>
            </a:lvl3pPr>
            <a:lvl4pPr marL="1028579" algn="l" defTabSz="685721" rtl="0" eaLnBrk="1" latinLnBrk="0" hangingPunct="1">
              <a:defRPr sz="1352" kern="1200">
                <a:solidFill>
                  <a:schemeClr val="tx1"/>
                </a:solidFill>
                <a:latin typeface="+mn-lt"/>
                <a:ea typeface="+mn-ea"/>
                <a:cs typeface="+mn-cs"/>
              </a:defRPr>
            </a:lvl4pPr>
            <a:lvl5pPr marL="1371440" algn="l" defTabSz="685721" rtl="0" eaLnBrk="1" latinLnBrk="0" hangingPunct="1">
              <a:defRPr sz="1352" kern="1200">
                <a:solidFill>
                  <a:schemeClr val="tx1"/>
                </a:solidFill>
                <a:latin typeface="+mn-lt"/>
                <a:ea typeface="+mn-ea"/>
                <a:cs typeface="+mn-cs"/>
              </a:defRPr>
            </a:lvl5pPr>
            <a:lvl6pPr marL="1714300" algn="l" defTabSz="685721" rtl="0" eaLnBrk="1" latinLnBrk="0" hangingPunct="1">
              <a:defRPr sz="1352" kern="1200">
                <a:solidFill>
                  <a:schemeClr val="tx1"/>
                </a:solidFill>
                <a:latin typeface="+mn-lt"/>
                <a:ea typeface="+mn-ea"/>
                <a:cs typeface="+mn-cs"/>
              </a:defRPr>
            </a:lvl6pPr>
            <a:lvl7pPr marL="2057159" algn="l" defTabSz="685721" rtl="0" eaLnBrk="1" latinLnBrk="0" hangingPunct="1">
              <a:defRPr sz="1352" kern="1200">
                <a:solidFill>
                  <a:schemeClr val="tx1"/>
                </a:solidFill>
                <a:latin typeface="+mn-lt"/>
                <a:ea typeface="+mn-ea"/>
                <a:cs typeface="+mn-cs"/>
              </a:defRPr>
            </a:lvl7pPr>
            <a:lvl8pPr marL="2400019" algn="l" defTabSz="685721" rtl="0" eaLnBrk="1" latinLnBrk="0" hangingPunct="1">
              <a:defRPr sz="1352" kern="1200">
                <a:solidFill>
                  <a:schemeClr val="tx1"/>
                </a:solidFill>
                <a:latin typeface="+mn-lt"/>
                <a:ea typeface="+mn-ea"/>
                <a:cs typeface="+mn-cs"/>
              </a:defRPr>
            </a:lvl8pPr>
            <a:lvl9pPr marL="2742879" algn="l" defTabSz="685721" rtl="0" eaLnBrk="1" latinLnBrk="0" hangingPunct="1">
              <a:defRPr sz="1352" kern="1200">
                <a:solidFill>
                  <a:schemeClr val="tx1"/>
                </a:solidFill>
                <a:latin typeface="+mn-lt"/>
                <a:ea typeface="+mn-ea"/>
                <a:cs typeface="+mn-cs"/>
              </a:defRPr>
            </a:lvl9pPr>
          </a:lstStyle>
          <a:p>
            <a:pPr defTabSz="566968"/>
            <a:r>
              <a:rPr lang="uk-UA" sz="1543" b="1" noProof="1">
                <a:solidFill>
                  <a:prstClr val="black"/>
                </a:solidFill>
                <a:latin typeface="Segoe UI" panose="020B0502040204020203" pitchFamily="34" charset="0"/>
                <a:ea typeface="Calibri" panose="020F0502020204030204"/>
                <a:cs typeface="Segoe UI" panose="020B0502040204020203" pitchFamily="34" charset="0"/>
              </a:rPr>
              <a:t>	As </a:t>
            </a:r>
            <a:r>
              <a:rPr lang="en-US" sz="1543" b="1" noProof="1">
                <a:solidFill>
                  <a:prstClr val="black"/>
                </a:solidFill>
                <a:latin typeface="Segoe UI" panose="020B0502040204020203" pitchFamily="34" charset="0"/>
                <a:ea typeface="Calibri" panose="020F0502020204030204"/>
                <a:cs typeface="Segoe UI" panose="020B0502040204020203" pitchFamily="34" charset="0"/>
              </a:rPr>
              <a:t>was</a:t>
            </a:r>
            <a:endParaRPr lang="uk-UA" sz="1543" b="1" noProof="1">
              <a:solidFill>
                <a:prstClr val="black"/>
              </a:solidFill>
              <a:latin typeface="Segoe UI" panose="020B0502040204020203" pitchFamily="34" charset="0"/>
              <a:ea typeface="Calibri" panose="020F0502020204030204"/>
              <a:cs typeface="Segoe UI" panose="020B0502040204020203" pitchFamily="34" charset="0"/>
            </a:endParaRPr>
          </a:p>
        </p:txBody>
      </p:sp>
      <p:sp>
        <p:nvSpPr>
          <p:cNvPr id="4" name="TextBox 3">
            <a:extLst>
              <a:ext uri="{FF2B5EF4-FFF2-40B4-BE49-F238E27FC236}">
                <a16:creationId xmlns:a16="http://schemas.microsoft.com/office/drawing/2014/main" id="{0289F49D-270E-2581-B909-8BF7710ED4EF}"/>
              </a:ext>
            </a:extLst>
          </p:cNvPr>
          <p:cNvSpPr txBox="1"/>
          <p:nvPr/>
        </p:nvSpPr>
        <p:spPr>
          <a:xfrm>
            <a:off x="894743" y="1497920"/>
            <a:ext cx="4960014" cy="3990836"/>
          </a:xfrm>
          <a:prstGeom prst="rect">
            <a:avLst/>
          </a:prstGeom>
          <a:noFill/>
        </p:spPr>
        <p:txBody>
          <a:bodyPr wrap="square" rtlCol="0">
            <a:spAutoFit/>
          </a:bodyPr>
          <a:lstStyle>
            <a:defPPr>
              <a:defRPr lang="en-US"/>
            </a:defPPr>
            <a:lvl1pPr marL="0" algn="l" defTabSz="685721" rtl="0" eaLnBrk="1" latinLnBrk="0" hangingPunct="1">
              <a:defRPr sz="1352" kern="1200">
                <a:solidFill>
                  <a:schemeClr val="tx1"/>
                </a:solidFill>
                <a:latin typeface="+mn-lt"/>
                <a:ea typeface="+mn-ea"/>
                <a:cs typeface="+mn-cs"/>
              </a:defRPr>
            </a:lvl1pPr>
            <a:lvl2pPr marL="342860" algn="l" defTabSz="685721" rtl="0" eaLnBrk="1" latinLnBrk="0" hangingPunct="1">
              <a:defRPr sz="1352" kern="1200">
                <a:solidFill>
                  <a:schemeClr val="tx1"/>
                </a:solidFill>
                <a:latin typeface="+mn-lt"/>
                <a:ea typeface="+mn-ea"/>
                <a:cs typeface="+mn-cs"/>
              </a:defRPr>
            </a:lvl2pPr>
            <a:lvl3pPr marL="685721" algn="l" defTabSz="685721" rtl="0" eaLnBrk="1" latinLnBrk="0" hangingPunct="1">
              <a:defRPr sz="1352" kern="1200">
                <a:solidFill>
                  <a:schemeClr val="tx1"/>
                </a:solidFill>
                <a:latin typeface="+mn-lt"/>
                <a:ea typeface="+mn-ea"/>
                <a:cs typeface="+mn-cs"/>
              </a:defRPr>
            </a:lvl3pPr>
            <a:lvl4pPr marL="1028579" algn="l" defTabSz="685721" rtl="0" eaLnBrk="1" latinLnBrk="0" hangingPunct="1">
              <a:defRPr sz="1352" kern="1200">
                <a:solidFill>
                  <a:schemeClr val="tx1"/>
                </a:solidFill>
                <a:latin typeface="+mn-lt"/>
                <a:ea typeface="+mn-ea"/>
                <a:cs typeface="+mn-cs"/>
              </a:defRPr>
            </a:lvl4pPr>
            <a:lvl5pPr marL="1371440" algn="l" defTabSz="685721" rtl="0" eaLnBrk="1" latinLnBrk="0" hangingPunct="1">
              <a:defRPr sz="1352" kern="1200">
                <a:solidFill>
                  <a:schemeClr val="tx1"/>
                </a:solidFill>
                <a:latin typeface="+mn-lt"/>
                <a:ea typeface="+mn-ea"/>
                <a:cs typeface="+mn-cs"/>
              </a:defRPr>
            </a:lvl5pPr>
            <a:lvl6pPr marL="1714300" algn="l" defTabSz="685721" rtl="0" eaLnBrk="1" latinLnBrk="0" hangingPunct="1">
              <a:defRPr sz="1352" kern="1200">
                <a:solidFill>
                  <a:schemeClr val="tx1"/>
                </a:solidFill>
                <a:latin typeface="+mn-lt"/>
                <a:ea typeface="+mn-ea"/>
                <a:cs typeface="+mn-cs"/>
              </a:defRPr>
            </a:lvl6pPr>
            <a:lvl7pPr marL="2057159" algn="l" defTabSz="685721" rtl="0" eaLnBrk="1" latinLnBrk="0" hangingPunct="1">
              <a:defRPr sz="1352" kern="1200">
                <a:solidFill>
                  <a:schemeClr val="tx1"/>
                </a:solidFill>
                <a:latin typeface="+mn-lt"/>
                <a:ea typeface="+mn-ea"/>
                <a:cs typeface="+mn-cs"/>
              </a:defRPr>
            </a:lvl7pPr>
            <a:lvl8pPr marL="2400019" algn="l" defTabSz="685721" rtl="0" eaLnBrk="1" latinLnBrk="0" hangingPunct="1">
              <a:defRPr sz="1352" kern="1200">
                <a:solidFill>
                  <a:schemeClr val="tx1"/>
                </a:solidFill>
                <a:latin typeface="+mn-lt"/>
                <a:ea typeface="+mn-ea"/>
                <a:cs typeface="+mn-cs"/>
              </a:defRPr>
            </a:lvl8pPr>
            <a:lvl9pPr marL="2742879" algn="l" defTabSz="685721" rtl="0" eaLnBrk="1" latinLnBrk="0" hangingPunct="1">
              <a:defRPr sz="1352" kern="1200">
                <a:solidFill>
                  <a:schemeClr val="tx1"/>
                </a:solidFill>
                <a:latin typeface="+mn-lt"/>
                <a:ea typeface="+mn-ea"/>
                <a:cs typeface="+mn-cs"/>
              </a:defRPr>
            </a:lvl9pPr>
          </a:lstStyle>
          <a:p>
            <a:pPr marL="236237" indent="-236237">
              <a:spcAft>
                <a:spcPts val="800"/>
              </a:spcAft>
              <a:buClr>
                <a:srgbClr val="FFE500"/>
              </a:buClr>
              <a:buBlip>
                <a:blip r:embed="rId3">
                  <a:extLst>
                    <a:ext uri="{96DAC541-7B7A-43D3-8B79-37D633B846F1}">
                      <asvg:svgBlip xmlns:asvg="http://schemas.microsoft.com/office/drawing/2016/SVG/main" r:embed="rId4"/>
                    </a:ext>
                  </a:extLst>
                </a:blip>
              </a:buBlip>
            </a:pPr>
            <a:r>
              <a:rPr lang="uk-UA" sz="1200" noProof="1">
                <a:latin typeface="Segoe UI" panose="020B0502040204020203" pitchFamily="34" charset="0"/>
                <a:ea typeface="Open Sans" panose="020B0606030504020204" pitchFamily="34" charset="0"/>
                <a:cs typeface="Segoe UI" panose="020B0502040204020203" pitchFamily="34" charset="0"/>
              </a:rPr>
              <a:t>Пошук потрібного шаблону корп. документа</a:t>
            </a:r>
          </a:p>
          <a:p>
            <a:pPr marL="236237" indent="-236237">
              <a:spcAft>
                <a:spcPts val="800"/>
              </a:spcAft>
              <a:buClr>
                <a:srgbClr val="FFE500"/>
              </a:buClr>
              <a:buBlip>
                <a:blip r:embed="rId3">
                  <a:extLst>
                    <a:ext uri="{96DAC541-7B7A-43D3-8B79-37D633B846F1}">
                      <asvg:svgBlip xmlns:asvg="http://schemas.microsoft.com/office/drawing/2016/SVG/main" r:embed="rId4"/>
                    </a:ext>
                  </a:extLst>
                </a:blip>
              </a:buBlip>
            </a:pPr>
            <a:r>
              <a:rPr lang="uk-UA" sz="1200" noProof="1">
                <a:latin typeface="Segoe UI" panose="020B0502040204020203" pitchFamily="34" charset="0"/>
                <a:ea typeface="Open Sans" panose="020B0606030504020204" pitchFamily="34" charset="0"/>
                <a:cs typeface="Segoe UI" panose="020B0502040204020203" pitchFamily="34" charset="0"/>
              </a:rPr>
              <a:t>Заповнення реквізитів корп. документа</a:t>
            </a:r>
          </a:p>
          <a:p>
            <a:pPr marL="171450" indent="-171450">
              <a:spcAft>
                <a:spcPts val="800"/>
              </a:spcAft>
              <a:buClr>
                <a:schemeClr val="tx1"/>
              </a:buClr>
              <a:buFont typeface="Wingdings" panose="05000000000000000000" pitchFamily="2" charset="2"/>
              <a:buChar char="§"/>
            </a:pPr>
            <a:r>
              <a:rPr lang="uk-UA" sz="1200" noProof="1">
                <a:latin typeface="Segoe UI" panose="020B0502040204020203" pitchFamily="34" charset="0"/>
                <a:ea typeface="Open Sans" panose="020B0606030504020204" pitchFamily="34" charset="0"/>
                <a:cs typeface="Segoe UI" panose="020B0502040204020203" pitchFamily="34" charset="0"/>
              </a:rPr>
              <a:t>Наповнення змістової частини корп. документа</a:t>
            </a:r>
          </a:p>
          <a:p>
            <a:pPr marL="236237" indent="-236237">
              <a:spcAft>
                <a:spcPts val="800"/>
              </a:spcAft>
              <a:buClr>
                <a:srgbClr val="FFE500"/>
              </a:buClr>
              <a:buBlip>
                <a:blip r:embed="rId3">
                  <a:extLst>
                    <a:ext uri="{96DAC541-7B7A-43D3-8B79-37D633B846F1}">
                      <asvg:svgBlip xmlns:asvg="http://schemas.microsoft.com/office/drawing/2016/SVG/main" r:embed="rId4"/>
                    </a:ext>
                  </a:extLst>
                </a:blip>
              </a:buBlip>
            </a:pPr>
            <a:r>
              <a:rPr lang="uk-UA" sz="1200" noProof="1">
                <a:latin typeface="Segoe UI" panose="020B0502040204020203" pitchFamily="34" charset="0"/>
                <a:ea typeface="Open Sans" panose="020B0606030504020204" pitchFamily="34" charset="0"/>
                <a:cs typeface="Segoe UI" panose="020B0502040204020203" pitchFamily="34" charset="0"/>
              </a:rPr>
              <a:t>Реєстрація корп. документа вручну</a:t>
            </a:r>
          </a:p>
          <a:p>
            <a:pPr marL="236237" indent="-236237">
              <a:spcAft>
                <a:spcPts val="800"/>
              </a:spcAft>
              <a:buClr>
                <a:srgbClr val="FFE500"/>
              </a:buClr>
              <a:buBlip>
                <a:blip r:embed="rId3">
                  <a:extLst>
                    <a:ext uri="{96DAC541-7B7A-43D3-8B79-37D633B846F1}">
                      <asvg:svgBlip xmlns:asvg="http://schemas.microsoft.com/office/drawing/2016/SVG/main" r:embed="rId4"/>
                    </a:ext>
                  </a:extLst>
                </a:blip>
              </a:buBlip>
            </a:pPr>
            <a:r>
              <a:rPr lang="uk-UA" sz="1200" noProof="1">
                <a:latin typeface="Segoe UI" panose="020B0502040204020203" pitchFamily="34" charset="0"/>
                <a:ea typeface="Open Sans" panose="020B0606030504020204" pitchFamily="34" charset="0"/>
                <a:cs typeface="Segoe UI" panose="020B0502040204020203" pitchFamily="34" charset="0"/>
              </a:rPr>
              <a:t>Реєстрація запиту на підписання корп. документа</a:t>
            </a:r>
          </a:p>
          <a:p>
            <a:pPr marL="171450" indent="-171450">
              <a:spcAft>
                <a:spcPts val="800"/>
              </a:spcAft>
              <a:buClr>
                <a:schemeClr val="tx1"/>
              </a:buClr>
              <a:buFont typeface="Wingdings" panose="05000000000000000000" pitchFamily="2" charset="2"/>
              <a:buChar char="§"/>
            </a:pPr>
            <a:r>
              <a:rPr lang="uk-UA" sz="1200" noProof="1">
                <a:latin typeface="Segoe UI" panose="020B0502040204020203" pitchFamily="34" charset="0"/>
                <a:ea typeface="Open Sans" panose="020B0606030504020204" pitchFamily="34" charset="0"/>
                <a:cs typeface="Segoe UI" panose="020B0502040204020203" pitchFamily="34" charset="0"/>
              </a:rPr>
              <a:t>Формування та направлення запиту на підписання документа</a:t>
            </a:r>
          </a:p>
          <a:p>
            <a:pPr marL="236237" indent="-236237">
              <a:spcAft>
                <a:spcPts val="800"/>
              </a:spcAft>
              <a:buClr>
                <a:srgbClr val="FFE500"/>
              </a:buClr>
              <a:buBlip>
                <a:blip r:embed="rId3">
                  <a:extLst>
                    <a:ext uri="{96DAC541-7B7A-43D3-8B79-37D633B846F1}">
                      <asvg:svgBlip xmlns:asvg="http://schemas.microsoft.com/office/drawing/2016/SVG/main" r:embed="rId4"/>
                    </a:ext>
                  </a:extLst>
                </a:blip>
              </a:buBlip>
            </a:pPr>
            <a:r>
              <a:rPr lang="uk-UA" sz="1200" noProof="1">
                <a:latin typeface="Segoe UI" panose="020B0502040204020203" pitchFamily="34" charset="0"/>
                <a:ea typeface="Open Sans" panose="020B0606030504020204" pitchFamily="34" charset="0"/>
                <a:cs typeface="Segoe UI" panose="020B0502040204020203" pitchFamily="34" charset="0"/>
              </a:rPr>
              <a:t>Організація асистентом почергового підписання корп. документа</a:t>
            </a:r>
          </a:p>
          <a:p>
            <a:pPr marL="171450" indent="-171450">
              <a:spcAft>
                <a:spcPts val="800"/>
              </a:spcAft>
              <a:buClr>
                <a:schemeClr val="tx1"/>
              </a:buClr>
              <a:buFont typeface="Wingdings" panose="05000000000000000000" pitchFamily="2" charset="2"/>
              <a:buChar char="§"/>
            </a:pPr>
            <a:r>
              <a:rPr lang="uk-UA" sz="1200" noProof="1">
                <a:latin typeface="Segoe UI" panose="020B0502040204020203" pitchFamily="34" charset="0"/>
                <a:ea typeface="Open Sans" panose="020B0606030504020204" pitchFamily="34" charset="0"/>
                <a:cs typeface="Segoe UI" panose="020B0502040204020203" pitchFamily="34" charset="0"/>
              </a:rPr>
              <a:t>Підписання корп. документа вручну</a:t>
            </a:r>
          </a:p>
          <a:p>
            <a:pPr marL="236237" indent="-236237">
              <a:spcAft>
                <a:spcPts val="800"/>
              </a:spcAft>
              <a:buClr>
                <a:srgbClr val="FFE500"/>
              </a:buClr>
              <a:buBlip>
                <a:blip r:embed="rId3">
                  <a:extLst>
                    <a:ext uri="{96DAC541-7B7A-43D3-8B79-37D633B846F1}">
                      <asvg:svgBlip xmlns:asvg="http://schemas.microsoft.com/office/drawing/2016/SVG/main" r:embed="rId4"/>
                    </a:ext>
                  </a:extLst>
                </a:blip>
              </a:buBlip>
            </a:pPr>
            <a:r>
              <a:rPr lang="uk-UA" sz="1200" noProof="1">
                <a:latin typeface="Segoe UI" panose="020B0502040204020203" pitchFamily="34" charset="0"/>
                <a:ea typeface="Open Sans" panose="020B0606030504020204" pitchFamily="34" charset="0"/>
                <a:cs typeface="Segoe UI" panose="020B0502040204020203" pitchFamily="34" charset="0"/>
              </a:rPr>
              <a:t>Сканування підписаного документа</a:t>
            </a:r>
          </a:p>
          <a:p>
            <a:pPr marL="236237" indent="-236237">
              <a:spcAft>
                <a:spcPts val="800"/>
              </a:spcAft>
              <a:buClr>
                <a:srgbClr val="FFE500"/>
              </a:buClr>
              <a:buBlip>
                <a:blip r:embed="rId3">
                  <a:extLst>
                    <a:ext uri="{96DAC541-7B7A-43D3-8B79-37D633B846F1}">
                      <asvg:svgBlip xmlns:asvg="http://schemas.microsoft.com/office/drawing/2016/SVG/main" r:embed="rId4"/>
                    </a:ext>
                  </a:extLst>
                </a:blip>
              </a:buBlip>
            </a:pPr>
            <a:r>
              <a:rPr lang="uk-UA" sz="1200" noProof="1">
                <a:latin typeface="Segoe UI" panose="020B0502040204020203" pitchFamily="34" charset="0"/>
                <a:ea typeface="Open Sans" panose="020B0606030504020204" pitchFamily="34" charset="0"/>
                <a:cs typeface="Segoe UI" panose="020B0502040204020203" pitchFamily="34" charset="0"/>
              </a:rPr>
              <a:t>Збереження скан-копії документа у відповідній папці на </a:t>
            </a:r>
            <a:r>
              <a:rPr lang="en-US" sz="1200" noProof="1">
                <a:latin typeface="Segoe UI" panose="020B0502040204020203" pitchFamily="34" charset="0"/>
                <a:ea typeface="Open Sans" panose="020B0606030504020204" pitchFamily="34" charset="0"/>
                <a:cs typeface="Segoe UI" panose="020B0502040204020203" pitchFamily="34" charset="0"/>
              </a:rPr>
              <a:t>SharePoint</a:t>
            </a:r>
          </a:p>
          <a:p>
            <a:pPr marL="236237" indent="-236237">
              <a:spcAft>
                <a:spcPts val="800"/>
              </a:spcAft>
              <a:buClr>
                <a:srgbClr val="FFE500"/>
              </a:buClr>
              <a:buBlip>
                <a:blip r:embed="rId3">
                  <a:extLst>
                    <a:ext uri="{96DAC541-7B7A-43D3-8B79-37D633B846F1}">
                      <asvg:svgBlip xmlns:asvg="http://schemas.microsoft.com/office/drawing/2016/SVG/main" r:embed="rId4"/>
                    </a:ext>
                  </a:extLst>
                </a:blip>
              </a:buBlip>
            </a:pPr>
            <a:r>
              <a:rPr lang="uk-UA" sz="1200" noProof="1">
                <a:latin typeface="Segoe UI" panose="020B0502040204020203" pitchFamily="34" charset="0"/>
                <a:ea typeface="Open Sans" panose="020B0606030504020204" pitchFamily="34" charset="0"/>
                <a:cs typeface="Segoe UI" panose="020B0502040204020203" pitchFamily="34" charset="0"/>
              </a:rPr>
              <a:t>Оновлення статусу документа в електронному реєстрі корп. документів вручну</a:t>
            </a:r>
          </a:p>
          <a:p>
            <a:pPr marL="236237" indent="-236237">
              <a:spcAft>
                <a:spcPts val="800"/>
              </a:spcAft>
              <a:buClr>
                <a:srgbClr val="FFE500"/>
              </a:buClr>
              <a:buBlip>
                <a:blip r:embed="rId3">
                  <a:extLst>
                    <a:ext uri="{96DAC541-7B7A-43D3-8B79-37D633B846F1}">
                      <asvg:svgBlip xmlns:asvg="http://schemas.microsoft.com/office/drawing/2016/SVG/main" r:embed="rId4"/>
                    </a:ext>
                  </a:extLst>
                </a:blip>
              </a:buBlip>
            </a:pPr>
            <a:r>
              <a:rPr lang="uk-UA" sz="1200" noProof="1">
                <a:latin typeface="Segoe UI" panose="020B0502040204020203" pitchFamily="34" charset="0"/>
                <a:ea typeface="Open Sans" panose="020B0606030504020204" pitchFamily="34" charset="0"/>
                <a:cs typeface="Segoe UI" panose="020B0502040204020203" pitchFamily="34" charset="0"/>
              </a:rPr>
              <a:t>Передача оригіналу документа до паперового архіву</a:t>
            </a:r>
          </a:p>
        </p:txBody>
      </p:sp>
      <p:sp>
        <p:nvSpPr>
          <p:cNvPr id="5" name="Rectangle: Rounded Corners 23">
            <a:extLst>
              <a:ext uri="{FF2B5EF4-FFF2-40B4-BE49-F238E27FC236}">
                <a16:creationId xmlns:a16="http://schemas.microsoft.com/office/drawing/2014/main" id="{C6360A37-E245-94CF-7565-DC00FF9FEDF4}"/>
              </a:ext>
            </a:extLst>
          </p:cNvPr>
          <p:cNvSpPr/>
          <p:nvPr/>
        </p:nvSpPr>
        <p:spPr>
          <a:xfrm>
            <a:off x="6775439" y="1067090"/>
            <a:ext cx="3767086" cy="290993"/>
          </a:xfrm>
          <a:prstGeom prst="snip2DiagRect">
            <a:avLst>
              <a:gd name="adj1" fmla="val 0"/>
              <a:gd name="adj2" fmla="val 41022"/>
            </a:avLst>
          </a:prstGeom>
          <a:solidFill>
            <a:srgbClr val="FFE500"/>
          </a:solidFill>
          <a:ln>
            <a:noFill/>
          </a:ln>
          <a:effectLst>
            <a:outerShdw blurRad="50800" dist="38100" dir="2700000" algn="tl" rotWithShape="0">
              <a:srgbClr val="EEC600">
                <a:alpha val="53725"/>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685721" rtl="0" eaLnBrk="1" latinLnBrk="0" hangingPunct="1">
              <a:defRPr sz="1352" kern="1200">
                <a:solidFill>
                  <a:schemeClr val="tx1"/>
                </a:solidFill>
                <a:latin typeface="+mn-lt"/>
                <a:ea typeface="+mn-ea"/>
                <a:cs typeface="+mn-cs"/>
              </a:defRPr>
            </a:lvl1pPr>
            <a:lvl2pPr marL="342860" algn="l" defTabSz="685721" rtl="0" eaLnBrk="1" latinLnBrk="0" hangingPunct="1">
              <a:defRPr sz="1352" kern="1200">
                <a:solidFill>
                  <a:schemeClr val="tx1"/>
                </a:solidFill>
                <a:latin typeface="+mn-lt"/>
                <a:ea typeface="+mn-ea"/>
                <a:cs typeface="+mn-cs"/>
              </a:defRPr>
            </a:lvl2pPr>
            <a:lvl3pPr marL="685721" algn="l" defTabSz="685721" rtl="0" eaLnBrk="1" latinLnBrk="0" hangingPunct="1">
              <a:defRPr sz="1352" kern="1200">
                <a:solidFill>
                  <a:schemeClr val="tx1"/>
                </a:solidFill>
                <a:latin typeface="+mn-lt"/>
                <a:ea typeface="+mn-ea"/>
                <a:cs typeface="+mn-cs"/>
              </a:defRPr>
            </a:lvl3pPr>
            <a:lvl4pPr marL="1028579" algn="l" defTabSz="685721" rtl="0" eaLnBrk="1" latinLnBrk="0" hangingPunct="1">
              <a:defRPr sz="1352" kern="1200">
                <a:solidFill>
                  <a:schemeClr val="tx1"/>
                </a:solidFill>
                <a:latin typeface="+mn-lt"/>
                <a:ea typeface="+mn-ea"/>
                <a:cs typeface="+mn-cs"/>
              </a:defRPr>
            </a:lvl4pPr>
            <a:lvl5pPr marL="1371440" algn="l" defTabSz="685721" rtl="0" eaLnBrk="1" latinLnBrk="0" hangingPunct="1">
              <a:defRPr sz="1352" kern="1200">
                <a:solidFill>
                  <a:schemeClr val="tx1"/>
                </a:solidFill>
                <a:latin typeface="+mn-lt"/>
                <a:ea typeface="+mn-ea"/>
                <a:cs typeface="+mn-cs"/>
              </a:defRPr>
            </a:lvl5pPr>
            <a:lvl6pPr marL="1714300" algn="l" defTabSz="685721" rtl="0" eaLnBrk="1" latinLnBrk="0" hangingPunct="1">
              <a:defRPr sz="1352" kern="1200">
                <a:solidFill>
                  <a:schemeClr val="tx1"/>
                </a:solidFill>
                <a:latin typeface="+mn-lt"/>
                <a:ea typeface="+mn-ea"/>
                <a:cs typeface="+mn-cs"/>
              </a:defRPr>
            </a:lvl6pPr>
            <a:lvl7pPr marL="2057159" algn="l" defTabSz="685721" rtl="0" eaLnBrk="1" latinLnBrk="0" hangingPunct="1">
              <a:defRPr sz="1352" kern="1200">
                <a:solidFill>
                  <a:schemeClr val="tx1"/>
                </a:solidFill>
                <a:latin typeface="+mn-lt"/>
                <a:ea typeface="+mn-ea"/>
                <a:cs typeface="+mn-cs"/>
              </a:defRPr>
            </a:lvl7pPr>
            <a:lvl8pPr marL="2400019" algn="l" defTabSz="685721" rtl="0" eaLnBrk="1" latinLnBrk="0" hangingPunct="1">
              <a:defRPr sz="1352" kern="1200">
                <a:solidFill>
                  <a:schemeClr val="tx1"/>
                </a:solidFill>
                <a:latin typeface="+mn-lt"/>
                <a:ea typeface="+mn-ea"/>
                <a:cs typeface="+mn-cs"/>
              </a:defRPr>
            </a:lvl8pPr>
            <a:lvl9pPr marL="2742879" algn="l" defTabSz="685721" rtl="0" eaLnBrk="1" latinLnBrk="0" hangingPunct="1">
              <a:defRPr sz="1352" kern="1200">
                <a:solidFill>
                  <a:schemeClr val="tx1"/>
                </a:solidFill>
                <a:latin typeface="+mn-lt"/>
                <a:ea typeface="+mn-ea"/>
                <a:cs typeface="+mn-cs"/>
              </a:defRPr>
            </a:lvl9pPr>
          </a:lstStyle>
          <a:p>
            <a:pPr defTabSz="566968"/>
            <a:r>
              <a:rPr lang="uk-UA" sz="1213" b="1" noProof="1">
                <a:solidFill>
                  <a:prstClr val="black"/>
                </a:solidFill>
                <a:latin typeface="Segoe UI" panose="020B0502040204020203" pitchFamily="34" charset="0"/>
                <a:cs typeface="Segoe UI" panose="020B0502040204020203" pitchFamily="34" charset="0"/>
              </a:rPr>
              <a:t>	</a:t>
            </a:r>
            <a:r>
              <a:rPr lang="en-US" sz="1543" b="1" noProof="1">
                <a:solidFill>
                  <a:prstClr val="black"/>
                </a:solidFill>
                <a:latin typeface="Segoe UI" panose="020B0502040204020203" pitchFamily="34" charset="0"/>
                <a:cs typeface="Segoe UI" panose="020B0502040204020203" pitchFamily="34" charset="0"/>
              </a:rPr>
              <a:t>As is</a:t>
            </a:r>
            <a:endParaRPr lang="uk-UA" sz="1543" b="1" noProof="1">
              <a:solidFill>
                <a:prstClr val="black"/>
              </a:solidFill>
              <a:latin typeface="Segoe UI" panose="020B0502040204020203" pitchFamily="34" charset="0"/>
              <a:cs typeface="Segoe UI" panose="020B0502040204020203" pitchFamily="34" charset="0"/>
            </a:endParaRPr>
          </a:p>
        </p:txBody>
      </p:sp>
      <p:sp>
        <p:nvSpPr>
          <p:cNvPr id="6" name="TextBox 5">
            <a:extLst>
              <a:ext uri="{FF2B5EF4-FFF2-40B4-BE49-F238E27FC236}">
                <a16:creationId xmlns:a16="http://schemas.microsoft.com/office/drawing/2014/main" id="{638D85D1-A7F1-B5BE-5422-186A34EAA529}"/>
              </a:ext>
            </a:extLst>
          </p:cNvPr>
          <p:cNvSpPr txBox="1"/>
          <p:nvPr/>
        </p:nvSpPr>
        <p:spPr>
          <a:xfrm>
            <a:off x="6775439" y="1477563"/>
            <a:ext cx="5580391" cy="2082621"/>
          </a:xfrm>
          <a:prstGeom prst="rect">
            <a:avLst/>
          </a:prstGeom>
          <a:noFill/>
        </p:spPr>
        <p:txBody>
          <a:bodyPr wrap="square" rtlCol="0">
            <a:spAutoFit/>
          </a:bodyPr>
          <a:lstStyle>
            <a:defPPr>
              <a:defRPr lang="en-US"/>
            </a:defPPr>
            <a:lvl1pPr marL="0" algn="l" defTabSz="685721" rtl="0" eaLnBrk="1" latinLnBrk="0" hangingPunct="1">
              <a:defRPr sz="1352" kern="1200">
                <a:solidFill>
                  <a:schemeClr val="tx1"/>
                </a:solidFill>
                <a:latin typeface="+mn-lt"/>
                <a:ea typeface="+mn-ea"/>
                <a:cs typeface="+mn-cs"/>
              </a:defRPr>
            </a:lvl1pPr>
            <a:lvl2pPr marL="342860" algn="l" defTabSz="685721" rtl="0" eaLnBrk="1" latinLnBrk="0" hangingPunct="1">
              <a:defRPr sz="1352" kern="1200">
                <a:solidFill>
                  <a:schemeClr val="tx1"/>
                </a:solidFill>
                <a:latin typeface="+mn-lt"/>
                <a:ea typeface="+mn-ea"/>
                <a:cs typeface="+mn-cs"/>
              </a:defRPr>
            </a:lvl2pPr>
            <a:lvl3pPr marL="685721" algn="l" defTabSz="685721" rtl="0" eaLnBrk="1" latinLnBrk="0" hangingPunct="1">
              <a:defRPr sz="1352" kern="1200">
                <a:solidFill>
                  <a:schemeClr val="tx1"/>
                </a:solidFill>
                <a:latin typeface="+mn-lt"/>
                <a:ea typeface="+mn-ea"/>
                <a:cs typeface="+mn-cs"/>
              </a:defRPr>
            </a:lvl3pPr>
            <a:lvl4pPr marL="1028579" algn="l" defTabSz="685721" rtl="0" eaLnBrk="1" latinLnBrk="0" hangingPunct="1">
              <a:defRPr sz="1352" kern="1200">
                <a:solidFill>
                  <a:schemeClr val="tx1"/>
                </a:solidFill>
                <a:latin typeface="+mn-lt"/>
                <a:ea typeface="+mn-ea"/>
                <a:cs typeface="+mn-cs"/>
              </a:defRPr>
            </a:lvl4pPr>
            <a:lvl5pPr marL="1371440" algn="l" defTabSz="685721" rtl="0" eaLnBrk="1" latinLnBrk="0" hangingPunct="1">
              <a:defRPr sz="1352" kern="1200">
                <a:solidFill>
                  <a:schemeClr val="tx1"/>
                </a:solidFill>
                <a:latin typeface="+mn-lt"/>
                <a:ea typeface="+mn-ea"/>
                <a:cs typeface="+mn-cs"/>
              </a:defRPr>
            </a:lvl5pPr>
            <a:lvl6pPr marL="1714300" algn="l" defTabSz="685721" rtl="0" eaLnBrk="1" latinLnBrk="0" hangingPunct="1">
              <a:defRPr sz="1352" kern="1200">
                <a:solidFill>
                  <a:schemeClr val="tx1"/>
                </a:solidFill>
                <a:latin typeface="+mn-lt"/>
                <a:ea typeface="+mn-ea"/>
                <a:cs typeface="+mn-cs"/>
              </a:defRPr>
            </a:lvl6pPr>
            <a:lvl7pPr marL="2057159" algn="l" defTabSz="685721" rtl="0" eaLnBrk="1" latinLnBrk="0" hangingPunct="1">
              <a:defRPr sz="1352" kern="1200">
                <a:solidFill>
                  <a:schemeClr val="tx1"/>
                </a:solidFill>
                <a:latin typeface="+mn-lt"/>
                <a:ea typeface="+mn-ea"/>
                <a:cs typeface="+mn-cs"/>
              </a:defRPr>
            </a:lvl7pPr>
            <a:lvl8pPr marL="2400019" algn="l" defTabSz="685721" rtl="0" eaLnBrk="1" latinLnBrk="0" hangingPunct="1">
              <a:defRPr sz="1352" kern="1200">
                <a:solidFill>
                  <a:schemeClr val="tx1"/>
                </a:solidFill>
                <a:latin typeface="+mn-lt"/>
                <a:ea typeface="+mn-ea"/>
                <a:cs typeface="+mn-cs"/>
              </a:defRPr>
            </a:lvl8pPr>
            <a:lvl9pPr marL="2742879" algn="l" defTabSz="685721" rtl="0" eaLnBrk="1" latinLnBrk="0" hangingPunct="1">
              <a:defRPr sz="1352" kern="1200">
                <a:solidFill>
                  <a:schemeClr val="tx1"/>
                </a:solidFill>
                <a:latin typeface="+mn-lt"/>
                <a:ea typeface="+mn-ea"/>
                <a:cs typeface="+mn-cs"/>
              </a:defRPr>
            </a:lvl9pPr>
          </a:lstStyle>
          <a:p>
            <a:pPr marL="171450" indent="-171450">
              <a:spcAft>
                <a:spcPts val="800"/>
              </a:spcAft>
              <a:buClr>
                <a:schemeClr val="tx1"/>
              </a:buClr>
              <a:buSzPct val="100000"/>
              <a:buFont typeface="Wingdings" panose="05000000000000000000" pitchFamily="2" charset="2"/>
              <a:buChar char="§"/>
            </a:pPr>
            <a:r>
              <a:rPr lang="uk-UA" sz="1200" noProof="1">
                <a:latin typeface="Segoe UI" panose="020B0502040204020203" pitchFamily="34" charset="0"/>
                <a:ea typeface="Open Sans" panose="020B0606030504020204" pitchFamily="34" charset="0"/>
                <a:cs typeface="Segoe UI" panose="020B0502040204020203" pitchFamily="34" charset="0"/>
              </a:rPr>
              <a:t>Вибір компанії та типу корп. документа в системі</a:t>
            </a:r>
          </a:p>
          <a:p>
            <a:pPr marL="171450" indent="-171450">
              <a:spcAft>
                <a:spcPts val="800"/>
              </a:spcAft>
              <a:buClr>
                <a:schemeClr val="tx1"/>
              </a:buClr>
              <a:buSzPct val="100000"/>
              <a:buFont typeface="Wingdings" panose="05000000000000000000" pitchFamily="2" charset="2"/>
              <a:buChar char="§"/>
            </a:pPr>
            <a:r>
              <a:rPr lang="uk-UA" sz="1200" noProof="1">
                <a:latin typeface="Segoe UI" panose="020B0502040204020203" pitchFamily="34" charset="0"/>
                <a:ea typeface="Open Sans" panose="020B0606030504020204" pitchFamily="34" charset="0"/>
                <a:cs typeface="Segoe UI" panose="020B0502040204020203" pitchFamily="34" charset="0"/>
              </a:rPr>
              <a:t>Наповнення змістової частини корп. документа</a:t>
            </a:r>
          </a:p>
          <a:p>
            <a:pPr marL="171450" indent="-171450">
              <a:spcAft>
                <a:spcPts val="800"/>
              </a:spcAft>
              <a:buClr>
                <a:schemeClr val="tx1"/>
              </a:buClr>
              <a:buSzPct val="100000"/>
              <a:buFont typeface="Wingdings" panose="05000000000000000000" pitchFamily="2" charset="2"/>
              <a:buChar char="§"/>
            </a:pPr>
            <a:r>
              <a:rPr lang="uk-UA" sz="1200" noProof="1">
                <a:latin typeface="Segoe UI" panose="020B0502040204020203" pitchFamily="34" charset="0"/>
                <a:ea typeface="Open Sans" panose="020B0606030504020204" pitchFamily="34" charset="0"/>
                <a:cs typeface="Segoe UI" panose="020B0502040204020203" pitchFamily="34" charset="0"/>
              </a:rPr>
              <a:t>Формування та направлення запиту через систему на підписання корп. документа ЕЦП</a:t>
            </a:r>
          </a:p>
          <a:p>
            <a:pPr marL="171450" indent="-171450">
              <a:spcAft>
                <a:spcPts val="800"/>
              </a:spcAft>
              <a:buClr>
                <a:schemeClr val="tx1"/>
              </a:buClr>
              <a:buSzPct val="100000"/>
              <a:buFont typeface="Wingdings" panose="05000000000000000000" pitchFamily="2" charset="2"/>
              <a:buChar char="§"/>
            </a:pPr>
            <a:r>
              <a:rPr lang="uk-UA" sz="1200" noProof="1">
                <a:latin typeface="Segoe UI" panose="020B0502040204020203" pitchFamily="34" charset="0"/>
                <a:ea typeface="Open Sans" panose="020B0606030504020204" pitchFamily="34" charset="0"/>
                <a:cs typeface="Segoe UI" panose="020B0502040204020203" pitchFamily="34" charset="0"/>
              </a:rPr>
              <a:t>Підписання корп. документа ЕЦП</a:t>
            </a:r>
          </a:p>
          <a:p>
            <a:pPr marL="236237" indent="-236237">
              <a:spcAft>
                <a:spcPts val="800"/>
              </a:spcAft>
              <a:buClr>
                <a:srgbClr val="FFE500"/>
              </a:buClr>
              <a:buSzPct val="80000"/>
              <a:buBlip>
                <a:blip r:embed="rId5">
                  <a:extLst>
                    <a:ext uri="{96DAC541-7B7A-43D3-8B79-37D633B846F1}">
                      <asvg:svgBlip xmlns:asvg="http://schemas.microsoft.com/office/drawing/2016/SVG/main" r:embed="rId6"/>
                    </a:ext>
                  </a:extLst>
                </a:blip>
              </a:buBlip>
            </a:pPr>
            <a:r>
              <a:rPr lang="uk-UA" sz="1200" noProof="1">
                <a:latin typeface="Segoe UI" panose="020B0502040204020203" pitchFamily="34" charset="0"/>
                <a:ea typeface="Open Sans" panose="020B0606030504020204" pitchFamily="34" charset="0"/>
                <a:cs typeface="Segoe UI" panose="020B0502040204020203" pitchFamily="34" charset="0"/>
              </a:rPr>
              <a:t>Автоматичне збереження підписаного документа в електронному архіві</a:t>
            </a:r>
          </a:p>
          <a:p>
            <a:pPr marL="236237" indent="-236237">
              <a:spcAft>
                <a:spcPts val="800"/>
              </a:spcAft>
              <a:buClr>
                <a:srgbClr val="FFE500"/>
              </a:buClr>
              <a:buSzPct val="80000"/>
              <a:buBlip>
                <a:blip r:embed="rId5">
                  <a:extLst>
                    <a:ext uri="{96DAC541-7B7A-43D3-8B79-37D633B846F1}">
                      <asvg:svgBlip xmlns:asvg="http://schemas.microsoft.com/office/drawing/2016/SVG/main" r:embed="rId6"/>
                    </a:ext>
                  </a:extLst>
                </a:blip>
              </a:buBlip>
            </a:pPr>
            <a:r>
              <a:rPr lang="uk-UA" sz="1200" noProof="1">
                <a:latin typeface="Segoe UI" panose="020B0502040204020203" pitchFamily="34" charset="0"/>
                <a:ea typeface="Open Sans" panose="020B0606030504020204" pitchFamily="34" charset="0"/>
                <a:cs typeface="Segoe UI" panose="020B0502040204020203" pitchFamily="34" charset="0"/>
              </a:rPr>
              <a:t>Автоматичне формування реєстру підписаних корп. документів із зазначенням посилань на такі документи</a:t>
            </a:r>
          </a:p>
        </p:txBody>
      </p:sp>
      <p:sp>
        <p:nvSpPr>
          <p:cNvPr id="7" name="TextBox 6">
            <a:extLst>
              <a:ext uri="{FF2B5EF4-FFF2-40B4-BE49-F238E27FC236}">
                <a16:creationId xmlns:a16="http://schemas.microsoft.com/office/drawing/2014/main" id="{EA9E55B7-59B1-7147-A3E2-F2D59006EBC5}"/>
              </a:ext>
            </a:extLst>
          </p:cNvPr>
          <p:cNvSpPr txBox="1"/>
          <p:nvPr/>
        </p:nvSpPr>
        <p:spPr>
          <a:xfrm>
            <a:off x="894743" y="6276324"/>
            <a:ext cx="4016186" cy="825867"/>
          </a:xfrm>
          <a:prstGeom prst="rect">
            <a:avLst/>
          </a:prstGeom>
          <a:noFill/>
        </p:spPr>
        <p:txBody>
          <a:bodyPr wrap="square" rtlCol="0">
            <a:spAutoFit/>
          </a:bodyPr>
          <a:lstStyle>
            <a:defPPr>
              <a:defRPr lang="en-US"/>
            </a:defPPr>
            <a:lvl1pPr marL="0" algn="l" defTabSz="685721" rtl="0" eaLnBrk="1" latinLnBrk="0" hangingPunct="1">
              <a:defRPr sz="1352" kern="1200">
                <a:solidFill>
                  <a:schemeClr val="tx1"/>
                </a:solidFill>
                <a:latin typeface="+mn-lt"/>
                <a:ea typeface="+mn-ea"/>
                <a:cs typeface="+mn-cs"/>
              </a:defRPr>
            </a:lvl1pPr>
            <a:lvl2pPr marL="342860" algn="l" defTabSz="685721" rtl="0" eaLnBrk="1" latinLnBrk="0" hangingPunct="1">
              <a:defRPr sz="1352" kern="1200">
                <a:solidFill>
                  <a:schemeClr val="tx1"/>
                </a:solidFill>
                <a:latin typeface="+mn-lt"/>
                <a:ea typeface="+mn-ea"/>
                <a:cs typeface="+mn-cs"/>
              </a:defRPr>
            </a:lvl2pPr>
            <a:lvl3pPr marL="685721" algn="l" defTabSz="685721" rtl="0" eaLnBrk="1" latinLnBrk="0" hangingPunct="1">
              <a:defRPr sz="1352" kern="1200">
                <a:solidFill>
                  <a:schemeClr val="tx1"/>
                </a:solidFill>
                <a:latin typeface="+mn-lt"/>
                <a:ea typeface="+mn-ea"/>
                <a:cs typeface="+mn-cs"/>
              </a:defRPr>
            </a:lvl3pPr>
            <a:lvl4pPr marL="1028579" algn="l" defTabSz="685721" rtl="0" eaLnBrk="1" latinLnBrk="0" hangingPunct="1">
              <a:defRPr sz="1352" kern="1200">
                <a:solidFill>
                  <a:schemeClr val="tx1"/>
                </a:solidFill>
                <a:latin typeface="+mn-lt"/>
                <a:ea typeface="+mn-ea"/>
                <a:cs typeface="+mn-cs"/>
              </a:defRPr>
            </a:lvl4pPr>
            <a:lvl5pPr marL="1371440" algn="l" defTabSz="685721" rtl="0" eaLnBrk="1" latinLnBrk="0" hangingPunct="1">
              <a:defRPr sz="1352" kern="1200">
                <a:solidFill>
                  <a:schemeClr val="tx1"/>
                </a:solidFill>
                <a:latin typeface="+mn-lt"/>
                <a:ea typeface="+mn-ea"/>
                <a:cs typeface="+mn-cs"/>
              </a:defRPr>
            </a:lvl5pPr>
            <a:lvl6pPr marL="1714300" algn="l" defTabSz="685721" rtl="0" eaLnBrk="1" latinLnBrk="0" hangingPunct="1">
              <a:defRPr sz="1352" kern="1200">
                <a:solidFill>
                  <a:schemeClr val="tx1"/>
                </a:solidFill>
                <a:latin typeface="+mn-lt"/>
                <a:ea typeface="+mn-ea"/>
                <a:cs typeface="+mn-cs"/>
              </a:defRPr>
            </a:lvl6pPr>
            <a:lvl7pPr marL="2057159" algn="l" defTabSz="685721" rtl="0" eaLnBrk="1" latinLnBrk="0" hangingPunct="1">
              <a:defRPr sz="1352" kern="1200">
                <a:solidFill>
                  <a:schemeClr val="tx1"/>
                </a:solidFill>
                <a:latin typeface="+mn-lt"/>
                <a:ea typeface="+mn-ea"/>
                <a:cs typeface="+mn-cs"/>
              </a:defRPr>
            </a:lvl7pPr>
            <a:lvl8pPr marL="2400019" algn="l" defTabSz="685721" rtl="0" eaLnBrk="1" latinLnBrk="0" hangingPunct="1">
              <a:defRPr sz="1352" kern="1200">
                <a:solidFill>
                  <a:schemeClr val="tx1"/>
                </a:solidFill>
                <a:latin typeface="+mn-lt"/>
                <a:ea typeface="+mn-ea"/>
                <a:cs typeface="+mn-cs"/>
              </a:defRPr>
            </a:lvl8pPr>
            <a:lvl9pPr marL="2742879" algn="l" defTabSz="685721" rtl="0" eaLnBrk="1" latinLnBrk="0" hangingPunct="1">
              <a:defRPr sz="1352" kern="1200">
                <a:solidFill>
                  <a:schemeClr val="tx1"/>
                </a:solidFill>
                <a:latin typeface="+mn-lt"/>
                <a:ea typeface="+mn-ea"/>
                <a:cs typeface="+mn-cs"/>
              </a:defRPr>
            </a:lvl9pPr>
          </a:lstStyle>
          <a:p>
            <a:pPr marL="236237" indent="-236237">
              <a:spcBef>
                <a:spcPts val="661"/>
              </a:spcBef>
              <a:buClr>
                <a:srgbClr val="FFE500"/>
              </a:buClr>
              <a:buBlip>
                <a:blip r:embed="rId3">
                  <a:extLst>
                    <a:ext uri="{96DAC541-7B7A-43D3-8B79-37D633B846F1}">
                      <asvg:svgBlip xmlns:asvg="http://schemas.microsoft.com/office/drawing/2016/SVG/main" r:embed="rId7"/>
                    </a:ext>
                  </a:extLst>
                </a:blip>
              </a:buBlip>
            </a:pPr>
            <a:r>
              <a:rPr lang="uk-UA" sz="1200" noProof="1">
                <a:latin typeface="Segoe UI" panose="020B0502040204020203" pitchFamily="34" charset="0"/>
                <a:ea typeface="Open Sans" panose="020B0606030504020204" pitchFamily="34" charset="0"/>
                <a:cs typeface="Segoe UI" panose="020B0502040204020203" pitchFamily="34" charset="0"/>
              </a:rPr>
              <a:t>Виключено з процесу</a:t>
            </a:r>
          </a:p>
          <a:p>
            <a:pPr marL="236237" indent="-236237">
              <a:spcBef>
                <a:spcPts val="661"/>
              </a:spcBef>
              <a:buClr>
                <a:srgbClr val="FFE500"/>
              </a:buClr>
              <a:buSzPct val="80000"/>
              <a:buBlip>
                <a:blip r:embed="rId5">
                  <a:extLst>
                    <a:ext uri="{96DAC541-7B7A-43D3-8B79-37D633B846F1}">
                      <asvg:svgBlip xmlns:asvg="http://schemas.microsoft.com/office/drawing/2016/SVG/main" r:embed="rId8"/>
                    </a:ext>
                  </a:extLst>
                </a:blip>
              </a:buBlip>
            </a:pPr>
            <a:r>
              <a:rPr lang="uk-UA" sz="1200" noProof="1">
                <a:latin typeface="Segoe UI" panose="020B0502040204020203" pitchFamily="34" charset="0"/>
                <a:ea typeface="Open Sans" panose="020B0606030504020204" pitchFamily="34" charset="0"/>
                <a:cs typeface="Segoe UI" panose="020B0502040204020203" pitchFamily="34" charset="0"/>
              </a:rPr>
              <a:t>Автоматизованиі етапи процесу</a:t>
            </a:r>
          </a:p>
          <a:p>
            <a:pPr marL="171450" indent="-171450">
              <a:spcBef>
                <a:spcPts val="661"/>
              </a:spcBef>
              <a:buClr>
                <a:schemeClr val="tx1"/>
              </a:buClr>
              <a:buSzPct val="100000"/>
              <a:buFont typeface="Wingdings" panose="05000000000000000000" pitchFamily="2" charset="2"/>
              <a:buChar char="§"/>
            </a:pPr>
            <a:r>
              <a:rPr lang="uk-UA" sz="1200" noProof="1">
                <a:latin typeface="Segoe UI" panose="020B0502040204020203" pitchFamily="34" charset="0"/>
                <a:ea typeface="Open Sans" panose="020B0606030504020204" pitchFamily="34" charset="0"/>
                <a:cs typeface="Segoe UI" panose="020B0502040204020203" pitchFamily="34" charset="0"/>
              </a:rPr>
              <a:t> Ручні процеси</a:t>
            </a:r>
          </a:p>
        </p:txBody>
      </p:sp>
      <p:sp>
        <p:nvSpPr>
          <p:cNvPr id="9" name="Прямоугольник 6">
            <a:extLst>
              <a:ext uri="{FF2B5EF4-FFF2-40B4-BE49-F238E27FC236}">
                <a16:creationId xmlns:a16="http://schemas.microsoft.com/office/drawing/2014/main" id="{72110133-DCA6-D3F2-B781-6545744B5D1B}"/>
              </a:ext>
            </a:extLst>
          </p:cNvPr>
          <p:cNvSpPr/>
          <p:nvPr/>
        </p:nvSpPr>
        <p:spPr>
          <a:xfrm>
            <a:off x="6280302" y="1064717"/>
            <a:ext cx="63347" cy="4878576"/>
          </a:xfrm>
          <a:prstGeom prst="rect">
            <a:avLst/>
          </a:prstGeom>
          <a:solidFill>
            <a:srgbClr val="4343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685721" rtl="0" eaLnBrk="1" latinLnBrk="0" hangingPunct="1">
              <a:defRPr sz="1352" kern="1200">
                <a:solidFill>
                  <a:schemeClr val="tx1"/>
                </a:solidFill>
                <a:latin typeface="+mn-lt"/>
                <a:ea typeface="+mn-ea"/>
                <a:cs typeface="+mn-cs"/>
              </a:defRPr>
            </a:lvl1pPr>
            <a:lvl2pPr marL="342860" algn="l" defTabSz="685721" rtl="0" eaLnBrk="1" latinLnBrk="0" hangingPunct="1">
              <a:defRPr sz="1352" kern="1200">
                <a:solidFill>
                  <a:schemeClr val="tx1"/>
                </a:solidFill>
                <a:latin typeface="+mn-lt"/>
                <a:ea typeface="+mn-ea"/>
                <a:cs typeface="+mn-cs"/>
              </a:defRPr>
            </a:lvl2pPr>
            <a:lvl3pPr marL="685721" algn="l" defTabSz="685721" rtl="0" eaLnBrk="1" latinLnBrk="0" hangingPunct="1">
              <a:defRPr sz="1352" kern="1200">
                <a:solidFill>
                  <a:schemeClr val="tx1"/>
                </a:solidFill>
                <a:latin typeface="+mn-lt"/>
                <a:ea typeface="+mn-ea"/>
                <a:cs typeface="+mn-cs"/>
              </a:defRPr>
            </a:lvl3pPr>
            <a:lvl4pPr marL="1028579" algn="l" defTabSz="685721" rtl="0" eaLnBrk="1" latinLnBrk="0" hangingPunct="1">
              <a:defRPr sz="1352" kern="1200">
                <a:solidFill>
                  <a:schemeClr val="tx1"/>
                </a:solidFill>
                <a:latin typeface="+mn-lt"/>
                <a:ea typeface="+mn-ea"/>
                <a:cs typeface="+mn-cs"/>
              </a:defRPr>
            </a:lvl4pPr>
            <a:lvl5pPr marL="1371440" algn="l" defTabSz="685721" rtl="0" eaLnBrk="1" latinLnBrk="0" hangingPunct="1">
              <a:defRPr sz="1352" kern="1200">
                <a:solidFill>
                  <a:schemeClr val="tx1"/>
                </a:solidFill>
                <a:latin typeface="+mn-lt"/>
                <a:ea typeface="+mn-ea"/>
                <a:cs typeface="+mn-cs"/>
              </a:defRPr>
            </a:lvl5pPr>
            <a:lvl6pPr marL="1714300" algn="l" defTabSz="685721" rtl="0" eaLnBrk="1" latinLnBrk="0" hangingPunct="1">
              <a:defRPr sz="1352" kern="1200">
                <a:solidFill>
                  <a:schemeClr val="tx1"/>
                </a:solidFill>
                <a:latin typeface="+mn-lt"/>
                <a:ea typeface="+mn-ea"/>
                <a:cs typeface="+mn-cs"/>
              </a:defRPr>
            </a:lvl6pPr>
            <a:lvl7pPr marL="2057159" algn="l" defTabSz="685721" rtl="0" eaLnBrk="1" latinLnBrk="0" hangingPunct="1">
              <a:defRPr sz="1352" kern="1200">
                <a:solidFill>
                  <a:schemeClr val="tx1"/>
                </a:solidFill>
                <a:latin typeface="+mn-lt"/>
                <a:ea typeface="+mn-ea"/>
                <a:cs typeface="+mn-cs"/>
              </a:defRPr>
            </a:lvl7pPr>
            <a:lvl8pPr marL="2400019" algn="l" defTabSz="685721" rtl="0" eaLnBrk="1" latinLnBrk="0" hangingPunct="1">
              <a:defRPr sz="1352" kern="1200">
                <a:solidFill>
                  <a:schemeClr val="tx1"/>
                </a:solidFill>
                <a:latin typeface="+mn-lt"/>
                <a:ea typeface="+mn-ea"/>
                <a:cs typeface="+mn-cs"/>
              </a:defRPr>
            </a:lvl8pPr>
            <a:lvl9pPr marL="2742879" algn="l" defTabSz="685721" rtl="0" eaLnBrk="1" latinLnBrk="0" hangingPunct="1">
              <a:defRPr sz="1352" kern="1200">
                <a:solidFill>
                  <a:schemeClr val="tx1"/>
                </a:solidFill>
                <a:latin typeface="+mn-lt"/>
                <a:ea typeface="+mn-ea"/>
                <a:cs typeface="+mn-cs"/>
              </a:defRPr>
            </a:lvl9pPr>
          </a:lstStyle>
          <a:p>
            <a:pPr algn="ctr"/>
            <a:endParaRPr lang="uk-UA" sz="1118" noProof="1"/>
          </a:p>
        </p:txBody>
      </p:sp>
      <p:sp>
        <p:nvSpPr>
          <p:cNvPr id="10" name="Title 1">
            <a:extLst>
              <a:ext uri="{FF2B5EF4-FFF2-40B4-BE49-F238E27FC236}">
                <a16:creationId xmlns:a16="http://schemas.microsoft.com/office/drawing/2014/main" id="{0F5698B0-B2BB-2791-7A9E-81CA5F1F173D}"/>
              </a:ext>
            </a:extLst>
          </p:cNvPr>
          <p:cNvSpPr txBox="1">
            <a:spLocks/>
          </p:cNvSpPr>
          <p:nvPr/>
        </p:nvSpPr>
        <p:spPr>
          <a:xfrm>
            <a:off x="602748" y="198860"/>
            <a:ext cx="11053043" cy="511492"/>
          </a:xfrm>
          <a:prstGeom prst="rect">
            <a:avLst/>
          </a:prstGeom>
        </p:spPr>
        <p:txBody>
          <a:bodyPr lIns="91440" tIns="45720" rIns="91440" bIns="45720" anchor="t">
            <a:noAutofit/>
          </a:bodyPr>
          <a:lstStyle>
            <a:lvl1pPr algn="l" defTabSz="1007352" rtl="0" eaLnBrk="1" latinLnBrk="0" hangingPunct="1">
              <a:lnSpc>
                <a:spcPct val="90000"/>
              </a:lnSpc>
              <a:spcBef>
                <a:spcPct val="0"/>
              </a:spcBef>
              <a:buNone/>
              <a:defRPr sz="2597" b="1" kern="1200" baseline="0">
                <a:solidFill>
                  <a:srgbClr val="000000"/>
                </a:solidFill>
                <a:latin typeface="+mj-lt"/>
                <a:ea typeface="+mj-ea"/>
                <a:cs typeface="+mj-cs"/>
              </a:defRPr>
            </a:lvl1pPr>
          </a:lstStyle>
          <a:p>
            <a:r>
              <a:rPr lang="uk-UA" sz="2400" cap="all" spc="-10" noProof="1">
                <a:solidFill>
                  <a:srgbClr val="1F1F1F"/>
                </a:solidFill>
                <a:latin typeface="Segoe UI"/>
                <a:cs typeface="Segoe UI"/>
              </a:rPr>
              <a:t>ОФОРМЛЕННЯ КОРПОРАТИВНИХ ДОКУМЕНТІВ </a:t>
            </a:r>
            <a:r>
              <a:rPr lang="en-US" sz="2400" cap="all" spc="-10" noProof="1">
                <a:solidFill>
                  <a:srgbClr val="1F1F1F"/>
                </a:solidFill>
                <a:latin typeface="Segoe UI"/>
                <a:cs typeface="Segoe UI"/>
              </a:rPr>
              <a:t>AS WAS</a:t>
            </a:r>
            <a:r>
              <a:rPr lang="uk-UA" sz="2400" cap="all" spc="-10" noProof="1">
                <a:solidFill>
                  <a:srgbClr val="1F1F1F"/>
                </a:solidFill>
                <a:latin typeface="Segoe UI"/>
                <a:cs typeface="Segoe UI"/>
              </a:rPr>
              <a:t> – </a:t>
            </a:r>
            <a:r>
              <a:rPr lang="en-US" sz="2400" cap="all" spc="-10" noProof="1">
                <a:solidFill>
                  <a:srgbClr val="1F1F1F"/>
                </a:solidFill>
                <a:latin typeface="Segoe UI"/>
                <a:cs typeface="Segoe UI"/>
              </a:rPr>
              <a:t>AS IS</a:t>
            </a:r>
            <a:endParaRPr lang="uk-UA" sz="2400" b="0" noProof="1">
              <a:latin typeface="Segoe UI"/>
              <a:cs typeface="Segoe UI"/>
            </a:endParaRPr>
          </a:p>
        </p:txBody>
      </p:sp>
      <p:sp>
        <p:nvSpPr>
          <p:cNvPr id="2" name="TextBox 1">
            <a:extLst>
              <a:ext uri="{FF2B5EF4-FFF2-40B4-BE49-F238E27FC236}">
                <a16:creationId xmlns:a16="http://schemas.microsoft.com/office/drawing/2014/main" id="{0D92AD5E-E9D4-141F-163D-D87F727C6333}"/>
              </a:ext>
            </a:extLst>
          </p:cNvPr>
          <p:cNvSpPr txBox="1"/>
          <p:nvPr/>
        </p:nvSpPr>
        <p:spPr>
          <a:xfrm>
            <a:off x="6775439" y="3709737"/>
            <a:ext cx="5580391" cy="2233556"/>
          </a:xfrm>
          <a:prstGeom prst="rect">
            <a:avLst/>
          </a:prstGeom>
          <a:solidFill>
            <a:schemeClr val="bg1"/>
          </a:solidFill>
          <a:ln w="19050">
            <a:solidFill>
              <a:srgbClr val="FFC000"/>
            </a:solidFill>
            <a:prstDash val="sysDot"/>
          </a:ln>
        </p:spPr>
        <p:txBody>
          <a:bodyPr wrap="square" rtlCol="0">
            <a:noAutofit/>
          </a:bodyPr>
          <a:lstStyle>
            <a:defPPr>
              <a:defRPr lang="en-US"/>
            </a:defPPr>
            <a:lvl1pPr algn="ctr">
              <a:defRPr sz="1100" b="1"/>
            </a:lvl1pPr>
          </a:lstStyle>
          <a:p>
            <a:pPr algn="l">
              <a:spcBef>
                <a:spcPts val="600"/>
              </a:spcBef>
              <a:buClr>
                <a:srgbClr val="FFE500"/>
              </a:buClr>
              <a:tabLst>
                <a:tab pos="354013" algn="l"/>
              </a:tabLst>
            </a:pPr>
            <a:r>
              <a:rPr lang="uk-UA" sz="1200" b="1" noProof="1">
                <a:latin typeface="Segoe UI" panose="020B0502040204020203" pitchFamily="34" charset="0"/>
                <a:ea typeface="Open Sans" panose="020B0606030504020204" pitchFamily="34" charset="0"/>
                <a:cs typeface="Segoe UI" panose="020B0502040204020203" pitchFamily="34" charset="0"/>
              </a:rPr>
              <a:t>За рахунок автоматизації процесу економія трудовитрат на драфтинг одного корп. документа склала 6 хв, а на підписання та зберігання – 15 хв. Загальна економія в рік – 700 год:</a:t>
            </a:r>
          </a:p>
          <a:p>
            <a:pPr algn="l">
              <a:spcBef>
                <a:spcPts val="600"/>
              </a:spcBef>
              <a:buClr>
                <a:srgbClr val="FFE500"/>
              </a:buClr>
              <a:tabLst>
                <a:tab pos="354013" algn="l"/>
              </a:tabLst>
            </a:pPr>
            <a:r>
              <a:rPr lang="uk-UA" sz="1200" b="0" noProof="1">
                <a:latin typeface="Segoe UI" panose="020B0502040204020203" pitchFamily="34" charset="0"/>
                <a:ea typeface="Open Sans" panose="020B0606030504020204" pitchFamily="34" charset="0"/>
                <a:cs typeface="Segoe UI" panose="020B0502040204020203" pitchFamily="34" charset="0"/>
              </a:rPr>
              <a:t>1. </a:t>
            </a:r>
            <a:r>
              <a:rPr lang="uk-UA" sz="1200" b="0" u="sng" noProof="1">
                <a:latin typeface="Segoe UI" panose="020B0502040204020203" pitchFamily="34" charset="0"/>
                <a:ea typeface="Open Sans" panose="020B0606030504020204" pitchFamily="34" charset="0"/>
                <a:cs typeface="Segoe UI" panose="020B0502040204020203" pitchFamily="34" charset="0"/>
              </a:rPr>
              <a:t>21 хв = 0,35 год/документ</a:t>
            </a:r>
            <a:endParaRPr lang="uk-UA" sz="1200" b="0" noProof="1">
              <a:latin typeface="Segoe UI" panose="020B0502040204020203" pitchFamily="34" charset="0"/>
              <a:ea typeface="Open Sans" panose="020B0606030504020204" pitchFamily="34" charset="0"/>
              <a:cs typeface="Segoe UI" panose="020B0502040204020203" pitchFamily="34" charset="0"/>
            </a:endParaRPr>
          </a:p>
          <a:p>
            <a:pPr algn="l">
              <a:spcBef>
                <a:spcPts val="600"/>
              </a:spcBef>
              <a:buClr>
                <a:srgbClr val="FFE500"/>
              </a:buClr>
              <a:tabLst>
                <a:tab pos="354013" algn="l"/>
              </a:tabLst>
            </a:pPr>
            <a:r>
              <a:rPr lang="uk-UA" sz="1200" b="0" noProof="1">
                <a:latin typeface="Segoe UI" panose="020B0502040204020203" pitchFamily="34" charset="0"/>
                <a:ea typeface="Open Sans" panose="020B0606030504020204" pitchFamily="34" charset="0"/>
                <a:cs typeface="Segoe UI" panose="020B0502040204020203" pitchFamily="34" charset="0"/>
              </a:rPr>
              <a:t>2. </a:t>
            </a:r>
            <a:r>
              <a:rPr lang="uk-UA" sz="1200" b="0" u="sng" noProof="1">
                <a:latin typeface="Segoe UI" panose="020B0502040204020203" pitchFamily="34" charset="0"/>
                <a:ea typeface="Open Sans" panose="020B0606030504020204" pitchFamily="34" charset="0"/>
                <a:cs typeface="Segoe UI" panose="020B0502040204020203" pitchFamily="34" charset="0"/>
              </a:rPr>
              <a:t>0,35 год*2000 корп. документів = 700 год/рік</a:t>
            </a:r>
            <a:r>
              <a:rPr lang="uk-UA" sz="1200" b="0" noProof="1">
                <a:latin typeface="Segoe UI" panose="020B0502040204020203" pitchFamily="34" charset="0"/>
                <a:ea typeface="Open Sans" panose="020B0606030504020204" pitchFamily="34" charset="0"/>
                <a:cs typeface="Segoe UI" panose="020B0502040204020203" pitchFamily="34" charset="0"/>
              </a:rPr>
              <a:t>,</a:t>
            </a:r>
          </a:p>
          <a:p>
            <a:pPr algn="l">
              <a:spcBef>
                <a:spcPts val="600"/>
              </a:spcBef>
              <a:buClr>
                <a:srgbClr val="FFE500"/>
              </a:buClr>
              <a:tabLst>
                <a:tab pos="354013" algn="l"/>
              </a:tabLst>
            </a:pPr>
            <a:r>
              <a:rPr lang="uk-UA" sz="1200" b="0" noProof="1">
                <a:latin typeface="Segoe UI" panose="020B0502040204020203" pitchFamily="34" charset="0"/>
                <a:ea typeface="Open Sans" panose="020B0606030504020204" pitchFamily="34" charset="0"/>
                <a:cs typeface="Segoe UI" panose="020B0502040204020203" pitchFamily="34" charset="0"/>
              </a:rPr>
              <a:t>де</a:t>
            </a:r>
          </a:p>
          <a:p>
            <a:pPr algn="l">
              <a:spcBef>
                <a:spcPts val="600"/>
              </a:spcBef>
              <a:buClr>
                <a:srgbClr val="FFE500"/>
              </a:buClr>
              <a:tabLst>
                <a:tab pos="354013" algn="l"/>
              </a:tabLst>
            </a:pPr>
            <a:r>
              <a:rPr lang="uk-UA" sz="1200" noProof="1">
                <a:latin typeface="Segoe UI" panose="020B0502040204020203" pitchFamily="34" charset="0"/>
                <a:ea typeface="Open Sans" panose="020B0606030504020204" pitchFamily="34" charset="0"/>
                <a:cs typeface="Segoe UI" panose="020B0502040204020203" pitchFamily="34" charset="0"/>
              </a:rPr>
              <a:t>~0,35 год </a:t>
            </a:r>
            <a:r>
              <a:rPr lang="uk-UA" sz="1200" b="0" noProof="1">
                <a:latin typeface="Segoe UI" panose="020B0502040204020203" pitchFamily="34" charset="0"/>
                <a:ea typeface="Open Sans" panose="020B0606030504020204" pitchFamily="34" charset="0"/>
                <a:cs typeface="Segoe UI" panose="020B0502040204020203" pitchFamily="34" charset="0"/>
              </a:rPr>
              <a:t>– час, на який зменшено оформлення та зберігання одного корп. документа;</a:t>
            </a:r>
          </a:p>
          <a:p>
            <a:pPr algn="l">
              <a:spcBef>
                <a:spcPts val="600"/>
              </a:spcBef>
              <a:buClr>
                <a:srgbClr val="FFE500"/>
              </a:buClr>
              <a:tabLst>
                <a:tab pos="354013" algn="l"/>
              </a:tabLst>
            </a:pPr>
            <a:r>
              <a:rPr lang="uk-UA" sz="1200" noProof="1">
                <a:latin typeface="Segoe UI" panose="020B0502040204020203" pitchFamily="34" charset="0"/>
                <a:ea typeface="Open Sans" panose="020B0606030504020204" pitchFamily="34" charset="0"/>
                <a:cs typeface="Segoe UI" panose="020B0502040204020203" pitchFamily="34" charset="0"/>
              </a:rPr>
              <a:t>2000 корп. документів </a:t>
            </a:r>
            <a:r>
              <a:rPr lang="uk-UA" sz="1200" b="0" noProof="1">
                <a:latin typeface="Segoe UI" panose="020B0502040204020203" pitchFamily="34" charset="0"/>
                <a:ea typeface="Open Sans" panose="020B0606030504020204" pitchFamily="34" charset="0"/>
                <a:cs typeface="Segoe UI" panose="020B0502040204020203" pitchFamily="34" charset="0"/>
              </a:rPr>
              <a:t>– кількість документів, оформлених за 2024 рік</a:t>
            </a:r>
          </a:p>
        </p:txBody>
      </p:sp>
    </p:spTree>
    <p:extLst>
      <p:ext uri="{BB962C8B-B14F-4D97-AF65-F5344CB8AC3E}">
        <p14:creationId xmlns:p14="http://schemas.microsoft.com/office/powerpoint/2010/main" val="152765100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REVIOUSNAME" val="C:\Users\Chinnu Lukose\Desktop\WIP\Advisory Council 28 Feb 2018 pre-final_260219.pptx"/>
  <p:tag name="MTBTACCENT" val="Text2ColorBoldText"/>
  <p:tag name="THINKCELLPRESENTATIONDONOTDELETE" val="&lt;?xml version=&quot;1.0&quot; encoding=&quot;UTF-16&quot; standalone=&quot;yes&quot;?&gt;&lt;root reqver=&quot;25060&quot;&gt;&lt;version val=&quot;2789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14&quot;&gt;&lt;elem m_fUsage=&quot;2.35668314834830017190E+00&quot;&gt;&lt;m_msothmcolidx val=&quot;0&quot;/&gt;&lt;m_rgb r=&quot;00&quot; g=&quot;B0&quot; b=&quot;F0&quot;/&gt;&lt;m_nBrightness endver=&quot;26206&quot; val=&quot;0&quot;/&gt;&lt;/elem&gt;&lt;elem m_fUsage=&quot;1.56933182440755270015E+00&quot;&gt;&lt;m_msothmcolidx val=&quot;0&quot;/&gt;&lt;m_rgb r=&quot;FE&quot; g=&quot;D1&quot; b=&quot;00&quot;/&gt;&lt;m_nBrightness endver=&quot;26206&quot; val=&quot;0&quot;/&gt;&lt;/elem&gt;&lt;elem m_fUsage=&quot;1.33168226612972939726E+00&quot;&gt;&lt;m_msothmcolidx val=&quot;0&quot;/&gt;&lt;m_rgb r=&quot;7A&quot; g=&quot;B8&quot; b=&quot;00&quot;/&gt;&lt;m_nBrightness endver=&quot;26206&quot; val=&quot;0&quot;/&gt;&lt;/elem&gt;&lt;elem m_fUsage=&quot;1.24774334627566374500E+00&quot;&gt;&lt;m_msothmcolidx val=&quot;0&quot;/&gt;&lt;m_rgb r=&quot;FF&quot; g=&quot;79&quot; b=&quot;00&quot;/&gt;&lt;m_nBrightness endver=&quot;26206&quot; val=&quot;0&quot;/&gt;&lt;/elem&gt;&lt;elem m_fUsage=&quot;1.24046721000000004231E+00&quot;&gt;&lt;m_msothmcolidx val=&quot;0&quot;/&gt;&lt;m_rgb r=&quot;8B&quot; g=&quot;8D&quot; b=&quot;8E&quot;/&gt;&lt;m_nBrightness endver=&quot;26206&quot; val=&quot;0&quot;/&gt;&lt;/elem&gt;&lt;elem m_fUsage=&quot;9.50133213077414606751E-01&quot;&gt;&lt;m_msothmcolidx val=&quot;0&quot;/&gt;&lt;m_rgb r=&quot;D9&quot; g=&quot;D9&quot; b=&quot;D9&quot;/&gt;&lt;m_nBrightness endver=&quot;26206&quot; val=&quot;0&quot;/&gt;&lt;/elem&gt;&lt;elem m_fUsage=&quot;5.31441000000000163261E-01&quot;&gt;&lt;m_msothmcolidx val=&quot;0&quot;/&gt;&lt;m_rgb r=&quot;00&quot; g=&quot;70&quot; b=&quot;C0&quot;/&gt;&lt;m_nBrightness endver=&quot;26206&quot; val=&quot;0&quot;/&gt;&lt;/elem&gt;&lt;elem m_fUsage=&quot;2.69838169097222746462E-01&quot;&gt;&lt;m_msothmcolidx val=&quot;0&quot;/&gt;&lt;m_rgb r=&quot;F0&quot; g=&quot;AB&quot; b=&quot;00&quot;/&gt;&lt;m_nBrightness endver=&quot;26206&quot; val=&quot;0&quot;/&gt;&lt;/elem&gt;&lt;elem m_fUsage=&quot;1.50094635296999207030E-01&quot;&gt;&lt;m_msothmcolidx val=&quot;0&quot;/&gt;&lt;m_rgb r=&quot;BF&quot; g=&quot;BF&quot; b=&quot;BF&quot;/&gt;&lt;m_nBrightness endver=&quot;26206&quot; val=&quot;0&quot;/&gt;&lt;/elem&gt;&lt;elem m_fUsage=&quot;1.26760496039561354475E-01&quot;&gt;&lt;m_msothmcolidx val=&quot;0&quot;/&gt;&lt;m_rgb r=&quot;00&quot; g=&quot;C6&quot; b=&quot;D7&quot;/&gt;&lt;m_nBrightness endver=&quot;26206&quot; val=&quot;0&quot;/&gt;&lt;/elem&gt;&lt;elem m_fUsage=&quot;5.80604416227677860851E-02&quot;&gt;&lt;m_msothmcolidx val=&quot;0&quot;/&gt;&lt;m_rgb r=&quot;A6&quot; g=&quot;A6&quot; b=&quot;A6&quot;/&gt;&lt;m_nBrightness endver=&quot;26206&quot; val=&quot;0&quot;/&gt;&lt;/elem&gt;&lt;elem m_fUsage=&quot;4.23911582752162438559E-02&quot;&gt;&lt;m_msothmcolidx val=&quot;0&quot;/&gt;&lt;m_rgb r=&quot;FF&quot; g=&quot;CC&quot; b=&quot;00&quot;/&gt;&lt;m_nBrightness endver=&quot;26206&quot; val=&quot;0&quot;/&gt;&lt;/elem&gt;&lt;elem m_fUsage=&quot;1.64232032682606748919E-02&quot;&gt;&lt;m_msothmcolidx val=&quot;0&quot;/&gt;&lt;m_rgb r=&quot;40&quot; g=&quot;40&quot; b=&quot;40&quot;/&gt;&lt;m_nBrightness endver=&quot;26206&quot; val=&quot;0&quot;/&gt;&lt;/elem&gt;&lt;elem m_fUsage=&quot;1.19725151825620327456E-02&quot;&gt;&lt;m_msothmcolidx val=&quot;0&quot;/&gt;&lt;m_rgb r=&quot;59&quot; g=&quot;59&quot; b=&quot;59&quot;/&gt;&lt;m_nBrightness endver=&quot;26206&quot; val=&quot;0&quot;/&gt;&lt;/elem&gt;&lt;/m_vecMRU&gt;&lt;/m_mruColor&gt;&lt;m_eweekdayFirstOfWeek val=&quot;2&quot;/&gt;&lt;m_eweekdayFirstOfWorkweek val=&quot;7&quot;/&gt;&lt;m_eweekdayFirstOfWeekend val=&quot;6&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E2tDxJJ3vcuH1b27ZCY8a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Vnj5SBdYTrarGdX7ITIPS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E2tDxJJ3vcuH1b27ZCY8a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Vnj5SBdYTrarGdX7ITIPS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z6uegTCgRWO_36p.38Ovr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wnNMuRoRsKWBVSsXj8Ap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Vnj5SBdYTrarGdX7ITIPS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Vnj5SBdYTrarGdX7ITIPSw"/>
</p:tagLst>
</file>

<file path=ppt/tags/tag26.xml><?xml version="1.0" encoding="utf-8"?>
<p:tagLst xmlns:a="http://schemas.openxmlformats.org/drawingml/2006/main" xmlns:r="http://schemas.openxmlformats.org/officeDocument/2006/relationships" xmlns:p="http://schemas.openxmlformats.org/presentationml/2006/main">
  <p:tag name="NAME" val="SingleBoatShape"/>
</p:tagLst>
</file>

<file path=ppt/tags/tag27.xml><?xml version="1.0" encoding="utf-8"?>
<p:tagLst xmlns:a="http://schemas.openxmlformats.org/drawingml/2006/main" xmlns:r="http://schemas.openxmlformats.org/officeDocument/2006/relationships" xmlns:p="http://schemas.openxmlformats.org/presentationml/2006/main">
  <p:tag name="NAME" val="SingleBoatShape"/>
</p:tagLst>
</file>

<file path=ppt/tags/tag28.xml><?xml version="1.0" encoding="utf-8"?>
<p:tagLst xmlns:a="http://schemas.openxmlformats.org/drawingml/2006/main" xmlns:r="http://schemas.openxmlformats.org/officeDocument/2006/relationships" xmlns:p="http://schemas.openxmlformats.org/presentationml/2006/main">
  <p:tag name="NAME" val="SingleBoatShape"/>
</p:tagLst>
</file>

<file path=ppt/tags/tag29.xml><?xml version="1.0" encoding="utf-8"?>
<p:tagLst xmlns:a="http://schemas.openxmlformats.org/drawingml/2006/main" xmlns:r="http://schemas.openxmlformats.org/officeDocument/2006/relationships" xmlns:p="http://schemas.openxmlformats.org/presentationml/2006/main">
  <p:tag name="NAME" val="SingleBoatShap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Vnj5SBdYTrarGdX7ITIPSw"/>
</p:tagLst>
</file>

<file path=ppt/tags/tag30.xml><?xml version="1.0" encoding="utf-8"?>
<p:tagLst xmlns:a="http://schemas.openxmlformats.org/drawingml/2006/main" xmlns:r="http://schemas.openxmlformats.org/officeDocument/2006/relationships" xmlns:p="http://schemas.openxmlformats.org/presentationml/2006/main">
  <p:tag name="NAME" val="SingleBoatShap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Vnj5SBdYTrarGdX7ITIPS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YwnNMuRoRsKWBVSsXj8Ap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Тема Office">
  <a:themeElements>
    <a:clrScheme name="Другая 60">
      <a:dk1>
        <a:srgbClr val="1F1F1F"/>
      </a:dk1>
      <a:lt1>
        <a:srgbClr val="FFFFFF"/>
      </a:lt1>
      <a:dk2>
        <a:srgbClr val="E0E1DD"/>
      </a:dk2>
      <a:lt2>
        <a:srgbClr val="3E3E3E"/>
      </a:lt2>
      <a:accent1>
        <a:srgbClr val="FED100"/>
      </a:accent1>
      <a:accent2>
        <a:srgbClr val="F0AB00"/>
      </a:accent2>
      <a:accent3>
        <a:srgbClr val="FF7900"/>
      </a:accent3>
      <a:accent4>
        <a:srgbClr val="7AB800"/>
      </a:accent4>
      <a:accent5>
        <a:srgbClr val="00C6D7"/>
      </a:accent5>
      <a:accent6>
        <a:srgbClr val="8B8D8E"/>
      </a:accent6>
      <a:hlink>
        <a:srgbClr val="00C6D7"/>
      </a:hlink>
      <a:folHlink>
        <a:srgbClr val="8B8D8E"/>
      </a:folHlink>
    </a:clrScheme>
    <a:fontScheme name="Тема 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Тема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Engineering Project Proposal by Slidesgo">
  <a:themeElements>
    <a:clrScheme name="Simple Light">
      <a:dk1>
        <a:srgbClr val="434343"/>
      </a:dk1>
      <a:lt1>
        <a:srgbClr val="FFFFFF"/>
      </a:lt1>
      <a:dk2>
        <a:srgbClr val="595959"/>
      </a:dk2>
      <a:lt2>
        <a:srgbClr val="EEEEEE"/>
      </a:lt2>
      <a:accent1>
        <a:srgbClr val="556D96"/>
      </a:accent1>
      <a:accent2>
        <a:srgbClr val="212121"/>
      </a:accent2>
      <a:accent3>
        <a:srgbClr val="A9B9D3"/>
      </a:accent3>
      <a:accent4>
        <a:srgbClr val="26529E"/>
      </a:accent4>
      <a:accent5>
        <a:srgbClr val="62779B"/>
      </a:accent5>
      <a:accent6>
        <a:srgbClr val="363F4C"/>
      </a:accent6>
      <a:hlink>
        <a:srgbClr val="434343"/>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3_Тема Office">
  <a:themeElements>
    <a:clrScheme name="Другая 1">
      <a:dk1>
        <a:srgbClr val="1F1F1F"/>
      </a:dk1>
      <a:lt1>
        <a:srgbClr val="FFFFFF"/>
      </a:lt1>
      <a:dk2>
        <a:srgbClr val="E0E1DD"/>
      </a:dk2>
      <a:lt2>
        <a:srgbClr val="3E3E3E"/>
      </a:lt2>
      <a:accent1>
        <a:srgbClr val="FED100"/>
      </a:accent1>
      <a:accent2>
        <a:srgbClr val="F0AB00"/>
      </a:accent2>
      <a:accent3>
        <a:srgbClr val="FF7900"/>
      </a:accent3>
      <a:accent4>
        <a:srgbClr val="7AB800"/>
      </a:accent4>
      <a:accent5>
        <a:srgbClr val="00C6D7"/>
      </a:accent5>
      <a:accent6>
        <a:srgbClr val="8B8D8E"/>
      </a:accent6>
      <a:hlink>
        <a:srgbClr val="F2F2F2"/>
      </a:hlink>
      <a:folHlink>
        <a:srgbClr val="5F5F5F"/>
      </a:folHlink>
    </a:clrScheme>
    <a:fontScheme name="Тема 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Тема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2_Тема Office">
  <a:themeElements>
    <a:clrScheme name="Другая 1">
      <a:dk1>
        <a:srgbClr val="1F1F1F"/>
      </a:dk1>
      <a:lt1>
        <a:srgbClr val="FFFFFF"/>
      </a:lt1>
      <a:dk2>
        <a:srgbClr val="E0E1DD"/>
      </a:dk2>
      <a:lt2>
        <a:srgbClr val="3E3E3E"/>
      </a:lt2>
      <a:accent1>
        <a:srgbClr val="FED100"/>
      </a:accent1>
      <a:accent2>
        <a:srgbClr val="F0AB00"/>
      </a:accent2>
      <a:accent3>
        <a:srgbClr val="FF7900"/>
      </a:accent3>
      <a:accent4>
        <a:srgbClr val="7AB800"/>
      </a:accent4>
      <a:accent5>
        <a:srgbClr val="00C6D7"/>
      </a:accent5>
      <a:accent6>
        <a:srgbClr val="8B8D8E"/>
      </a:accent6>
      <a:hlink>
        <a:srgbClr val="F2F2F2"/>
      </a:hlink>
      <a:folHlink>
        <a:srgbClr val="5F5F5F"/>
      </a:folHlink>
    </a:clrScheme>
    <a:fontScheme name="Тема 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Тема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Документ" ma:contentTypeID="0x0101000C548FC9012BDD489A563D52C98E4286" ma:contentTypeVersion="6" ma:contentTypeDescription="Створення нового документа." ma:contentTypeScope="" ma:versionID="52bb9820b71385e45606007d96b87671">
  <xsd:schema xmlns:xsd="http://www.w3.org/2001/XMLSchema" xmlns:xs="http://www.w3.org/2001/XMLSchema" xmlns:p="http://schemas.microsoft.com/office/2006/metadata/properties" xmlns:ns2="96ad29e2-b619-4a7e-9067-6080e50ce495" xmlns:ns3="e13efd43-9765-4216-ab1a-1301eaa55dad" targetNamespace="http://schemas.microsoft.com/office/2006/metadata/properties" ma:root="true" ma:fieldsID="5d1a7fbf9039509cdeaca0fb87695e8e" ns2:_="" ns3:_="">
    <xsd:import namespace="96ad29e2-b619-4a7e-9067-6080e50ce495"/>
    <xsd:import namespace="e13efd43-9765-4216-ab1a-1301eaa55dad"/>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6ad29e2-b619-4a7e-9067-6080e50ce49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13efd43-9765-4216-ab1a-1301eaa55dad" elementFormDefault="qualified">
    <xsd:import namespace="http://schemas.microsoft.com/office/2006/documentManagement/types"/>
    <xsd:import namespace="http://schemas.microsoft.com/office/infopath/2007/PartnerControls"/>
    <xsd:element name="SharedWithUsers" ma:index="12" nillable="true" ma:displayName="Спільний доступ"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Відомості про тих, хто має доступ"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Тип вмісту"/>
        <xsd:element ref="dc:title" minOccurs="0" maxOccurs="1" ma:index="4" ma:displayName="Заголовок"/>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00301CB-76D4-4ADE-BE31-41BEABAEA0B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6ad29e2-b619-4a7e-9067-6080e50ce495"/>
    <ds:schemaRef ds:uri="e13efd43-9765-4216-ab1a-1301eaa55da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DAB1D8B6-6A69-4CED-B25F-AC096D8A983C}">
  <ds:schemaRefs>
    <ds:schemaRef ds:uri="96ad29e2-b619-4a7e-9067-6080e50ce495"/>
    <ds:schemaRef ds:uri="e13efd43-9765-4216-ab1a-1301eaa55dad"/>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FAF6E445-E7B2-4B19-8E46-D70D9CAE6FE7}">
  <ds:schemaRefs>
    <ds:schemaRef ds:uri="http://schemas.microsoft.com/sharepoint/v3/contenttype/forms"/>
  </ds:schemaRefs>
</ds:datastoreItem>
</file>

<file path=docMetadata/LabelInfo.xml><?xml version="1.0" encoding="utf-8"?>
<clbl:labelList xmlns:clbl="http://schemas.microsoft.com/office/2020/mipLabelMetadata">
  <clbl:label id="{468254ae-9aad-46c9-a2a0-70ae5657050e}" enabled="0" method="" siteId="{468254ae-9aad-46c9-a2a0-70ae5657050e}" removed="1"/>
</clbl:labelList>
</file>

<file path=docProps/app.xml><?xml version="1.0" encoding="utf-8"?>
<Properties xmlns="http://schemas.openxmlformats.org/officeDocument/2006/extended-properties" xmlns:vt="http://schemas.openxmlformats.org/officeDocument/2006/docPropsVTypes">
  <Template>Office Theme</Template>
  <TotalTime>1507</TotalTime>
  <Words>951</Words>
  <Application>Microsoft Office PowerPoint</Application>
  <PresentationFormat>Довільний</PresentationFormat>
  <Paragraphs>157</Paragraphs>
  <Slides>14</Slides>
  <Notes>12</Notes>
  <HiddenSlides>0</HiddenSlides>
  <MMClips>0</MMClips>
  <ScaleCrop>false</ScaleCrop>
  <HeadingPairs>
    <vt:vector size="8" baseType="variant">
      <vt:variant>
        <vt:lpstr>Використані шрифти</vt:lpstr>
      </vt:variant>
      <vt:variant>
        <vt:i4>11</vt:i4>
      </vt:variant>
      <vt:variant>
        <vt:lpstr>Тема</vt:lpstr>
      </vt:variant>
      <vt:variant>
        <vt:i4>4</vt:i4>
      </vt:variant>
      <vt:variant>
        <vt:lpstr>Вбудовані сервери OLE</vt:lpstr>
      </vt:variant>
      <vt:variant>
        <vt:i4>2</vt:i4>
      </vt:variant>
      <vt:variant>
        <vt:lpstr>Заголовки слайдів</vt:lpstr>
      </vt:variant>
      <vt:variant>
        <vt:i4>14</vt:i4>
      </vt:variant>
    </vt:vector>
  </HeadingPairs>
  <TitlesOfParts>
    <vt:vector size="31" baseType="lpstr">
      <vt:lpstr>Arial</vt:lpstr>
      <vt:lpstr>Arial,Sans-Serif</vt:lpstr>
      <vt:lpstr>Calibri</vt:lpstr>
      <vt:lpstr>Calibri Light</vt:lpstr>
      <vt:lpstr>Calibri Light (Heading)</vt:lpstr>
      <vt:lpstr>Catamaran Light</vt:lpstr>
      <vt:lpstr>Fira Sans Extra Condensed Medium</vt:lpstr>
      <vt:lpstr>Livvic</vt:lpstr>
      <vt:lpstr>Segoe UI</vt:lpstr>
      <vt:lpstr>Tahoma</vt:lpstr>
      <vt:lpstr>Wingdings</vt:lpstr>
      <vt:lpstr>1_Тема Office</vt:lpstr>
      <vt:lpstr>Engineering Project Proposal by Slidesgo</vt:lpstr>
      <vt:lpstr>3_Тема Office</vt:lpstr>
      <vt:lpstr>2_Тема Office</vt:lpstr>
      <vt:lpstr>think-cell Slide</vt:lpstr>
      <vt:lpstr>Слайд think-cell</vt:lpstr>
      <vt:lpstr>Автоматизація процесів корпоративного управління</vt:lpstr>
      <vt:lpstr>Презентація PowerPoint</vt:lpstr>
      <vt:lpstr>Презентація PowerPoint</vt:lpstr>
      <vt:lpstr>Презентація PowerPoint</vt:lpstr>
      <vt:lpstr>Презентація PowerPoint</vt:lpstr>
      <vt:lpstr>Презентація PowerPoint</vt:lpstr>
      <vt:lpstr>Презентація PowerPoint</vt:lpstr>
      <vt:lpstr>Презентація PowerPoint</vt:lpstr>
      <vt:lpstr>Презентація PowerPoint</vt:lpstr>
      <vt:lpstr>Презентація PowerPoint</vt:lpstr>
      <vt:lpstr>Презентація PowerPoint</vt:lpstr>
      <vt:lpstr>Презентація PowerPoint</vt:lpstr>
      <vt:lpstr>Презентація PowerPoint</vt:lpstr>
      <vt:lpstr>Презентація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Burmistenko Yuliya</dc:creator>
  <cp:lastModifiedBy>Konanets Iryna</cp:lastModifiedBy>
  <cp:revision>17</cp:revision>
  <cp:lastPrinted>2019-08-09T12:42:09Z</cp:lastPrinted>
  <dcterms:created xsi:type="dcterms:W3CDTF">2019-02-19T11:32:27Z</dcterms:created>
  <dcterms:modified xsi:type="dcterms:W3CDTF">2025-05-22T12:50: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C548FC9012BDD489A563D52C98E4286</vt:lpwstr>
  </property>
  <property fmtid="{D5CDD505-2E9C-101B-9397-08002B2CF9AE}" pid="3" name="_dlc_DocIdItemGuid">
    <vt:lpwstr>5160bec7-f296-48b7-b1f2-40b7070ac91c</vt:lpwstr>
  </property>
  <property fmtid="{D5CDD505-2E9C-101B-9397-08002B2CF9AE}" pid="4" name="MediaServiceImageTags">
    <vt:lpwstr/>
  </property>
</Properties>
</file>